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pdf" ContentType="application/pd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8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1.xml" ContentType="application/vnd.openxmlformats-officedocument.drawingml.chart+xml"/>
  <Override PartName="/ppt/notesSlides/notesSlide37.xml" ContentType="application/vnd.openxmlformats-officedocument.presentationml.notesSlide+xml"/>
  <Override PartName="/ppt/charts/chart2.xml" ContentType="application/vnd.openxmlformats-officedocument.drawingml.chart+xml"/>
  <Override PartName="/ppt/notesSlides/notesSlide38.xml" ContentType="application/vnd.openxmlformats-officedocument.presentationml.notesSlide+xml"/>
  <Override PartName="/ppt/charts/chart3.xml" ContentType="application/vnd.openxmlformats-officedocument.drawingml.chart+xml"/>
  <Override PartName="/ppt/notesSlides/notesSlide39.xml" ContentType="application/vnd.openxmlformats-officedocument.presentationml.notesSlide+xml"/>
  <Override PartName="/ppt/charts/chart4.xml" ContentType="application/vnd.openxmlformats-officedocument.drawingml.chart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49" r:id="rId5"/>
    <p:sldMasterId id="2147483650" r:id="rId6"/>
    <p:sldMasterId id="2147483651" r:id="rId7"/>
    <p:sldMasterId id="2147483652" r:id="rId8"/>
    <p:sldMasterId id="2147487971" r:id="rId9"/>
    <p:sldMasterId id="2147487994" r:id="rId10"/>
    <p:sldMasterId id="2147488025" r:id="rId11"/>
    <p:sldMasterId id="2147488047" r:id="rId12"/>
    <p:sldMasterId id="2147488115" r:id="rId13"/>
  </p:sldMasterIdLst>
  <p:notesMasterIdLst>
    <p:notesMasterId r:id="rId90"/>
  </p:notesMasterIdLst>
  <p:handoutMasterIdLst>
    <p:handoutMasterId r:id="rId91"/>
  </p:handoutMasterIdLst>
  <p:sldIdLst>
    <p:sldId id="288" r:id="rId14"/>
    <p:sldId id="296" r:id="rId15"/>
    <p:sldId id="299" r:id="rId16"/>
    <p:sldId id="300" r:id="rId17"/>
    <p:sldId id="301" r:id="rId18"/>
    <p:sldId id="294" r:id="rId19"/>
    <p:sldId id="303" r:id="rId20"/>
    <p:sldId id="295" r:id="rId21"/>
    <p:sldId id="308" r:id="rId22"/>
    <p:sldId id="304" r:id="rId23"/>
    <p:sldId id="305" r:id="rId24"/>
    <p:sldId id="302" r:id="rId25"/>
    <p:sldId id="381" r:id="rId26"/>
    <p:sldId id="342" r:id="rId27"/>
    <p:sldId id="343" r:id="rId28"/>
    <p:sldId id="306" r:id="rId29"/>
    <p:sldId id="307" r:id="rId30"/>
    <p:sldId id="291" r:id="rId31"/>
    <p:sldId id="309" r:id="rId32"/>
    <p:sldId id="356" r:id="rId33"/>
    <p:sldId id="310" r:id="rId34"/>
    <p:sldId id="316" r:id="rId35"/>
    <p:sldId id="311" r:id="rId36"/>
    <p:sldId id="290" r:id="rId37"/>
    <p:sldId id="317" r:id="rId38"/>
    <p:sldId id="318" r:id="rId39"/>
    <p:sldId id="382" r:id="rId40"/>
    <p:sldId id="313" r:id="rId41"/>
    <p:sldId id="314" r:id="rId42"/>
    <p:sldId id="315" r:id="rId43"/>
    <p:sldId id="319" r:id="rId44"/>
    <p:sldId id="320" r:id="rId45"/>
    <p:sldId id="321" r:id="rId46"/>
    <p:sldId id="323" r:id="rId47"/>
    <p:sldId id="324" r:id="rId48"/>
    <p:sldId id="325" r:id="rId49"/>
    <p:sldId id="326" r:id="rId50"/>
    <p:sldId id="328" r:id="rId51"/>
    <p:sldId id="329" r:id="rId52"/>
    <p:sldId id="341" r:id="rId53"/>
    <p:sldId id="358" r:id="rId54"/>
    <p:sldId id="330" r:id="rId55"/>
    <p:sldId id="331" r:id="rId56"/>
    <p:sldId id="340" r:id="rId57"/>
    <p:sldId id="357" r:id="rId58"/>
    <p:sldId id="322" r:id="rId59"/>
    <p:sldId id="333" r:id="rId60"/>
    <p:sldId id="360" r:id="rId61"/>
    <p:sldId id="334" r:id="rId62"/>
    <p:sldId id="335" r:id="rId63"/>
    <p:sldId id="337" r:id="rId64"/>
    <p:sldId id="338" r:id="rId65"/>
    <p:sldId id="339" r:id="rId66"/>
    <p:sldId id="344" r:id="rId67"/>
    <p:sldId id="345" r:id="rId68"/>
    <p:sldId id="348" r:id="rId69"/>
    <p:sldId id="352" r:id="rId70"/>
    <p:sldId id="376" r:id="rId71"/>
    <p:sldId id="377" r:id="rId72"/>
    <p:sldId id="378" r:id="rId73"/>
    <p:sldId id="349" r:id="rId74"/>
    <p:sldId id="365" r:id="rId75"/>
    <p:sldId id="364" r:id="rId76"/>
    <p:sldId id="366" r:id="rId77"/>
    <p:sldId id="368" r:id="rId78"/>
    <p:sldId id="372" r:id="rId79"/>
    <p:sldId id="369" r:id="rId80"/>
    <p:sldId id="370" r:id="rId81"/>
    <p:sldId id="373" r:id="rId82"/>
    <p:sldId id="374" r:id="rId83"/>
    <p:sldId id="375" r:id="rId84"/>
    <p:sldId id="350" r:id="rId85"/>
    <p:sldId id="346" r:id="rId86"/>
    <p:sldId id="355" r:id="rId87"/>
    <p:sldId id="336" r:id="rId88"/>
    <p:sldId id="380" r:id="rId89"/>
  </p:sldIdLst>
  <p:sldSz cx="9144000" cy="6858000" type="screen4x3"/>
  <p:notesSz cx="6797675" cy="9928225"/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5pPr>
    <a:lvl6pPr marL="2286000" algn="l" defTabSz="914400" rtl="0" eaLnBrk="1" latinLnBrk="0" hangingPunct="1"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6pPr>
    <a:lvl7pPr marL="2743200" algn="l" defTabSz="914400" rtl="0" eaLnBrk="1" latinLnBrk="0" hangingPunct="1"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7pPr>
    <a:lvl8pPr marL="3200400" algn="l" defTabSz="914400" rtl="0" eaLnBrk="1" latinLnBrk="0" hangingPunct="1"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8pPr>
    <a:lvl9pPr marL="3657600" algn="l" defTabSz="914400" rtl="0" eaLnBrk="1" latinLnBrk="0" hangingPunct="1">
      <a:defRPr kern="1200" baseline="-25000">
        <a:solidFill>
          <a:schemeClr val="tx1"/>
        </a:solidFill>
        <a:latin typeface="Arial" charset="0"/>
        <a:ea typeface="Geneva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97BF0D"/>
    <a:srgbClr val="191919"/>
    <a:srgbClr val="F6A924"/>
    <a:srgbClr val="34B7C4"/>
    <a:srgbClr val="DC006B"/>
    <a:srgbClr val="7BC518"/>
    <a:srgbClr val="C50067"/>
    <a:srgbClr val="E5CCF0"/>
    <a:srgbClr val="C894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85" d="100"/>
          <a:sy n="85" d="100"/>
        </p:scale>
        <p:origin x="1554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63" Type="http://schemas.openxmlformats.org/officeDocument/2006/relationships/slide" Target="slides/slide50.xml"/><Relationship Id="rId68" Type="http://schemas.openxmlformats.org/officeDocument/2006/relationships/slide" Target="slides/slide55.xml"/><Relationship Id="rId76" Type="http://schemas.openxmlformats.org/officeDocument/2006/relationships/slide" Target="slides/slide63.xml"/><Relationship Id="rId84" Type="http://schemas.openxmlformats.org/officeDocument/2006/relationships/slide" Target="slides/slide71.xml"/><Relationship Id="rId89" Type="http://schemas.openxmlformats.org/officeDocument/2006/relationships/slide" Target="slides/slide76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8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66" Type="http://schemas.openxmlformats.org/officeDocument/2006/relationships/slide" Target="slides/slide53.xml"/><Relationship Id="rId74" Type="http://schemas.openxmlformats.org/officeDocument/2006/relationships/slide" Target="slides/slide61.xml"/><Relationship Id="rId79" Type="http://schemas.openxmlformats.org/officeDocument/2006/relationships/slide" Target="slides/slide66.xml"/><Relationship Id="rId87" Type="http://schemas.openxmlformats.org/officeDocument/2006/relationships/slide" Target="slides/slide74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8.xml"/><Relationship Id="rId82" Type="http://schemas.openxmlformats.org/officeDocument/2006/relationships/slide" Target="slides/slide69.xml"/><Relationship Id="rId90" Type="http://schemas.openxmlformats.org/officeDocument/2006/relationships/notesMaster" Target="notesMasters/notesMaster1.xml"/><Relationship Id="rId95" Type="http://schemas.openxmlformats.org/officeDocument/2006/relationships/tableStyles" Target="tableStyles.xml"/><Relationship Id="rId19" Type="http://schemas.openxmlformats.org/officeDocument/2006/relationships/slide" Target="slides/slide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slide" Target="slides/slide51.xml"/><Relationship Id="rId69" Type="http://schemas.openxmlformats.org/officeDocument/2006/relationships/slide" Target="slides/slide56.xml"/><Relationship Id="rId77" Type="http://schemas.openxmlformats.org/officeDocument/2006/relationships/slide" Target="slides/slide64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8.xml"/><Relationship Id="rId72" Type="http://schemas.openxmlformats.org/officeDocument/2006/relationships/slide" Target="slides/slide59.xml"/><Relationship Id="rId80" Type="http://schemas.openxmlformats.org/officeDocument/2006/relationships/slide" Target="slides/slide67.xml"/><Relationship Id="rId85" Type="http://schemas.openxmlformats.org/officeDocument/2006/relationships/slide" Target="slides/slide72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slide" Target="slides/slide54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slide" Target="slides/slide49.xml"/><Relationship Id="rId70" Type="http://schemas.openxmlformats.org/officeDocument/2006/relationships/slide" Target="slides/slide57.xml"/><Relationship Id="rId75" Type="http://schemas.openxmlformats.org/officeDocument/2006/relationships/slide" Target="slides/slide62.xml"/><Relationship Id="rId83" Type="http://schemas.openxmlformats.org/officeDocument/2006/relationships/slide" Target="slides/slide70.xml"/><Relationship Id="rId88" Type="http://schemas.openxmlformats.org/officeDocument/2006/relationships/slide" Target="slides/slide75.xml"/><Relationship Id="rId9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slide" Target="slides/slide52.xml"/><Relationship Id="rId73" Type="http://schemas.openxmlformats.org/officeDocument/2006/relationships/slide" Target="slides/slide60.xml"/><Relationship Id="rId78" Type="http://schemas.openxmlformats.org/officeDocument/2006/relationships/slide" Target="slides/slide65.xml"/><Relationship Id="rId81" Type="http://schemas.openxmlformats.org/officeDocument/2006/relationships/slide" Target="slides/slide68.xml"/><Relationship Id="rId86" Type="http://schemas.openxmlformats.org/officeDocument/2006/relationships/slide" Target="slides/slide73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09484481696973"/>
          <c:y val="6.2532980012026826E-2"/>
          <c:w val="0.84580090792625018"/>
          <c:h val="0.78521271946045157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DegLira</c:v>
                </c:pt>
              </c:strCache>
            </c:strRef>
          </c:tx>
          <c:spPr>
            <a:ln w="38100">
              <a:solidFill>
                <a:srgbClr val="72B5CC"/>
              </a:solidFill>
            </a:ln>
          </c:spPr>
          <c:marker>
            <c:symbol val="circle"/>
            <c:size val="3"/>
            <c:spPr>
              <a:solidFill>
                <a:srgbClr val="72B5CC"/>
              </a:solidFill>
              <a:ln w="38100">
                <a:solidFill>
                  <a:srgbClr val="72B5CC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H$2:$H$8</c:f>
                <c:numCache>
                  <c:formatCode>General</c:formatCode>
                  <c:ptCount val="7"/>
                  <c:pt idx="0">
                    <c:v>0.10518</c:v>
                  </c:pt>
                  <c:pt idx="1">
                    <c:v>0.1023</c:v>
                  </c:pt>
                  <c:pt idx="2">
                    <c:v>0.10129000000000001</c:v>
                  </c:pt>
                  <c:pt idx="3">
                    <c:v>9.7049999999999997E-2</c:v>
                  </c:pt>
                  <c:pt idx="4">
                    <c:v>0.10345</c:v>
                  </c:pt>
                  <c:pt idx="5">
                    <c:v>0.11079</c:v>
                  </c:pt>
                  <c:pt idx="6">
                    <c:v>0.11561</c:v>
                  </c:pt>
                </c:numCache>
              </c:numRef>
            </c:plus>
            <c:minus>
              <c:numRef>
                <c:f>Sheet1!$G$2:$G$8</c:f>
                <c:numCache>
                  <c:formatCode>General</c:formatCode>
                  <c:ptCount val="7"/>
                  <c:pt idx="0">
                    <c:v>0.10482</c:v>
                  </c:pt>
                  <c:pt idx="1">
                    <c:v>0.1077</c:v>
                  </c:pt>
                  <c:pt idx="2">
                    <c:v>9.8710000000000006E-2</c:v>
                  </c:pt>
                  <c:pt idx="3">
                    <c:v>0.10295</c:v>
                  </c:pt>
                  <c:pt idx="4">
                    <c:v>0.10655000000000001</c:v>
                  </c:pt>
                  <c:pt idx="5">
                    <c:v>0.10921</c:v>
                  </c:pt>
                  <c:pt idx="6">
                    <c:v>0.11439000000000001</c:v>
                  </c:pt>
                </c:numCache>
              </c:numRef>
            </c:minus>
            <c:spPr>
              <a:ln w="12698">
                <a:solidFill>
                  <a:srgbClr val="72B5CC"/>
                </a:solidFill>
              </a:ln>
            </c:spPr>
          </c:errBars>
          <c:xVal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6</c:v>
                </c:pt>
              </c:numCache>
            </c:numRef>
          </c:xVal>
          <c:yVal>
            <c:numRef>
              <c:f>Sheet1!$B$2:$B$8</c:f>
              <c:numCache>
                <c:formatCode>General</c:formatCode>
                <c:ptCount val="7"/>
                <c:pt idx="0">
                  <c:v>8.3748199999999997</c:v>
                </c:pt>
                <c:pt idx="1">
                  <c:v>7.6776999999999997</c:v>
                </c:pt>
                <c:pt idx="2">
                  <c:v>7.0687100000000003</c:v>
                </c:pt>
                <c:pt idx="3">
                  <c:v>6.6629500000000004</c:v>
                </c:pt>
                <c:pt idx="4">
                  <c:v>6.5165499999999996</c:v>
                </c:pt>
                <c:pt idx="5">
                  <c:v>6.4892099999999999</c:v>
                </c:pt>
                <c:pt idx="6">
                  <c:v>6.56439000000000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882-400F-BAA3-90906EEF58F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Glar</c:v>
                </c:pt>
              </c:strCache>
            </c:strRef>
          </c:tx>
          <c:spPr>
            <a:ln w="38100">
              <a:solidFill>
                <a:srgbClr val="8B7D70"/>
              </a:solidFill>
            </a:ln>
          </c:spPr>
          <c:marker>
            <c:symbol val="triangle"/>
            <c:size val="3"/>
            <c:spPr>
              <a:solidFill>
                <a:srgbClr val="8B7D70"/>
              </a:solidFill>
              <a:ln w="38100">
                <a:solidFill>
                  <a:srgbClr val="8B7D70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J$2:$J$8</c:f>
                <c:numCache>
                  <c:formatCode>General</c:formatCode>
                  <c:ptCount val="7"/>
                  <c:pt idx="0">
                    <c:v>0.10341</c:v>
                  </c:pt>
                  <c:pt idx="1">
                    <c:v>0.10473</c:v>
                  </c:pt>
                  <c:pt idx="2">
                    <c:v>0.10459</c:v>
                  </c:pt>
                  <c:pt idx="3">
                    <c:v>0.11229</c:v>
                  </c:pt>
                  <c:pt idx="4">
                    <c:v>0.11172</c:v>
                  </c:pt>
                  <c:pt idx="5">
                    <c:v>0.11412</c:v>
                  </c:pt>
                  <c:pt idx="6">
                    <c:v>0.1153</c:v>
                  </c:pt>
                </c:numCache>
              </c:numRef>
            </c:plus>
            <c:minus>
              <c:numRef>
                <c:f>Sheet1!$I$2:$I$8</c:f>
                <c:numCache>
                  <c:formatCode>General</c:formatCode>
                  <c:ptCount val="7"/>
                  <c:pt idx="0">
                    <c:v>0.10659</c:v>
                  </c:pt>
                  <c:pt idx="1">
                    <c:v>0.10527</c:v>
                  </c:pt>
                  <c:pt idx="2">
                    <c:v>0.10541</c:v>
                  </c:pt>
                  <c:pt idx="3">
                    <c:v>0.10771</c:v>
                  </c:pt>
                  <c:pt idx="4">
                    <c:v>0.10828</c:v>
                  </c:pt>
                  <c:pt idx="5">
                    <c:v>0.10588</c:v>
                  </c:pt>
                  <c:pt idx="6">
                    <c:v>0.1147</c:v>
                  </c:pt>
                </c:numCache>
              </c:numRef>
            </c:minus>
            <c:spPr>
              <a:ln w="12698">
                <a:solidFill>
                  <a:srgbClr val="8B7D70"/>
                </a:solidFill>
              </a:ln>
            </c:spPr>
          </c:errBars>
          <c:xVal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16</c:v>
                </c:pt>
                <c:pt idx="5">
                  <c:v>20</c:v>
                </c:pt>
                <c:pt idx="6">
                  <c:v>26</c:v>
                </c:pt>
              </c:numCache>
            </c:numRef>
          </c:xVal>
          <c:yVal>
            <c:numRef>
              <c:f>Sheet1!$C$2:$C$8</c:f>
              <c:numCache>
                <c:formatCode>General</c:formatCode>
                <c:ptCount val="7"/>
                <c:pt idx="0">
                  <c:v>8.2465899999999994</c:v>
                </c:pt>
                <c:pt idx="1">
                  <c:v>7.9752700000000001</c:v>
                </c:pt>
                <c:pt idx="2">
                  <c:v>7.6154099999999998</c:v>
                </c:pt>
                <c:pt idx="3">
                  <c:v>7.35771</c:v>
                </c:pt>
                <c:pt idx="4">
                  <c:v>7.21828</c:v>
                </c:pt>
                <c:pt idx="5">
                  <c:v>7.14588</c:v>
                </c:pt>
                <c:pt idx="6">
                  <c:v>7.114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882-400F-BAA3-90906EEF58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4816192"/>
        <c:axId val="454816584"/>
      </c:scatterChart>
      <c:valAx>
        <c:axId val="454816192"/>
        <c:scaling>
          <c:orientation val="minMax"/>
          <c:max val="26"/>
          <c:min val="-2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571">
            <a:solidFill>
              <a:srgbClr val="001965"/>
            </a:solidFill>
          </a:ln>
        </c:spPr>
        <c:txPr>
          <a:bodyPr rot="0" vert="horz"/>
          <a:lstStyle/>
          <a:p>
            <a:pPr>
              <a:defRPr/>
            </a:pPr>
            <a:endParaRPr lang="nl-BE"/>
          </a:p>
        </c:txPr>
        <c:crossAx val="454816584"/>
        <c:crosses val="autoZero"/>
        <c:crossBetween val="midCat"/>
        <c:majorUnit val="2"/>
      </c:valAx>
      <c:valAx>
        <c:axId val="454816584"/>
        <c:scaling>
          <c:orientation val="minMax"/>
          <c:min val="5.5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ln w="28571">
            <a:solidFill>
              <a:srgbClr val="001965"/>
            </a:solidFill>
          </a:ln>
        </c:spPr>
        <c:crossAx val="454816192"/>
        <c:crossesAt val="-2"/>
        <c:crossBetween val="midCat"/>
        <c:majorUnit val="0.5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nl-B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661286728745979"/>
          <c:y val="6.2532980012026826E-2"/>
          <c:w val="0.82699272106247046"/>
          <c:h val="0.78521271946045157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DegLira</c:v>
                </c:pt>
              </c:strCache>
            </c:strRef>
          </c:tx>
          <c:spPr>
            <a:ln w="38100">
              <a:solidFill>
                <a:srgbClr val="72B5CC"/>
              </a:solidFill>
            </a:ln>
          </c:spPr>
          <c:marker>
            <c:symbol val="circle"/>
            <c:size val="3"/>
            <c:spPr>
              <a:solidFill>
                <a:srgbClr val="72B5CC"/>
              </a:solidFill>
              <a:ln w="38100">
                <a:solidFill>
                  <a:srgbClr val="72B5CC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G$2:$G$8</c:f>
                <c:numCache>
                  <c:formatCode>General</c:formatCode>
                  <c:ptCount val="7"/>
                  <c:pt idx="0">
                    <c:v>0.14984</c:v>
                  </c:pt>
                  <c:pt idx="1">
                    <c:v>0.17304</c:v>
                  </c:pt>
                  <c:pt idx="2">
                    <c:v>0.20394000000000001</c:v>
                  </c:pt>
                  <c:pt idx="3">
                    <c:v>0.24146999999999999</c:v>
                  </c:pt>
                  <c:pt idx="4">
                    <c:v>0.31028</c:v>
                  </c:pt>
                  <c:pt idx="5">
                    <c:v>0.38557999999999998</c:v>
                  </c:pt>
                  <c:pt idx="6">
                    <c:v>0.46001999999999998</c:v>
                  </c:pt>
                </c:numCache>
              </c:numRef>
            </c:plus>
            <c:minus>
              <c:numRef>
                <c:f>Sheet1!$G$2:$G$8</c:f>
                <c:numCache>
                  <c:formatCode>General</c:formatCode>
                  <c:ptCount val="7"/>
                  <c:pt idx="0">
                    <c:v>0.14984</c:v>
                  </c:pt>
                  <c:pt idx="1">
                    <c:v>0.17304</c:v>
                  </c:pt>
                  <c:pt idx="2">
                    <c:v>0.20394000000000001</c:v>
                  </c:pt>
                  <c:pt idx="3">
                    <c:v>0.24146999999999999</c:v>
                  </c:pt>
                  <c:pt idx="4">
                    <c:v>0.31028</c:v>
                  </c:pt>
                  <c:pt idx="5">
                    <c:v>0.38557999999999998</c:v>
                  </c:pt>
                  <c:pt idx="6">
                    <c:v>0.46001999999999998</c:v>
                  </c:pt>
                </c:numCache>
              </c:numRef>
            </c:minus>
            <c:spPr>
              <a:ln w="12698">
                <a:solidFill>
                  <a:srgbClr val="72B5CC"/>
                </a:solidFill>
              </a:ln>
            </c:spPr>
          </c:errBars>
          <c:xVal>
            <c:numRef>
              <c:f>Sheet1!$A$2:$A$27</c:f>
              <c:numCache>
                <c:formatCode>General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</c:numCache>
            </c:numRef>
          </c:xVal>
          <c:yVal>
            <c:numRef>
              <c:f>Sheet1!$B$2:$B$27</c:f>
              <c:numCache>
                <c:formatCode>General</c:formatCode>
                <c:ptCount val="26"/>
                <c:pt idx="0">
                  <c:v>16.772500000000001</c:v>
                </c:pt>
                <c:pt idx="1">
                  <c:v>20.087399999999999</c:v>
                </c:pt>
                <c:pt idx="2">
                  <c:v>23.349599999999999</c:v>
                </c:pt>
                <c:pt idx="3">
                  <c:v>26.365100000000002</c:v>
                </c:pt>
                <c:pt idx="4">
                  <c:v>28.9971</c:v>
                </c:pt>
                <c:pt idx="5">
                  <c:v>31.334900000000001</c:v>
                </c:pt>
                <c:pt idx="6">
                  <c:v>33.429600000000001</c:v>
                </c:pt>
                <c:pt idx="7">
                  <c:v>35.307200000000002</c:v>
                </c:pt>
                <c:pt idx="8">
                  <c:v>36.900500000000001</c:v>
                </c:pt>
                <c:pt idx="9">
                  <c:v>37.956800000000001</c:v>
                </c:pt>
                <c:pt idx="10">
                  <c:v>38.442799999999998</c:v>
                </c:pt>
                <c:pt idx="11">
                  <c:v>38.753599999999999</c:v>
                </c:pt>
                <c:pt idx="12">
                  <c:v>39.071199999999997</c:v>
                </c:pt>
                <c:pt idx="13">
                  <c:v>39.272100000000002</c:v>
                </c:pt>
                <c:pt idx="14">
                  <c:v>39.403199999999998</c:v>
                </c:pt>
                <c:pt idx="15">
                  <c:v>39.519799999999996</c:v>
                </c:pt>
                <c:pt idx="16">
                  <c:v>39.654699999999998</c:v>
                </c:pt>
                <c:pt idx="17">
                  <c:v>39.839199999999998</c:v>
                </c:pt>
                <c:pt idx="18">
                  <c:v>39.955800000000004</c:v>
                </c:pt>
                <c:pt idx="19">
                  <c:v>40.091000000000001</c:v>
                </c:pt>
                <c:pt idx="20">
                  <c:v>40.157899999999998</c:v>
                </c:pt>
                <c:pt idx="21">
                  <c:v>40.338799999999999</c:v>
                </c:pt>
                <c:pt idx="22">
                  <c:v>40.473399999999998</c:v>
                </c:pt>
                <c:pt idx="23">
                  <c:v>40.605200000000004</c:v>
                </c:pt>
                <c:pt idx="24">
                  <c:v>40.675899999999999</c:v>
                </c:pt>
                <c:pt idx="25">
                  <c:v>40.9138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670-4380-B2C2-C3C4DB3BFDA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Glar</c:v>
                </c:pt>
              </c:strCache>
            </c:strRef>
          </c:tx>
          <c:spPr>
            <a:ln w="38100">
              <a:solidFill>
                <a:srgbClr val="8B7D70"/>
              </a:solidFill>
            </a:ln>
          </c:spPr>
          <c:marker>
            <c:symbol val="triangle"/>
            <c:size val="3"/>
            <c:spPr>
              <a:solidFill>
                <a:srgbClr val="8B7D70"/>
              </a:solidFill>
              <a:ln w="38100">
                <a:solidFill>
                  <a:srgbClr val="8B7D70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H$2:$H$8</c:f>
                <c:numCache>
                  <c:formatCode>General</c:formatCode>
                  <c:ptCount val="7"/>
                  <c:pt idx="0">
                    <c:v>0.62273000000000001</c:v>
                  </c:pt>
                  <c:pt idx="1">
                    <c:v>0.62780999999999998</c:v>
                  </c:pt>
                  <c:pt idx="2">
                    <c:v>0.64249999999999996</c:v>
                  </c:pt>
                  <c:pt idx="3">
                    <c:v>0.67162999999999995</c:v>
                  </c:pt>
                  <c:pt idx="4">
                    <c:v>0.70443</c:v>
                  </c:pt>
                  <c:pt idx="5">
                    <c:v>0.76658000000000004</c:v>
                  </c:pt>
                  <c:pt idx="6">
                    <c:v>0.81843999999999995</c:v>
                  </c:pt>
                </c:numCache>
              </c:numRef>
            </c:plus>
            <c:minus>
              <c:numRef>
                <c:f>Sheet1!$H$2:$H$8</c:f>
                <c:numCache>
                  <c:formatCode>General</c:formatCode>
                  <c:ptCount val="7"/>
                  <c:pt idx="0">
                    <c:v>0.62273000000000001</c:v>
                  </c:pt>
                  <c:pt idx="1">
                    <c:v>0.62780999999999998</c:v>
                  </c:pt>
                  <c:pt idx="2">
                    <c:v>0.64249999999999996</c:v>
                  </c:pt>
                  <c:pt idx="3">
                    <c:v>0.67162999999999995</c:v>
                  </c:pt>
                  <c:pt idx="4">
                    <c:v>0.70443</c:v>
                  </c:pt>
                  <c:pt idx="5">
                    <c:v>0.76658000000000004</c:v>
                  </c:pt>
                  <c:pt idx="6">
                    <c:v>0.81843999999999995</c:v>
                  </c:pt>
                </c:numCache>
              </c:numRef>
            </c:minus>
            <c:spPr>
              <a:ln w="12698">
                <a:solidFill>
                  <a:srgbClr val="8B7D70"/>
                </a:solidFill>
              </a:ln>
            </c:spPr>
          </c:errBars>
          <c:xVal>
            <c:numRef>
              <c:f>Sheet1!$A$2:$A$27</c:f>
              <c:numCache>
                <c:formatCode>General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</c:numCache>
            </c:numRef>
          </c:xVal>
          <c:yVal>
            <c:numRef>
              <c:f>Sheet1!$C$2:$C$27</c:f>
              <c:numCache>
                <c:formatCode>General</c:formatCode>
                <c:ptCount val="26"/>
                <c:pt idx="0">
                  <c:v>32.449599999999997</c:v>
                </c:pt>
                <c:pt idx="1">
                  <c:v>35.494700000000002</c:v>
                </c:pt>
                <c:pt idx="2">
                  <c:v>38.54</c:v>
                </c:pt>
                <c:pt idx="3">
                  <c:v>41.369500000000002</c:v>
                </c:pt>
                <c:pt idx="4">
                  <c:v>43.8767</c:v>
                </c:pt>
                <c:pt idx="5">
                  <c:v>46.386000000000003</c:v>
                </c:pt>
                <c:pt idx="6">
                  <c:v>48.3384</c:v>
                </c:pt>
                <c:pt idx="7">
                  <c:v>50.2376</c:v>
                </c:pt>
                <c:pt idx="8">
                  <c:v>52.045200000000001</c:v>
                </c:pt>
                <c:pt idx="9">
                  <c:v>53.719000000000001</c:v>
                </c:pt>
                <c:pt idx="10">
                  <c:v>55.100999999999999</c:v>
                </c:pt>
                <c:pt idx="11">
                  <c:v>56.323300000000003</c:v>
                </c:pt>
                <c:pt idx="12">
                  <c:v>57.354100000000003</c:v>
                </c:pt>
                <c:pt idx="13">
                  <c:v>58.499600000000001</c:v>
                </c:pt>
                <c:pt idx="14">
                  <c:v>59.457299999999996</c:v>
                </c:pt>
                <c:pt idx="15">
                  <c:v>60.367699999999999</c:v>
                </c:pt>
                <c:pt idx="16">
                  <c:v>61.042299999999997</c:v>
                </c:pt>
                <c:pt idx="17">
                  <c:v>61.7699</c:v>
                </c:pt>
                <c:pt idx="18">
                  <c:v>62.397100000000002</c:v>
                </c:pt>
                <c:pt idx="19">
                  <c:v>63.083300000000001</c:v>
                </c:pt>
                <c:pt idx="20">
                  <c:v>63.535499999999999</c:v>
                </c:pt>
                <c:pt idx="21">
                  <c:v>64.179199999999994</c:v>
                </c:pt>
                <c:pt idx="22">
                  <c:v>64.611500000000007</c:v>
                </c:pt>
                <c:pt idx="23">
                  <c:v>65.128299999999996</c:v>
                </c:pt>
                <c:pt idx="24">
                  <c:v>65.662000000000006</c:v>
                </c:pt>
                <c:pt idx="25">
                  <c:v>66.3268000000000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670-4380-B2C2-C3C4DB3BFD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4817368"/>
        <c:axId val="454817760"/>
      </c:scatterChart>
      <c:valAx>
        <c:axId val="454817368"/>
        <c:scaling>
          <c:orientation val="minMax"/>
          <c:max val="26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571">
            <a:solidFill>
              <a:srgbClr val="001965"/>
            </a:solidFill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1965"/>
                </a:solidFill>
                <a:latin typeface="Verdana"/>
                <a:ea typeface="Verdana"/>
                <a:cs typeface="Verdana"/>
              </a:defRPr>
            </a:pPr>
            <a:endParaRPr lang="nl-BE"/>
          </a:p>
        </c:txPr>
        <c:crossAx val="454817760"/>
        <c:crosses val="autoZero"/>
        <c:crossBetween val="midCat"/>
        <c:majorUnit val="2"/>
      </c:valAx>
      <c:valAx>
        <c:axId val="454817760"/>
        <c:scaling>
          <c:orientation val="minMax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 w="28571">
            <a:solidFill>
              <a:srgbClr val="001965"/>
            </a:solidFill>
          </a:ln>
        </c:spPr>
        <c:txPr>
          <a:bodyPr/>
          <a:lstStyle/>
          <a:p>
            <a:pPr>
              <a:defRPr sz="1100"/>
            </a:pPr>
            <a:endParaRPr lang="nl-BE"/>
          </a:p>
        </c:txPr>
        <c:crossAx val="454817368"/>
        <c:crossesAt val="-2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16058627752176"/>
          <c:y val="6.2532980012026826E-2"/>
          <c:w val="0.83279531490015357"/>
          <c:h val="0.78521271946045157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DegLira</c:v>
                </c:pt>
              </c:strCache>
            </c:strRef>
          </c:tx>
          <c:spPr>
            <a:ln w="38100">
              <a:solidFill>
                <a:srgbClr val="72B5CC"/>
              </a:solidFill>
            </a:ln>
          </c:spPr>
          <c:marker>
            <c:symbol val="circle"/>
            <c:size val="3"/>
            <c:spPr>
              <a:solidFill>
                <a:srgbClr val="72B5CC"/>
              </a:solidFill>
              <a:ln w="38100">
                <a:solidFill>
                  <a:srgbClr val="72B5CC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G$2:$G$7</c:f>
                <c:numCache>
                  <c:formatCode>General</c:formatCode>
                  <c:ptCount val="6"/>
                  <c:pt idx="0">
                    <c:v>0</c:v>
                  </c:pt>
                  <c:pt idx="1">
                    <c:v>0.11222</c:v>
                  </c:pt>
                  <c:pt idx="2">
                    <c:v>0.14710000000000001</c:v>
                  </c:pt>
                  <c:pt idx="3">
                    <c:v>0.16936999999999999</c:v>
                  </c:pt>
                  <c:pt idx="4">
                    <c:v>0.1885</c:v>
                  </c:pt>
                  <c:pt idx="5">
                    <c:v>0.21045</c:v>
                  </c:pt>
                </c:numCache>
              </c:numRef>
            </c:plus>
            <c:minus>
              <c:numRef>
                <c:f>Sheet1!$G$2:$G$7</c:f>
                <c:numCache>
                  <c:formatCode>General</c:formatCode>
                  <c:ptCount val="6"/>
                  <c:pt idx="0">
                    <c:v>0</c:v>
                  </c:pt>
                  <c:pt idx="1">
                    <c:v>0.11222</c:v>
                  </c:pt>
                  <c:pt idx="2">
                    <c:v>0.14710000000000001</c:v>
                  </c:pt>
                  <c:pt idx="3">
                    <c:v>0.16936999999999999</c:v>
                  </c:pt>
                  <c:pt idx="4">
                    <c:v>0.1885</c:v>
                  </c:pt>
                  <c:pt idx="5">
                    <c:v>0.21045</c:v>
                  </c:pt>
                </c:numCache>
              </c:numRef>
            </c:minus>
            <c:spPr>
              <a:ln w="12698">
                <a:solidFill>
                  <a:srgbClr val="72B5CC"/>
                </a:solidFill>
              </a:ln>
            </c:spPr>
          </c:errBars>
          <c:xVal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20</c:v>
                </c:pt>
                <c:pt idx="5">
                  <c:v>26</c:v>
                </c:pt>
              </c:numCache>
            </c:numRef>
          </c:xVal>
          <c:yVal>
            <c:numRef>
              <c:f>Sheet1!$B$2:$B$8</c:f>
              <c:numCache>
                <c:formatCode>General</c:formatCode>
                <c:ptCount val="7"/>
                <c:pt idx="0">
                  <c:v>0</c:v>
                </c:pt>
                <c:pt idx="1">
                  <c:v>-0.95509999999999995</c:v>
                </c:pt>
                <c:pt idx="2">
                  <c:v>-1.2459</c:v>
                </c:pt>
                <c:pt idx="3">
                  <c:v>-1.3985399999999999</c:v>
                </c:pt>
                <c:pt idx="4">
                  <c:v>-1.3402700000000001</c:v>
                </c:pt>
                <c:pt idx="5">
                  <c:v>-1.376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0AA-4B15-9590-93E9837ECE4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Glar</c:v>
                </c:pt>
              </c:strCache>
            </c:strRef>
          </c:tx>
          <c:spPr>
            <a:ln w="38100">
              <a:solidFill>
                <a:srgbClr val="8B7D70"/>
              </a:solidFill>
            </a:ln>
          </c:spPr>
          <c:marker>
            <c:symbol val="triangle"/>
            <c:size val="3"/>
            <c:spPr>
              <a:solidFill>
                <a:srgbClr val="8B7D70"/>
              </a:solidFill>
              <a:ln w="38100">
                <a:solidFill>
                  <a:srgbClr val="8B7D70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H$2:$H$7</c:f>
                <c:numCache>
                  <c:formatCode>General</c:formatCode>
                  <c:ptCount val="6"/>
                  <c:pt idx="0">
                    <c:v>0</c:v>
                  </c:pt>
                  <c:pt idx="1">
                    <c:v>0.10245</c:v>
                  </c:pt>
                  <c:pt idx="2">
                    <c:v>0.13327</c:v>
                  </c:pt>
                  <c:pt idx="3">
                    <c:v>0.16148000000000001</c:v>
                  </c:pt>
                  <c:pt idx="4">
                    <c:v>0.18897</c:v>
                  </c:pt>
                  <c:pt idx="5">
                    <c:v>0.21329000000000001</c:v>
                  </c:pt>
                </c:numCache>
              </c:numRef>
            </c:plus>
            <c:minus>
              <c:numRef>
                <c:f>Sheet1!$H$2:$H$7</c:f>
                <c:numCache>
                  <c:formatCode>General</c:formatCode>
                  <c:ptCount val="6"/>
                  <c:pt idx="0">
                    <c:v>0</c:v>
                  </c:pt>
                  <c:pt idx="1">
                    <c:v>0.10245</c:v>
                  </c:pt>
                  <c:pt idx="2">
                    <c:v>0.13327</c:v>
                  </c:pt>
                  <c:pt idx="3">
                    <c:v>0.16148000000000001</c:v>
                  </c:pt>
                  <c:pt idx="4">
                    <c:v>0.18897</c:v>
                  </c:pt>
                  <c:pt idx="5">
                    <c:v>0.21329000000000001</c:v>
                  </c:pt>
                </c:numCache>
              </c:numRef>
            </c:minus>
            <c:spPr>
              <a:ln w="12698">
                <a:solidFill>
                  <a:srgbClr val="8B7D70"/>
                </a:solidFill>
              </a:ln>
            </c:spPr>
          </c:errBars>
          <c:xVal>
            <c:numRef>
              <c:f>Sheet1!$A$2:$A$8</c:f>
              <c:numCache>
                <c:formatCode>General</c:formatCode>
                <c:ptCount val="7"/>
                <c:pt idx="0">
                  <c:v>0</c:v>
                </c:pt>
                <c:pt idx="1">
                  <c:v>4</c:v>
                </c:pt>
                <c:pt idx="2">
                  <c:v>8</c:v>
                </c:pt>
                <c:pt idx="3">
                  <c:v>12</c:v>
                </c:pt>
                <c:pt idx="4">
                  <c:v>20</c:v>
                </c:pt>
                <c:pt idx="5">
                  <c:v>26</c:v>
                </c:pt>
              </c:numCache>
            </c:numRef>
          </c:xVal>
          <c:y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0.1641</c:v>
                </c:pt>
                <c:pt idx="2">
                  <c:v>0.43796000000000002</c:v>
                </c:pt>
                <c:pt idx="3">
                  <c:v>0.69306000000000001</c:v>
                </c:pt>
                <c:pt idx="4">
                  <c:v>1.3382099999999999</c:v>
                </c:pt>
                <c:pt idx="5">
                  <c:v>1.796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0AA-4B15-9590-93E9837ECE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4819328"/>
        <c:axId val="463110088"/>
      </c:scatterChart>
      <c:valAx>
        <c:axId val="454819328"/>
        <c:scaling>
          <c:orientation val="minMax"/>
          <c:max val="26.5"/>
          <c:min val="-2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571">
            <a:solidFill>
              <a:srgbClr val="001965"/>
            </a:solidFill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1965"/>
                </a:solidFill>
                <a:latin typeface="Verdana"/>
                <a:ea typeface="Verdana"/>
                <a:cs typeface="Verdana"/>
              </a:defRPr>
            </a:pPr>
            <a:endParaRPr lang="nl-BE"/>
          </a:p>
        </c:txPr>
        <c:crossAx val="463110088"/>
        <c:crossesAt val="-2"/>
        <c:crossBetween val="midCat"/>
        <c:majorUnit val="2"/>
      </c:valAx>
      <c:valAx>
        <c:axId val="463110088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ln w="28571">
            <a:solidFill>
              <a:srgbClr val="001965"/>
            </a:solidFill>
          </a:ln>
        </c:spPr>
        <c:txPr>
          <a:bodyPr/>
          <a:lstStyle/>
          <a:p>
            <a:pPr>
              <a:defRPr sz="1100"/>
            </a:pPr>
            <a:endParaRPr lang="nl-BE"/>
          </a:p>
        </c:txPr>
        <c:crossAx val="454819328"/>
        <c:crossesAt val="-2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710424946880934E-2"/>
          <c:y val="0.20014704535013753"/>
          <c:w val="0.88046352377188197"/>
          <c:h val="0.664110862967119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DegLira</c:v>
                </c:pt>
              </c:strCache>
            </c:strRef>
          </c:tx>
          <c:spPr>
            <a:ln w="38100" cap="rnd">
              <a:solidFill>
                <a:srgbClr val="72B5CC"/>
              </a:solidFill>
              <a:round/>
            </a:ln>
            <a:effectLst/>
          </c:spPr>
          <c:marker>
            <c:symbol val="none"/>
          </c:marker>
          <c:xVal>
            <c:numRef>
              <c:f>Sheet1!$A$2:$A$344</c:f>
              <c:numCache>
                <c:formatCode>General</c:formatCode>
                <c:ptCount val="343"/>
                <c:pt idx="0">
                  <c:v>0</c:v>
                </c:pt>
                <c:pt idx="1">
                  <c:v>0</c:v>
                </c:pt>
                <c:pt idx="2">
                  <c:v>0.1429</c:v>
                </c:pt>
                <c:pt idx="3">
                  <c:v>0.1429</c:v>
                </c:pt>
                <c:pt idx="4">
                  <c:v>0.28570000000000001</c:v>
                </c:pt>
                <c:pt idx="5">
                  <c:v>0.28570000000000001</c:v>
                </c:pt>
                <c:pt idx="6">
                  <c:v>0.42859999999999998</c:v>
                </c:pt>
                <c:pt idx="7">
                  <c:v>0.42859999999999998</c:v>
                </c:pt>
                <c:pt idx="8">
                  <c:v>0.85709999999999997</c:v>
                </c:pt>
                <c:pt idx="9">
                  <c:v>0.85709999999999997</c:v>
                </c:pt>
                <c:pt idx="10">
                  <c:v>1.1429</c:v>
                </c:pt>
                <c:pt idx="11">
                  <c:v>1.1429</c:v>
                </c:pt>
                <c:pt idx="12">
                  <c:v>1.2857000000000001</c:v>
                </c:pt>
                <c:pt idx="13">
                  <c:v>1.2857000000000001</c:v>
                </c:pt>
                <c:pt idx="14">
                  <c:v>1.7142999999999999</c:v>
                </c:pt>
                <c:pt idx="15">
                  <c:v>1.7142999999999999</c:v>
                </c:pt>
                <c:pt idx="16">
                  <c:v>2</c:v>
                </c:pt>
                <c:pt idx="17">
                  <c:v>2</c:v>
                </c:pt>
                <c:pt idx="18">
                  <c:v>2.2856999999999998</c:v>
                </c:pt>
                <c:pt idx="19">
                  <c:v>2.2856999999999998</c:v>
                </c:pt>
                <c:pt idx="20">
                  <c:v>2.5714000000000001</c:v>
                </c:pt>
                <c:pt idx="21">
                  <c:v>2.5714000000000001</c:v>
                </c:pt>
                <c:pt idx="22">
                  <c:v>2.7143000000000002</c:v>
                </c:pt>
                <c:pt idx="23">
                  <c:v>2.7143000000000002</c:v>
                </c:pt>
                <c:pt idx="24">
                  <c:v>2.8571</c:v>
                </c:pt>
                <c:pt idx="25">
                  <c:v>2.8571</c:v>
                </c:pt>
                <c:pt idx="26">
                  <c:v>3</c:v>
                </c:pt>
                <c:pt idx="27">
                  <c:v>3</c:v>
                </c:pt>
                <c:pt idx="28">
                  <c:v>3.4285999999999999</c:v>
                </c:pt>
                <c:pt idx="29">
                  <c:v>3.4285999999999999</c:v>
                </c:pt>
                <c:pt idx="30">
                  <c:v>3.8571</c:v>
                </c:pt>
                <c:pt idx="31">
                  <c:v>3.8571</c:v>
                </c:pt>
                <c:pt idx="32">
                  <c:v>4</c:v>
                </c:pt>
                <c:pt idx="33">
                  <c:v>4</c:v>
                </c:pt>
                <c:pt idx="34">
                  <c:v>4.1429</c:v>
                </c:pt>
                <c:pt idx="35">
                  <c:v>4.1429</c:v>
                </c:pt>
                <c:pt idx="36">
                  <c:v>4.4286000000000003</c:v>
                </c:pt>
                <c:pt idx="37">
                  <c:v>4.4286000000000003</c:v>
                </c:pt>
                <c:pt idx="38">
                  <c:v>4.5713999999999997</c:v>
                </c:pt>
                <c:pt idx="39">
                  <c:v>4.5713999999999997</c:v>
                </c:pt>
                <c:pt idx="40">
                  <c:v>4.7142999999999997</c:v>
                </c:pt>
                <c:pt idx="41">
                  <c:v>4.7142999999999997</c:v>
                </c:pt>
                <c:pt idx="42">
                  <c:v>4.8571</c:v>
                </c:pt>
                <c:pt idx="43">
                  <c:v>4.8571</c:v>
                </c:pt>
                <c:pt idx="44">
                  <c:v>5</c:v>
                </c:pt>
                <c:pt idx="45">
                  <c:v>5</c:v>
                </c:pt>
                <c:pt idx="46">
                  <c:v>5.1429</c:v>
                </c:pt>
                <c:pt idx="47">
                  <c:v>5.1429</c:v>
                </c:pt>
                <c:pt idx="48">
                  <c:v>5.2857000000000003</c:v>
                </c:pt>
                <c:pt idx="49">
                  <c:v>5.2857000000000003</c:v>
                </c:pt>
                <c:pt idx="50">
                  <c:v>5.4286000000000003</c:v>
                </c:pt>
                <c:pt idx="51">
                  <c:v>5.4286000000000003</c:v>
                </c:pt>
                <c:pt idx="52">
                  <c:v>5.5713999999999997</c:v>
                </c:pt>
                <c:pt idx="53">
                  <c:v>5.5713999999999997</c:v>
                </c:pt>
                <c:pt idx="54">
                  <c:v>5.7142999999999997</c:v>
                </c:pt>
                <c:pt idx="55">
                  <c:v>5.7142999999999997</c:v>
                </c:pt>
                <c:pt idx="56">
                  <c:v>6</c:v>
                </c:pt>
                <c:pt idx="57">
                  <c:v>6</c:v>
                </c:pt>
                <c:pt idx="58">
                  <c:v>6.1429</c:v>
                </c:pt>
                <c:pt idx="59">
                  <c:v>6.1429</c:v>
                </c:pt>
                <c:pt idx="60">
                  <c:v>6.2857000000000003</c:v>
                </c:pt>
                <c:pt idx="61">
                  <c:v>6.2857000000000003</c:v>
                </c:pt>
                <c:pt idx="62">
                  <c:v>6.4286000000000003</c:v>
                </c:pt>
                <c:pt idx="63">
                  <c:v>6.4286000000000003</c:v>
                </c:pt>
                <c:pt idx="64">
                  <c:v>6.7142999999999997</c:v>
                </c:pt>
                <c:pt idx="65">
                  <c:v>6.7142999999999997</c:v>
                </c:pt>
                <c:pt idx="66">
                  <c:v>6.8571</c:v>
                </c:pt>
                <c:pt idx="67">
                  <c:v>6.8571</c:v>
                </c:pt>
                <c:pt idx="68">
                  <c:v>7</c:v>
                </c:pt>
                <c:pt idx="69">
                  <c:v>7</c:v>
                </c:pt>
                <c:pt idx="70">
                  <c:v>7.1429</c:v>
                </c:pt>
                <c:pt idx="71">
                  <c:v>7.1429</c:v>
                </c:pt>
                <c:pt idx="72">
                  <c:v>7.2857000000000003</c:v>
                </c:pt>
                <c:pt idx="73">
                  <c:v>7.2857000000000003</c:v>
                </c:pt>
                <c:pt idx="74">
                  <c:v>7.4286000000000003</c:v>
                </c:pt>
                <c:pt idx="75">
                  <c:v>7.4286000000000003</c:v>
                </c:pt>
                <c:pt idx="76">
                  <c:v>7.7142999999999997</c:v>
                </c:pt>
                <c:pt idx="77">
                  <c:v>7.7142999999999997</c:v>
                </c:pt>
                <c:pt idx="78">
                  <c:v>7.8571</c:v>
                </c:pt>
                <c:pt idx="79">
                  <c:v>7.8571</c:v>
                </c:pt>
                <c:pt idx="80">
                  <c:v>8</c:v>
                </c:pt>
                <c:pt idx="81">
                  <c:v>8</c:v>
                </c:pt>
                <c:pt idx="82">
                  <c:v>8.1428999999999991</c:v>
                </c:pt>
                <c:pt idx="83">
                  <c:v>8.1428999999999991</c:v>
                </c:pt>
                <c:pt idx="84">
                  <c:v>8.2857000000000003</c:v>
                </c:pt>
                <c:pt idx="85">
                  <c:v>8.2857000000000003</c:v>
                </c:pt>
                <c:pt idx="86">
                  <c:v>8.4285999999999994</c:v>
                </c:pt>
                <c:pt idx="87">
                  <c:v>8.4285999999999994</c:v>
                </c:pt>
                <c:pt idx="88">
                  <c:v>8.5714000000000006</c:v>
                </c:pt>
                <c:pt idx="89">
                  <c:v>8.5714000000000006</c:v>
                </c:pt>
                <c:pt idx="90">
                  <c:v>8.7142999999999997</c:v>
                </c:pt>
                <c:pt idx="91">
                  <c:v>8.7142999999999997</c:v>
                </c:pt>
                <c:pt idx="92">
                  <c:v>8.8571000000000009</c:v>
                </c:pt>
                <c:pt idx="93">
                  <c:v>8.8571000000000009</c:v>
                </c:pt>
                <c:pt idx="94">
                  <c:v>9.1428999999999991</c:v>
                </c:pt>
                <c:pt idx="95">
                  <c:v>9.1428999999999991</c:v>
                </c:pt>
                <c:pt idx="96">
                  <c:v>9.2857000000000003</c:v>
                </c:pt>
                <c:pt idx="97">
                  <c:v>9.2857000000000003</c:v>
                </c:pt>
                <c:pt idx="98">
                  <c:v>9.4285999999999994</c:v>
                </c:pt>
                <c:pt idx="99">
                  <c:v>9.4285999999999994</c:v>
                </c:pt>
                <c:pt idx="100">
                  <c:v>9.5714000000000006</c:v>
                </c:pt>
                <c:pt idx="101">
                  <c:v>9.5714000000000006</c:v>
                </c:pt>
                <c:pt idx="102">
                  <c:v>9.7142999999999997</c:v>
                </c:pt>
                <c:pt idx="103">
                  <c:v>9.7142999999999997</c:v>
                </c:pt>
                <c:pt idx="104">
                  <c:v>10</c:v>
                </c:pt>
                <c:pt idx="105">
                  <c:v>10</c:v>
                </c:pt>
                <c:pt idx="106">
                  <c:v>10.142899999999999</c:v>
                </c:pt>
                <c:pt idx="107">
                  <c:v>10.142899999999999</c:v>
                </c:pt>
                <c:pt idx="108">
                  <c:v>10.428599999999999</c:v>
                </c:pt>
                <c:pt idx="109">
                  <c:v>10.428599999999999</c:v>
                </c:pt>
                <c:pt idx="110">
                  <c:v>10.7143</c:v>
                </c:pt>
                <c:pt idx="111">
                  <c:v>10.7143</c:v>
                </c:pt>
                <c:pt idx="112">
                  <c:v>10.857100000000001</c:v>
                </c:pt>
                <c:pt idx="113">
                  <c:v>10.857100000000001</c:v>
                </c:pt>
                <c:pt idx="114">
                  <c:v>11</c:v>
                </c:pt>
                <c:pt idx="115">
                  <c:v>11</c:v>
                </c:pt>
                <c:pt idx="116">
                  <c:v>11.142899999999999</c:v>
                </c:pt>
                <c:pt idx="117">
                  <c:v>11.142899999999999</c:v>
                </c:pt>
                <c:pt idx="118">
                  <c:v>11.2857</c:v>
                </c:pt>
                <c:pt idx="119">
                  <c:v>11.2857</c:v>
                </c:pt>
                <c:pt idx="120">
                  <c:v>11.428599999999999</c:v>
                </c:pt>
                <c:pt idx="121">
                  <c:v>11.428599999999999</c:v>
                </c:pt>
                <c:pt idx="122">
                  <c:v>11.571400000000001</c:v>
                </c:pt>
                <c:pt idx="123">
                  <c:v>11.571400000000001</c:v>
                </c:pt>
                <c:pt idx="124">
                  <c:v>11.7143</c:v>
                </c:pt>
                <c:pt idx="125">
                  <c:v>11.7143</c:v>
                </c:pt>
                <c:pt idx="126">
                  <c:v>11.857100000000001</c:v>
                </c:pt>
                <c:pt idx="127">
                  <c:v>11.857100000000001</c:v>
                </c:pt>
                <c:pt idx="128">
                  <c:v>12</c:v>
                </c:pt>
                <c:pt idx="129">
                  <c:v>12</c:v>
                </c:pt>
                <c:pt idx="130">
                  <c:v>12.142899999999999</c:v>
                </c:pt>
                <c:pt idx="131">
                  <c:v>12.142899999999999</c:v>
                </c:pt>
                <c:pt idx="132">
                  <c:v>12.428599999999999</c:v>
                </c:pt>
                <c:pt idx="133">
                  <c:v>12.428599999999999</c:v>
                </c:pt>
                <c:pt idx="134">
                  <c:v>12.7143</c:v>
                </c:pt>
                <c:pt idx="135">
                  <c:v>12.7143</c:v>
                </c:pt>
                <c:pt idx="136">
                  <c:v>12.857100000000001</c:v>
                </c:pt>
                <c:pt idx="137">
                  <c:v>12.857100000000001</c:v>
                </c:pt>
                <c:pt idx="138">
                  <c:v>13</c:v>
                </c:pt>
                <c:pt idx="139">
                  <c:v>13</c:v>
                </c:pt>
                <c:pt idx="140">
                  <c:v>13.142899999999999</c:v>
                </c:pt>
                <c:pt idx="141">
                  <c:v>13.142899999999999</c:v>
                </c:pt>
                <c:pt idx="142">
                  <c:v>13.2857</c:v>
                </c:pt>
                <c:pt idx="143">
                  <c:v>13.2857</c:v>
                </c:pt>
                <c:pt idx="144">
                  <c:v>13.428599999999999</c:v>
                </c:pt>
                <c:pt idx="145">
                  <c:v>13.428599999999999</c:v>
                </c:pt>
                <c:pt idx="146">
                  <c:v>13.571400000000001</c:v>
                </c:pt>
                <c:pt idx="147">
                  <c:v>13.571400000000001</c:v>
                </c:pt>
                <c:pt idx="148">
                  <c:v>13.7143</c:v>
                </c:pt>
                <c:pt idx="149">
                  <c:v>13.7143</c:v>
                </c:pt>
                <c:pt idx="150">
                  <c:v>14</c:v>
                </c:pt>
                <c:pt idx="151">
                  <c:v>14</c:v>
                </c:pt>
                <c:pt idx="152">
                  <c:v>14.142899999999999</c:v>
                </c:pt>
                <c:pt idx="153">
                  <c:v>14.142899999999999</c:v>
                </c:pt>
                <c:pt idx="154">
                  <c:v>14.2857</c:v>
                </c:pt>
                <c:pt idx="155">
                  <c:v>14.2857</c:v>
                </c:pt>
                <c:pt idx="156">
                  <c:v>14.571400000000001</c:v>
                </c:pt>
                <c:pt idx="157">
                  <c:v>14.571400000000001</c:v>
                </c:pt>
                <c:pt idx="158">
                  <c:v>14.7143</c:v>
                </c:pt>
                <c:pt idx="159">
                  <c:v>14.7143</c:v>
                </c:pt>
                <c:pt idx="160">
                  <c:v>14.857100000000001</c:v>
                </c:pt>
                <c:pt idx="161">
                  <c:v>14.857100000000001</c:v>
                </c:pt>
                <c:pt idx="162">
                  <c:v>15.142899999999999</c:v>
                </c:pt>
                <c:pt idx="163">
                  <c:v>15.142899999999999</c:v>
                </c:pt>
                <c:pt idx="164">
                  <c:v>15.428599999999999</c:v>
                </c:pt>
                <c:pt idx="165">
                  <c:v>15.428599999999999</c:v>
                </c:pt>
                <c:pt idx="166">
                  <c:v>15.571400000000001</c:v>
                </c:pt>
                <c:pt idx="167">
                  <c:v>15.571400000000001</c:v>
                </c:pt>
                <c:pt idx="168">
                  <c:v>15.7143</c:v>
                </c:pt>
                <c:pt idx="169">
                  <c:v>15.7143</c:v>
                </c:pt>
                <c:pt idx="170">
                  <c:v>15.857100000000001</c:v>
                </c:pt>
                <c:pt idx="171">
                  <c:v>15.857100000000001</c:v>
                </c:pt>
                <c:pt idx="172">
                  <c:v>16</c:v>
                </c:pt>
                <c:pt idx="173">
                  <c:v>16</c:v>
                </c:pt>
                <c:pt idx="174">
                  <c:v>16.142900000000001</c:v>
                </c:pt>
                <c:pt idx="175">
                  <c:v>16.142900000000001</c:v>
                </c:pt>
                <c:pt idx="176">
                  <c:v>16.285699999999999</c:v>
                </c:pt>
                <c:pt idx="177">
                  <c:v>16.285699999999999</c:v>
                </c:pt>
                <c:pt idx="178">
                  <c:v>16.428599999999999</c:v>
                </c:pt>
                <c:pt idx="179">
                  <c:v>16.428599999999999</c:v>
                </c:pt>
                <c:pt idx="180">
                  <c:v>16.571400000000001</c:v>
                </c:pt>
                <c:pt idx="181">
                  <c:v>16.571400000000001</c:v>
                </c:pt>
                <c:pt idx="182">
                  <c:v>16.714300000000001</c:v>
                </c:pt>
                <c:pt idx="183">
                  <c:v>16.714300000000001</c:v>
                </c:pt>
                <c:pt idx="184">
                  <c:v>16.857099999999999</c:v>
                </c:pt>
                <c:pt idx="185">
                  <c:v>16.857099999999999</c:v>
                </c:pt>
                <c:pt idx="186">
                  <c:v>17</c:v>
                </c:pt>
                <c:pt idx="187">
                  <c:v>17</c:v>
                </c:pt>
                <c:pt idx="188">
                  <c:v>17.142900000000001</c:v>
                </c:pt>
                <c:pt idx="189">
                  <c:v>17.142900000000001</c:v>
                </c:pt>
                <c:pt idx="190">
                  <c:v>17.285699999999999</c:v>
                </c:pt>
                <c:pt idx="191">
                  <c:v>17.285699999999999</c:v>
                </c:pt>
                <c:pt idx="192">
                  <c:v>17.714300000000001</c:v>
                </c:pt>
                <c:pt idx="193">
                  <c:v>17.714300000000001</c:v>
                </c:pt>
                <c:pt idx="194">
                  <c:v>17.857099999999999</c:v>
                </c:pt>
                <c:pt idx="195">
                  <c:v>17.857099999999999</c:v>
                </c:pt>
                <c:pt idx="196">
                  <c:v>18</c:v>
                </c:pt>
                <c:pt idx="197">
                  <c:v>18</c:v>
                </c:pt>
                <c:pt idx="198">
                  <c:v>18.142900000000001</c:v>
                </c:pt>
                <c:pt idx="199">
                  <c:v>18.142900000000001</c:v>
                </c:pt>
                <c:pt idx="200">
                  <c:v>18.285699999999999</c:v>
                </c:pt>
                <c:pt idx="201">
                  <c:v>18.285699999999999</c:v>
                </c:pt>
                <c:pt idx="202">
                  <c:v>18.428599999999999</c:v>
                </c:pt>
                <c:pt idx="203">
                  <c:v>18.428599999999999</c:v>
                </c:pt>
                <c:pt idx="204">
                  <c:v>18.571400000000001</c:v>
                </c:pt>
                <c:pt idx="205">
                  <c:v>18.571400000000001</c:v>
                </c:pt>
                <c:pt idx="206">
                  <c:v>18.714300000000001</c:v>
                </c:pt>
                <c:pt idx="207">
                  <c:v>18.714300000000001</c:v>
                </c:pt>
                <c:pt idx="208">
                  <c:v>18.857099999999999</c:v>
                </c:pt>
                <c:pt idx="209">
                  <c:v>18.857099999999999</c:v>
                </c:pt>
                <c:pt idx="210">
                  <c:v>19</c:v>
                </c:pt>
                <c:pt idx="211">
                  <c:v>19</c:v>
                </c:pt>
                <c:pt idx="212">
                  <c:v>19.142900000000001</c:v>
                </c:pt>
                <c:pt idx="213">
                  <c:v>19.142900000000001</c:v>
                </c:pt>
                <c:pt idx="214">
                  <c:v>19.571400000000001</c:v>
                </c:pt>
                <c:pt idx="215">
                  <c:v>19.571400000000001</c:v>
                </c:pt>
                <c:pt idx="216">
                  <c:v>19.714300000000001</c:v>
                </c:pt>
                <c:pt idx="217">
                  <c:v>19.714300000000001</c:v>
                </c:pt>
                <c:pt idx="218">
                  <c:v>19.857099999999999</c:v>
                </c:pt>
                <c:pt idx="219">
                  <c:v>19.857099999999999</c:v>
                </c:pt>
                <c:pt idx="220">
                  <c:v>20</c:v>
                </c:pt>
                <c:pt idx="221">
                  <c:v>20</c:v>
                </c:pt>
                <c:pt idx="222">
                  <c:v>20.142900000000001</c:v>
                </c:pt>
                <c:pt idx="223">
                  <c:v>20.142900000000001</c:v>
                </c:pt>
                <c:pt idx="224">
                  <c:v>20.285699999999999</c:v>
                </c:pt>
                <c:pt idx="225">
                  <c:v>20.285699999999999</c:v>
                </c:pt>
                <c:pt idx="226">
                  <c:v>20.428599999999999</c:v>
                </c:pt>
                <c:pt idx="227">
                  <c:v>20.428599999999999</c:v>
                </c:pt>
                <c:pt idx="228">
                  <c:v>20.571400000000001</c:v>
                </c:pt>
                <c:pt idx="229">
                  <c:v>20.571400000000001</c:v>
                </c:pt>
                <c:pt idx="230">
                  <c:v>20.714300000000001</c:v>
                </c:pt>
                <c:pt idx="231">
                  <c:v>20.714300000000001</c:v>
                </c:pt>
                <c:pt idx="232">
                  <c:v>20.857099999999999</c:v>
                </c:pt>
                <c:pt idx="233">
                  <c:v>20.857099999999999</c:v>
                </c:pt>
                <c:pt idx="234">
                  <c:v>21</c:v>
                </c:pt>
                <c:pt idx="235">
                  <c:v>21</c:v>
                </c:pt>
                <c:pt idx="236">
                  <c:v>21.142900000000001</c:v>
                </c:pt>
                <c:pt idx="237">
                  <c:v>21.142900000000001</c:v>
                </c:pt>
                <c:pt idx="238">
                  <c:v>21.285699999999999</c:v>
                </c:pt>
                <c:pt idx="239">
                  <c:v>21.285699999999999</c:v>
                </c:pt>
                <c:pt idx="240">
                  <c:v>21.571400000000001</c:v>
                </c:pt>
                <c:pt idx="241">
                  <c:v>21.571400000000001</c:v>
                </c:pt>
                <c:pt idx="242">
                  <c:v>21.714300000000001</c:v>
                </c:pt>
                <c:pt idx="243">
                  <c:v>21.714300000000001</c:v>
                </c:pt>
                <c:pt idx="244">
                  <c:v>21.857099999999999</c:v>
                </c:pt>
                <c:pt idx="245">
                  <c:v>21.857099999999999</c:v>
                </c:pt>
                <c:pt idx="246">
                  <c:v>22</c:v>
                </c:pt>
                <c:pt idx="247">
                  <c:v>22</c:v>
                </c:pt>
                <c:pt idx="248">
                  <c:v>22.142900000000001</c:v>
                </c:pt>
                <c:pt idx="249">
                  <c:v>22.142900000000001</c:v>
                </c:pt>
                <c:pt idx="250">
                  <c:v>22.428599999999999</c:v>
                </c:pt>
                <c:pt idx="251">
                  <c:v>22.428599999999999</c:v>
                </c:pt>
                <c:pt idx="252">
                  <c:v>22.571400000000001</c:v>
                </c:pt>
                <c:pt idx="253">
                  <c:v>22.571400000000001</c:v>
                </c:pt>
                <c:pt idx="254">
                  <c:v>22.857099999999999</c:v>
                </c:pt>
                <c:pt idx="255">
                  <c:v>22.857099999999999</c:v>
                </c:pt>
                <c:pt idx="256">
                  <c:v>23.714300000000001</c:v>
                </c:pt>
                <c:pt idx="257">
                  <c:v>23.714300000000001</c:v>
                </c:pt>
                <c:pt idx="258">
                  <c:v>23.857099999999999</c:v>
                </c:pt>
                <c:pt idx="259">
                  <c:v>23.857099999999999</c:v>
                </c:pt>
                <c:pt idx="260">
                  <c:v>24</c:v>
                </c:pt>
                <c:pt idx="261">
                  <c:v>24</c:v>
                </c:pt>
                <c:pt idx="262">
                  <c:v>24.142900000000001</c:v>
                </c:pt>
                <c:pt idx="263">
                  <c:v>24.142900000000001</c:v>
                </c:pt>
                <c:pt idx="264">
                  <c:v>24.285699999999999</c:v>
                </c:pt>
                <c:pt idx="265">
                  <c:v>24.285699999999999</c:v>
                </c:pt>
                <c:pt idx="266">
                  <c:v>24.571400000000001</c:v>
                </c:pt>
                <c:pt idx="267">
                  <c:v>24.571400000000001</c:v>
                </c:pt>
                <c:pt idx="268">
                  <c:v>25.142900000000001</c:v>
                </c:pt>
                <c:pt idx="269">
                  <c:v>25.142900000000001</c:v>
                </c:pt>
                <c:pt idx="270">
                  <c:v>25.428599999999999</c:v>
                </c:pt>
                <c:pt idx="271">
                  <c:v>25.428599999999999</c:v>
                </c:pt>
                <c:pt idx="272">
                  <c:v>25.571400000000001</c:v>
                </c:pt>
                <c:pt idx="273">
                  <c:v>25.571400000000001</c:v>
                </c:pt>
                <c:pt idx="274">
                  <c:v>25.714300000000001</c:v>
                </c:pt>
                <c:pt idx="275">
                  <c:v>25.714300000000001</c:v>
                </c:pt>
                <c:pt idx="276">
                  <c:v>25.857099999999999</c:v>
                </c:pt>
                <c:pt idx="277">
                  <c:v>25.857099999999999</c:v>
                </c:pt>
                <c:pt idx="278">
                  <c:v>26</c:v>
                </c:pt>
              </c:numCache>
            </c:numRef>
          </c:xVal>
          <c:yVal>
            <c:numRef>
              <c:f>Sheet1!$B$2:$B$344</c:f>
              <c:numCache>
                <c:formatCode>General</c:formatCode>
                <c:ptCount val="343"/>
                <c:pt idx="0">
                  <c:v>0</c:v>
                </c:pt>
                <c:pt idx="1">
                  <c:v>3.5999999999999999E-3</c:v>
                </c:pt>
                <c:pt idx="2">
                  <c:v>3.5999999999999999E-3</c:v>
                </c:pt>
                <c:pt idx="3">
                  <c:v>7.1900000000000002E-3</c:v>
                </c:pt>
                <c:pt idx="4">
                  <c:v>7.1900000000000002E-3</c:v>
                </c:pt>
                <c:pt idx="5">
                  <c:v>1.0789999999999999E-2</c:v>
                </c:pt>
                <c:pt idx="6">
                  <c:v>1.0789999999999999E-2</c:v>
                </c:pt>
                <c:pt idx="7">
                  <c:v>1.439E-2</c:v>
                </c:pt>
                <c:pt idx="8">
                  <c:v>1.439E-2</c:v>
                </c:pt>
                <c:pt idx="9">
                  <c:v>2.1579999999999998E-2</c:v>
                </c:pt>
                <c:pt idx="10">
                  <c:v>2.1579999999999998E-2</c:v>
                </c:pt>
                <c:pt idx="11">
                  <c:v>2.5180000000000001E-2</c:v>
                </c:pt>
                <c:pt idx="12">
                  <c:v>2.5180000000000001E-2</c:v>
                </c:pt>
                <c:pt idx="13">
                  <c:v>2.879E-2</c:v>
                </c:pt>
                <c:pt idx="14">
                  <c:v>2.879E-2</c:v>
                </c:pt>
                <c:pt idx="15">
                  <c:v>3.2399999999999998E-2</c:v>
                </c:pt>
                <c:pt idx="16">
                  <c:v>3.2399999999999998E-2</c:v>
                </c:pt>
                <c:pt idx="17">
                  <c:v>3.6040000000000003E-2</c:v>
                </c:pt>
                <c:pt idx="18">
                  <c:v>3.6040000000000003E-2</c:v>
                </c:pt>
                <c:pt idx="19">
                  <c:v>3.9669999999999997E-2</c:v>
                </c:pt>
                <c:pt idx="20">
                  <c:v>3.9669999999999997E-2</c:v>
                </c:pt>
                <c:pt idx="21">
                  <c:v>5.058E-2</c:v>
                </c:pt>
                <c:pt idx="22">
                  <c:v>5.058E-2</c:v>
                </c:pt>
                <c:pt idx="23">
                  <c:v>5.7880000000000001E-2</c:v>
                </c:pt>
                <c:pt idx="24">
                  <c:v>5.7880000000000001E-2</c:v>
                </c:pt>
                <c:pt idx="25">
                  <c:v>6.1539999999999997E-2</c:v>
                </c:pt>
                <c:pt idx="26">
                  <c:v>6.1539999999999997E-2</c:v>
                </c:pt>
                <c:pt idx="27">
                  <c:v>6.8919999999999995E-2</c:v>
                </c:pt>
                <c:pt idx="28">
                  <c:v>6.8919999999999995E-2</c:v>
                </c:pt>
                <c:pt idx="29">
                  <c:v>7.9990000000000006E-2</c:v>
                </c:pt>
                <c:pt idx="30">
                  <c:v>7.9990000000000006E-2</c:v>
                </c:pt>
                <c:pt idx="31">
                  <c:v>8.3680000000000004E-2</c:v>
                </c:pt>
                <c:pt idx="32">
                  <c:v>8.3680000000000004E-2</c:v>
                </c:pt>
                <c:pt idx="33">
                  <c:v>8.7370000000000003E-2</c:v>
                </c:pt>
                <c:pt idx="34">
                  <c:v>8.7370000000000003E-2</c:v>
                </c:pt>
                <c:pt idx="35">
                  <c:v>9.4780000000000003E-2</c:v>
                </c:pt>
                <c:pt idx="36">
                  <c:v>9.4780000000000003E-2</c:v>
                </c:pt>
                <c:pt idx="37">
                  <c:v>0.10219</c:v>
                </c:pt>
                <c:pt idx="38">
                  <c:v>0.10219</c:v>
                </c:pt>
                <c:pt idx="39">
                  <c:v>0.1096</c:v>
                </c:pt>
                <c:pt idx="40">
                  <c:v>0.1096</c:v>
                </c:pt>
                <c:pt idx="41">
                  <c:v>0.12812000000000001</c:v>
                </c:pt>
                <c:pt idx="42">
                  <c:v>0.12812000000000001</c:v>
                </c:pt>
                <c:pt idx="43">
                  <c:v>0.13555</c:v>
                </c:pt>
                <c:pt idx="44">
                  <c:v>0.13555</c:v>
                </c:pt>
                <c:pt idx="45">
                  <c:v>0.14679</c:v>
                </c:pt>
                <c:pt idx="46">
                  <c:v>0.14679</c:v>
                </c:pt>
                <c:pt idx="47">
                  <c:v>0.15428</c:v>
                </c:pt>
                <c:pt idx="48">
                  <c:v>0.15428</c:v>
                </c:pt>
                <c:pt idx="49">
                  <c:v>0.16550999999999999</c:v>
                </c:pt>
                <c:pt idx="50">
                  <c:v>0.16550999999999999</c:v>
                </c:pt>
                <c:pt idx="51">
                  <c:v>0.16927</c:v>
                </c:pt>
                <c:pt idx="52">
                  <c:v>0.16927</c:v>
                </c:pt>
                <c:pt idx="53">
                  <c:v>0.17302999999999999</c:v>
                </c:pt>
                <c:pt idx="54">
                  <c:v>0.17302999999999999</c:v>
                </c:pt>
                <c:pt idx="55">
                  <c:v>0.18054999999999999</c:v>
                </c:pt>
                <c:pt idx="56">
                  <c:v>0.18054999999999999</c:v>
                </c:pt>
                <c:pt idx="57">
                  <c:v>0.19191</c:v>
                </c:pt>
                <c:pt idx="58">
                  <c:v>0.19191</c:v>
                </c:pt>
                <c:pt idx="59">
                  <c:v>0.19949</c:v>
                </c:pt>
                <c:pt idx="60">
                  <c:v>0.19949</c:v>
                </c:pt>
                <c:pt idx="61">
                  <c:v>0.21085000000000001</c:v>
                </c:pt>
                <c:pt idx="62">
                  <c:v>0.21085000000000001</c:v>
                </c:pt>
                <c:pt idx="63">
                  <c:v>0.21843000000000001</c:v>
                </c:pt>
                <c:pt idx="64">
                  <c:v>0.21843000000000001</c:v>
                </c:pt>
                <c:pt idx="65">
                  <c:v>0.22222</c:v>
                </c:pt>
                <c:pt idx="66">
                  <c:v>0.22222</c:v>
                </c:pt>
                <c:pt idx="67">
                  <c:v>0.23743</c:v>
                </c:pt>
                <c:pt idx="68">
                  <c:v>0.23743</c:v>
                </c:pt>
                <c:pt idx="69">
                  <c:v>0.24506</c:v>
                </c:pt>
                <c:pt idx="70">
                  <c:v>0.24506</c:v>
                </c:pt>
                <c:pt idx="71">
                  <c:v>0.25269000000000003</c:v>
                </c:pt>
                <c:pt idx="72">
                  <c:v>0.25269000000000003</c:v>
                </c:pt>
                <c:pt idx="73">
                  <c:v>0.25651000000000002</c:v>
                </c:pt>
                <c:pt idx="74">
                  <c:v>0.25651000000000002</c:v>
                </c:pt>
                <c:pt idx="75">
                  <c:v>0.26417000000000002</c:v>
                </c:pt>
                <c:pt idx="76">
                  <c:v>0.26417000000000002</c:v>
                </c:pt>
                <c:pt idx="77">
                  <c:v>0.27567000000000003</c:v>
                </c:pt>
                <c:pt idx="78">
                  <c:v>0.27567000000000003</c:v>
                </c:pt>
                <c:pt idx="79">
                  <c:v>0.27950000000000003</c:v>
                </c:pt>
                <c:pt idx="80">
                  <c:v>0.27950000000000003</c:v>
                </c:pt>
                <c:pt idx="81">
                  <c:v>0.28333000000000003</c:v>
                </c:pt>
                <c:pt idx="82">
                  <c:v>0.28333000000000003</c:v>
                </c:pt>
                <c:pt idx="83">
                  <c:v>0.28716000000000003</c:v>
                </c:pt>
                <c:pt idx="84">
                  <c:v>0.28716000000000003</c:v>
                </c:pt>
                <c:pt idx="85">
                  <c:v>0.29865999999999998</c:v>
                </c:pt>
                <c:pt idx="86">
                  <c:v>0.29865999999999998</c:v>
                </c:pt>
                <c:pt idx="87">
                  <c:v>0.30631999999999998</c:v>
                </c:pt>
                <c:pt idx="88">
                  <c:v>0.30631999999999998</c:v>
                </c:pt>
                <c:pt idx="89">
                  <c:v>0.31397999999999998</c:v>
                </c:pt>
                <c:pt idx="90">
                  <c:v>0.31397999999999998</c:v>
                </c:pt>
                <c:pt idx="91">
                  <c:v>0.31780999999999998</c:v>
                </c:pt>
                <c:pt idx="92">
                  <c:v>0.31780999999999998</c:v>
                </c:pt>
                <c:pt idx="93">
                  <c:v>0.32547999999999999</c:v>
                </c:pt>
                <c:pt idx="94">
                  <c:v>0.32547999999999999</c:v>
                </c:pt>
                <c:pt idx="95">
                  <c:v>0.34079999999999999</c:v>
                </c:pt>
                <c:pt idx="96">
                  <c:v>0.34079999999999999</c:v>
                </c:pt>
                <c:pt idx="97">
                  <c:v>0.34845999999999999</c:v>
                </c:pt>
                <c:pt idx="98">
                  <c:v>0.34845999999999999</c:v>
                </c:pt>
                <c:pt idx="99">
                  <c:v>0.35996</c:v>
                </c:pt>
                <c:pt idx="100">
                  <c:v>0.35996</c:v>
                </c:pt>
                <c:pt idx="101">
                  <c:v>0.37145</c:v>
                </c:pt>
                <c:pt idx="102">
                  <c:v>0.37145</c:v>
                </c:pt>
                <c:pt idx="103">
                  <c:v>0.39061000000000001</c:v>
                </c:pt>
                <c:pt idx="104">
                  <c:v>0.39061000000000001</c:v>
                </c:pt>
                <c:pt idx="105">
                  <c:v>0.40210000000000001</c:v>
                </c:pt>
                <c:pt idx="106">
                  <c:v>0.40210000000000001</c:v>
                </c:pt>
                <c:pt idx="107">
                  <c:v>0.42126000000000002</c:v>
                </c:pt>
                <c:pt idx="108">
                  <c:v>0.42126000000000002</c:v>
                </c:pt>
                <c:pt idx="109">
                  <c:v>0.43275999999999998</c:v>
                </c:pt>
                <c:pt idx="110">
                  <c:v>0.43275999999999998</c:v>
                </c:pt>
                <c:pt idx="111">
                  <c:v>0.44041999999999998</c:v>
                </c:pt>
                <c:pt idx="112">
                  <c:v>0.44041999999999998</c:v>
                </c:pt>
                <c:pt idx="113">
                  <c:v>0.44807999999999998</c:v>
                </c:pt>
                <c:pt idx="114">
                  <c:v>0.44807999999999998</c:v>
                </c:pt>
                <c:pt idx="115">
                  <c:v>0.45190999999999998</c:v>
                </c:pt>
                <c:pt idx="116">
                  <c:v>0.45190999999999998</c:v>
                </c:pt>
                <c:pt idx="117">
                  <c:v>0.46340999999999999</c:v>
                </c:pt>
                <c:pt idx="118">
                  <c:v>0.46340999999999999</c:v>
                </c:pt>
                <c:pt idx="119">
                  <c:v>0.46723999999999999</c:v>
                </c:pt>
                <c:pt idx="120">
                  <c:v>0.46723999999999999</c:v>
                </c:pt>
                <c:pt idx="121">
                  <c:v>0.47872999999999999</c:v>
                </c:pt>
                <c:pt idx="122">
                  <c:v>0.47872999999999999</c:v>
                </c:pt>
                <c:pt idx="123">
                  <c:v>0.4864</c:v>
                </c:pt>
                <c:pt idx="124">
                  <c:v>0.4864</c:v>
                </c:pt>
                <c:pt idx="125">
                  <c:v>0.49406</c:v>
                </c:pt>
                <c:pt idx="126">
                  <c:v>0.49406</c:v>
                </c:pt>
                <c:pt idx="127">
                  <c:v>0.50172000000000005</c:v>
                </c:pt>
                <c:pt idx="128">
                  <c:v>0.50172000000000005</c:v>
                </c:pt>
                <c:pt idx="129">
                  <c:v>0.50938000000000005</c:v>
                </c:pt>
                <c:pt idx="130">
                  <c:v>0.50938000000000005</c:v>
                </c:pt>
                <c:pt idx="131">
                  <c:v>0.51321000000000006</c:v>
                </c:pt>
                <c:pt idx="132">
                  <c:v>0.51321000000000006</c:v>
                </c:pt>
                <c:pt idx="133">
                  <c:v>0.52090999999999998</c:v>
                </c:pt>
                <c:pt idx="134">
                  <c:v>0.52090999999999998</c:v>
                </c:pt>
                <c:pt idx="135">
                  <c:v>0.53244999999999998</c:v>
                </c:pt>
                <c:pt idx="136">
                  <c:v>0.53244999999999998</c:v>
                </c:pt>
                <c:pt idx="137">
                  <c:v>0.54013999999999995</c:v>
                </c:pt>
                <c:pt idx="138">
                  <c:v>0.54013999999999995</c:v>
                </c:pt>
                <c:pt idx="139">
                  <c:v>0.54400000000000004</c:v>
                </c:pt>
                <c:pt idx="140">
                  <c:v>0.54400000000000004</c:v>
                </c:pt>
                <c:pt idx="141">
                  <c:v>0.5595</c:v>
                </c:pt>
                <c:pt idx="142">
                  <c:v>0.5595</c:v>
                </c:pt>
                <c:pt idx="143">
                  <c:v>0.57113000000000003</c:v>
                </c:pt>
                <c:pt idx="144">
                  <c:v>0.57113000000000003</c:v>
                </c:pt>
                <c:pt idx="145">
                  <c:v>0.58275999999999994</c:v>
                </c:pt>
                <c:pt idx="146">
                  <c:v>0.58275999999999994</c:v>
                </c:pt>
                <c:pt idx="147">
                  <c:v>0.60214000000000001</c:v>
                </c:pt>
                <c:pt idx="148">
                  <c:v>0.60214000000000001</c:v>
                </c:pt>
                <c:pt idx="149">
                  <c:v>0.61377000000000004</c:v>
                </c:pt>
                <c:pt idx="150">
                  <c:v>0.61377000000000004</c:v>
                </c:pt>
                <c:pt idx="151">
                  <c:v>0.62539</c:v>
                </c:pt>
                <c:pt idx="152">
                  <c:v>0.62539</c:v>
                </c:pt>
                <c:pt idx="153">
                  <c:v>0.62929000000000002</c:v>
                </c:pt>
                <c:pt idx="154">
                  <c:v>0.62929000000000002</c:v>
                </c:pt>
                <c:pt idx="155">
                  <c:v>0.64095999999999997</c:v>
                </c:pt>
                <c:pt idx="156">
                  <c:v>0.64095999999999997</c:v>
                </c:pt>
                <c:pt idx="157">
                  <c:v>0.65263000000000004</c:v>
                </c:pt>
                <c:pt idx="158">
                  <c:v>0.65263000000000004</c:v>
                </c:pt>
                <c:pt idx="159">
                  <c:v>0.65651999999999999</c:v>
                </c:pt>
                <c:pt idx="160">
                  <c:v>0.65651999999999999</c:v>
                </c:pt>
                <c:pt idx="161">
                  <c:v>0.66041000000000005</c:v>
                </c:pt>
                <c:pt idx="162">
                  <c:v>0.66041000000000005</c:v>
                </c:pt>
                <c:pt idx="163">
                  <c:v>0.67208999999999997</c:v>
                </c:pt>
                <c:pt idx="164">
                  <c:v>0.67208999999999997</c:v>
                </c:pt>
                <c:pt idx="165">
                  <c:v>0.67598999999999998</c:v>
                </c:pt>
                <c:pt idx="166">
                  <c:v>0.67598999999999998</c:v>
                </c:pt>
                <c:pt idx="167">
                  <c:v>0.68381000000000003</c:v>
                </c:pt>
                <c:pt idx="168">
                  <c:v>0.68381000000000003</c:v>
                </c:pt>
                <c:pt idx="169">
                  <c:v>0.69552000000000003</c:v>
                </c:pt>
                <c:pt idx="170">
                  <c:v>0.69552000000000003</c:v>
                </c:pt>
                <c:pt idx="171">
                  <c:v>0.71121000000000001</c:v>
                </c:pt>
                <c:pt idx="172">
                  <c:v>0.71121000000000001</c:v>
                </c:pt>
                <c:pt idx="173">
                  <c:v>0.71904999999999997</c:v>
                </c:pt>
                <c:pt idx="174">
                  <c:v>0.71904999999999997</c:v>
                </c:pt>
                <c:pt idx="175">
                  <c:v>0.73082000000000003</c:v>
                </c:pt>
                <c:pt idx="176">
                  <c:v>0.73082000000000003</c:v>
                </c:pt>
                <c:pt idx="177">
                  <c:v>0.74258000000000002</c:v>
                </c:pt>
                <c:pt idx="178">
                  <c:v>0.74258000000000002</c:v>
                </c:pt>
                <c:pt idx="179">
                  <c:v>0.75827</c:v>
                </c:pt>
                <c:pt idx="180">
                  <c:v>0.75827</c:v>
                </c:pt>
                <c:pt idx="181">
                  <c:v>0.76610999999999996</c:v>
                </c:pt>
                <c:pt idx="182">
                  <c:v>0.76610999999999996</c:v>
                </c:pt>
                <c:pt idx="183">
                  <c:v>0.77395999999999998</c:v>
                </c:pt>
                <c:pt idx="184">
                  <c:v>0.77395999999999998</c:v>
                </c:pt>
                <c:pt idx="185">
                  <c:v>0.78180000000000005</c:v>
                </c:pt>
                <c:pt idx="186">
                  <c:v>0.78180000000000005</c:v>
                </c:pt>
                <c:pt idx="187">
                  <c:v>0.78966999999999998</c:v>
                </c:pt>
                <c:pt idx="188">
                  <c:v>0.78966999999999998</c:v>
                </c:pt>
                <c:pt idx="189">
                  <c:v>0.81338999999999995</c:v>
                </c:pt>
                <c:pt idx="190">
                  <c:v>0.81338999999999995</c:v>
                </c:pt>
                <c:pt idx="191">
                  <c:v>0.81733999999999996</c:v>
                </c:pt>
                <c:pt idx="192">
                  <c:v>0.81733999999999996</c:v>
                </c:pt>
                <c:pt idx="193">
                  <c:v>0.82128999999999996</c:v>
                </c:pt>
                <c:pt idx="194">
                  <c:v>0.82128999999999996</c:v>
                </c:pt>
                <c:pt idx="195">
                  <c:v>0.82920000000000005</c:v>
                </c:pt>
                <c:pt idx="196">
                  <c:v>0.82920000000000005</c:v>
                </c:pt>
                <c:pt idx="197">
                  <c:v>0.83709999999999996</c:v>
                </c:pt>
                <c:pt idx="198">
                  <c:v>0.83709999999999996</c:v>
                </c:pt>
                <c:pt idx="199">
                  <c:v>0.84504000000000001</c:v>
                </c:pt>
                <c:pt idx="200">
                  <c:v>0.84504000000000001</c:v>
                </c:pt>
                <c:pt idx="201">
                  <c:v>0.84901000000000004</c:v>
                </c:pt>
                <c:pt idx="202">
                  <c:v>0.84901000000000004</c:v>
                </c:pt>
                <c:pt idx="203">
                  <c:v>0.85697999999999996</c:v>
                </c:pt>
                <c:pt idx="204">
                  <c:v>0.85697999999999996</c:v>
                </c:pt>
                <c:pt idx="205">
                  <c:v>0.86494000000000004</c:v>
                </c:pt>
                <c:pt idx="206">
                  <c:v>0.86494000000000004</c:v>
                </c:pt>
                <c:pt idx="207">
                  <c:v>0.87290999999999996</c:v>
                </c:pt>
                <c:pt idx="208">
                  <c:v>0.87290999999999996</c:v>
                </c:pt>
                <c:pt idx="209">
                  <c:v>0.88885000000000003</c:v>
                </c:pt>
                <c:pt idx="210">
                  <c:v>0.88885000000000003</c:v>
                </c:pt>
                <c:pt idx="211">
                  <c:v>0.89283000000000001</c:v>
                </c:pt>
                <c:pt idx="212">
                  <c:v>0.89283000000000001</c:v>
                </c:pt>
                <c:pt idx="213">
                  <c:v>0.89681999999999995</c:v>
                </c:pt>
                <c:pt idx="214">
                  <c:v>0.89681999999999995</c:v>
                </c:pt>
                <c:pt idx="215">
                  <c:v>0.90080000000000005</c:v>
                </c:pt>
                <c:pt idx="216">
                  <c:v>0.90080000000000005</c:v>
                </c:pt>
                <c:pt idx="217">
                  <c:v>0.90876999999999997</c:v>
                </c:pt>
                <c:pt idx="218">
                  <c:v>0.90876999999999997</c:v>
                </c:pt>
                <c:pt idx="219">
                  <c:v>0.91674</c:v>
                </c:pt>
                <c:pt idx="220">
                  <c:v>0.91674</c:v>
                </c:pt>
                <c:pt idx="221">
                  <c:v>0.93267</c:v>
                </c:pt>
                <c:pt idx="222">
                  <c:v>0.93267</c:v>
                </c:pt>
                <c:pt idx="223">
                  <c:v>0.93666000000000005</c:v>
                </c:pt>
                <c:pt idx="224">
                  <c:v>0.93666000000000005</c:v>
                </c:pt>
                <c:pt idx="225">
                  <c:v>0.94064000000000003</c:v>
                </c:pt>
                <c:pt idx="226">
                  <c:v>0.94064000000000003</c:v>
                </c:pt>
                <c:pt idx="227">
                  <c:v>0.94462999999999997</c:v>
                </c:pt>
                <c:pt idx="228">
                  <c:v>0.94462999999999997</c:v>
                </c:pt>
                <c:pt idx="229">
                  <c:v>0.94860999999999995</c:v>
                </c:pt>
                <c:pt idx="230">
                  <c:v>0.94860999999999995</c:v>
                </c:pt>
                <c:pt idx="231">
                  <c:v>0.95657999999999999</c:v>
                </c:pt>
                <c:pt idx="232">
                  <c:v>0.95657999999999999</c:v>
                </c:pt>
                <c:pt idx="233">
                  <c:v>0.96057999999999999</c:v>
                </c:pt>
                <c:pt idx="234">
                  <c:v>0.96057999999999999</c:v>
                </c:pt>
                <c:pt idx="235">
                  <c:v>0.97258</c:v>
                </c:pt>
                <c:pt idx="236">
                  <c:v>0.97258</c:v>
                </c:pt>
                <c:pt idx="237">
                  <c:v>0.97658</c:v>
                </c:pt>
                <c:pt idx="238">
                  <c:v>0.97658</c:v>
                </c:pt>
                <c:pt idx="239">
                  <c:v>0.98058000000000001</c:v>
                </c:pt>
                <c:pt idx="240">
                  <c:v>0.98058000000000001</c:v>
                </c:pt>
                <c:pt idx="241">
                  <c:v>0.98858000000000001</c:v>
                </c:pt>
                <c:pt idx="242">
                  <c:v>0.98858000000000001</c:v>
                </c:pt>
                <c:pt idx="243">
                  <c:v>0.99658000000000002</c:v>
                </c:pt>
                <c:pt idx="244">
                  <c:v>0.99658000000000002</c:v>
                </c:pt>
                <c:pt idx="245">
                  <c:v>1.00058</c:v>
                </c:pt>
                <c:pt idx="246">
                  <c:v>1.00058</c:v>
                </c:pt>
                <c:pt idx="247">
                  <c:v>1.00458</c:v>
                </c:pt>
                <c:pt idx="248">
                  <c:v>1.00458</c:v>
                </c:pt>
                <c:pt idx="249">
                  <c:v>1.00858</c:v>
                </c:pt>
                <c:pt idx="250">
                  <c:v>1.00858</c:v>
                </c:pt>
                <c:pt idx="251">
                  <c:v>1.01658</c:v>
                </c:pt>
                <c:pt idx="252">
                  <c:v>1.01658</c:v>
                </c:pt>
                <c:pt idx="253">
                  <c:v>1.02058</c:v>
                </c:pt>
                <c:pt idx="254">
                  <c:v>1.02058</c:v>
                </c:pt>
                <c:pt idx="255">
                  <c:v>1.02458</c:v>
                </c:pt>
                <c:pt idx="256">
                  <c:v>1.02458</c:v>
                </c:pt>
                <c:pt idx="257">
                  <c:v>1.02858</c:v>
                </c:pt>
                <c:pt idx="258">
                  <c:v>1.02858</c:v>
                </c:pt>
                <c:pt idx="259">
                  <c:v>1.0325800000000001</c:v>
                </c:pt>
                <c:pt idx="260">
                  <c:v>1.0325800000000001</c:v>
                </c:pt>
                <c:pt idx="261">
                  <c:v>1.0365800000000001</c:v>
                </c:pt>
                <c:pt idx="262">
                  <c:v>1.0365800000000001</c:v>
                </c:pt>
                <c:pt idx="263">
                  <c:v>1.0445800000000001</c:v>
                </c:pt>
                <c:pt idx="264">
                  <c:v>1.0445800000000001</c:v>
                </c:pt>
                <c:pt idx="265">
                  <c:v>1.0525800000000001</c:v>
                </c:pt>
                <c:pt idx="266">
                  <c:v>1.0525800000000001</c:v>
                </c:pt>
                <c:pt idx="267">
                  <c:v>1.0565800000000001</c:v>
                </c:pt>
                <c:pt idx="268">
                  <c:v>1.0565800000000001</c:v>
                </c:pt>
                <c:pt idx="269">
                  <c:v>1.0685800000000001</c:v>
                </c:pt>
                <c:pt idx="270">
                  <c:v>1.0685800000000001</c:v>
                </c:pt>
                <c:pt idx="271">
                  <c:v>1.0725800000000001</c:v>
                </c:pt>
                <c:pt idx="272">
                  <c:v>1.0725800000000001</c:v>
                </c:pt>
                <c:pt idx="273">
                  <c:v>1.0805800000000001</c:v>
                </c:pt>
                <c:pt idx="274">
                  <c:v>1.0805800000000001</c:v>
                </c:pt>
                <c:pt idx="275">
                  <c:v>1.0845800000000001</c:v>
                </c:pt>
                <c:pt idx="276">
                  <c:v>1.0845800000000001</c:v>
                </c:pt>
                <c:pt idx="277">
                  <c:v>1.0885800000000001</c:v>
                </c:pt>
                <c:pt idx="278">
                  <c:v>1.08858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60-41C2-A675-E8C1926C33A7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IGlar</c:v>
                </c:pt>
              </c:strCache>
            </c:strRef>
          </c:tx>
          <c:spPr>
            <a:ln w="38100" cap="rnd">
              <a:solidFill>
                <a:srgbClr val="8B7D70"/>
              </a:solidFill>
              <a:round/>
            </a:ln>
            <a:effectLst/>
          </c:spPr>
          <c:marker>
            <c:symbol val="none"/>
          </c:marker>
          <c:xVal>
            <c:numRef>
              <c:f>Sheet1!$C$2:$C$344</c:f>
              <c:numCache>
                <c:formatCode>General</c:formatCode>
                <c:ptCount val="343"/>
                <c:pt idx="0">
                  <c:v>0</c:v>
                </c:pt>
                <c:pt idx="1">
                  <c:v>0</c:v>
                </c:pt>
                <c:pt idx="2">
                  <c:v>0.1429</c:v>
                </c:pt>
                <c:pt idx="3">
                  <c:v>0.1429</c:v>
                </c:pt>
                <c:pt idx="4">
                  <c:v>0.28570000000000001</c:v>
                </c:pt>
                <c:pt idx="5">
                  <c:v>0.28570000000000001</c:v>
                </c:pt>
                <c:pt idx="6">
                  <c:v>0.42859999999999998</c:v>
                </c:pt>
                <c:pt idx="7">
                  <c:v>0.42859999999999998</c:v>
                </c:pt>
                <c:pt idx="8">
                  <c:v>0.57140000000000002</c:v>
                </c:pt>
                <c:pt idx="9">
                  <c:v>0.57140000000000002</c:v>
                </c:pt>
                <c:pt idx="10">
                  <c:v>0.71430000000000005</c:v>
                </c:pt>
                <c:pt idx="11">
                  <c:v>0.71430000000000005</c:v>
                </c:pt>
                <c:pt idx="12">
                  <c:v>0.85709999999999997</c:v>
                </c:pt>
                <c:pt idx="13">
                  <c:v>0.85709999999999997</c:v>
                </c:pt>
                <c:pt idx="14">
                  <c:v>1</c:v>
                </c:pt>
                <c:pt idx="15">
                  <c:v>1</c:v>
                </c:pt>
                <c:pt idx="16">
                  <c:v>1.4286000000000001</c:v>
                </c:pt>
                <c:pt idx="17">
                  <c:v>1.4286000000000001</c:v>
                </c:pt>
                <c:pt idx="18">
                  <c:v>1.5713999999999999</c:v>
                </c:pt>
                <c:pt idx="19">
                  <c:v>1.5713999999999999</c:v>
                </c:pt>
                <c:pt idx="20">
                  <c:v>1.7142999999999999</c:v>
                </c:pt>
                <c:pt idx="21">
                  <c:v>1.7142999999999999</c:v>
                </c:pt>
                <c:pt idx="22">
                  <c:v>1.8571</c:v>
                </c:pt>
                <c:pt idx="23">
                  <c:v>1.8571</c:v>
                </c:pt>
                <c:pt idx="24">
                  <c:v>2</c:v>
                </c:pt>
                <c:pt idx="25">
                  <c:v>2</c:v>
                </c:pt>
                <c:pt idx="26">
                  <c:v>2.2856999999999998</c:v>
                </c:pt>
                <c:pt idx="27">
                  <c:v>2.2856999999999998</c:v>
                </c:pt>
                <c:pt idx="28">
                  <c:v>2.4285999999999999</c:v>
                </c:pt>
                <c:pt idx="29">
                  <c:v>2.4285999999999999</c:v>
                </c:pt>
                <c:pt idx="30">
                  <c:v>2.5714000000000001</c:v>
                </c:pt>
                <c:pt idx="31">
                  <c:v>2.5714000000000001</c:v>
                </c:pt>
                <c:pt idx="32">
                  <c:v>2.7143000000000002</c:v>
                </c:pt>
                <c:pt idx="33">
                  <c:v>2.7143000000000002</c:v>
                </c:pt>
                <c:pt idx="34">
                  <c:v>2.8571</c:v>
                </c:pt>
                <c:pt idx="35">
                  <c:v>2.8571</c:v>
                </c:pt>
                <c:pt idx="36">
                  <c:v>3</c:v>
                </c:pt>
                <c:pt idx="37">
                  <c:v>3</c:v>
                </c:pt>
                <c:pt idx="38">
                  <c:v>3.2856999999999998</c:v>
                </c:pt>
                <c:pt idx="39">
                  <c:v>3.2856999999999998</c:v>
                </c:pt>
                <c:pt idx="40">
                  <c:v>3.4285999999999999</c:v>
                </c:pt>
                <c:pt idx="41">
                  <c:v>3.4285999999999999</c:v>
                </c:pt>
                <c:pt idx="42">
                  <c:v>3.5714000000000001</c:v>
                </c:pt>
                <c:pt idx="43">
                  <c:v>3.5714000000000001</c:v>
                </c:pt>
                <c:pt idx="44">
                  <c:v>3.8571</c:v>
                </c:pt>
                <c:pt idx="45">
                  <c:v>3.8571</c:v>
                </c:pt>
                <c:pt idx="46">
                  <c:v>4.1429</c:v>
                </c:pt>
                <c:pt idx="47">
                  <c:v>4.1429</c:v>
                </c:pt>
                <c:pt idx="48">
                  <c:v>4.2857000000000003</c:v>
                </c:pt>
                <c:pt idx="49">
                  <c:v>4.2857000000000003</c:v>
                </c:pt>
                <c:pt idx="50">
                  <c:v>4.4286000000000003</c:v>
                </c:pt>
                <c:pt idx="51">
                  <c:v>4.4286000000000003</c:v>
                </c:pt>
                <c:pt idx="52">
                  <c:v>4.5713999999999997</c:v>
                </c:pt>
                <c:pt idx="53">
                  <c:v>4.5713999999999997</c:v>
                </c:pt>
                <c:pt idx="54">
                  <c:v>4.7142999999999997</c:v>
                </c:pt>
                <c:pt idx="55">
                  <c:v>4.7142999999999997</c:v>
                </c:pt>
                <c:pt idx="56">
                  <c:v>4.8571</c:v>
                </c:pt>
                <c:pt idx="57">
                  <c:v>4.8571</c:v>
                </c:pt>
                <c:pt idx="58">
                  <c:v>5</c:v>
                </c:pt>
                <c:pt idx="59">
                  <c:v>5</c:v>
                </c:pt>
                <c:pt idx="60">
                  <c:v>5.1429</c:v>
                </c:pt>
                <c:pt idx="61">
                  <c:v>5.1429</c:v>
                </c:pt>
                <c:pt idx="62">
                  <c:v>5.2857000000000003</c:v>
                </c:pt>
                <c:pt idx="63">
                  <c:v>5.2857000000000003</c:v>
                </c:pt>
                <c:pt idx="64">
                  <c:v>5.4286000000000003</c:v>
                </c:pt>
                <c:pt idx="65">
                  <c:v>5.4286000000000003</c:v>
                </c:pt>
                <c:pt idx="66">
                  <c:v>5.5713999999999997</c:v>
                </c:pt>
                <c:pt idx="67">
                  <c:v>5.5713999999999997</c:v>
                </c:pt>
                <c:pt idx="68">
                  <c:v>5.7142999999999997</c:v>
                </c:pt>
                <c:pt idx="69">
                  <c:v>5.7142999999999997</c:v>
                </c:pt>
                <c:pt idx="70">
                  <c:v>5.8571</c:v>
                </c:pt>
                <c:pt idx="71">
                  <c:v>5.8571</c:v>
                </c:pt>
                <c:pt idx="72">
                  <c:v>6</c:v>
                </c:pt>
                <c:pt idx="73">
                  <c:v>6</c:v>
                </c:pt>
                <c:pt idx="74">
                  <c:v>6.1429</c:v>
                </c:pt>
                <c:pt idx="75">
                  <c:v>6.1429</c:v>
                </c:pt>
                <c:pt idx="76">
                  <c:v>6.2857000000000003</c:v>
                </c:pt>
                <c:pt idx="77">
                  <c:v>6.2857000000000003</c:v>
                </c:pt>
                <c:pt idx="78">
                  <c:v>6.4286000000000003</c:v>
                </c:pt>
                <c:pt idx="79">
                  <c:v>6.4286000000000003</c:v>
                </c:pt>
                <c:pt idx="80">
                  <c:v>6.5713999999999997</c:v>
                </c:pt>
                <c:pt idx="81">
                  <c:v>6.5713999999999997</c:v>
                </c:pt>
                <c:pt idx="82">
                  <c:v>6.7142999999999997</c:v>
                </c:pt>
                <c:pt idx="83">
                  <c:v>6.7142999999999997</c:v>
                </c:pt>
                <c:pt idx="84">
                  <c:v>6.8571</c:v>
                </c:pt>
                <c:pt idx="85">
                  <c:v>6.8571</c:v>
                </c:pt>
                <c:pt idx="86">
                  <c:v>7</c:v>
                </c:pt>
                <c:pt idx="87">
                  <c:v>7</c:v>
                </c:pt>
                <c:pt idx="88">
                  <c:v>7.1429</c:v>
                </c:pt>
                <c:pt idx="89">
                  <c:v>7.1429</c:v>
                </c:pt>
                <c:pt idx="90">
                  <c:v>7.4286000000000003</c:v>
                </c:pt>
                <c:pt idx="91">
                  <c:v>7.4286000000000003</c:v>
                </c:pt>
                <c:pt idx="92">
                  <c:v>7.5713999999999997</c:v>
                </c:pt>
                <c:pt idx="93">
                  <c:v>7.5713999999999997</c:v>
                </c:pt>
                <c:pt idx="94">
                  <c:v>7.8571</c:v>
                </c:pt>
                <c:pt idx="95">
                  <c:v>7.8571</c:v>
                </c:pt>
                <c:pt idx="96">
                  <c:v>8</c:v>
                </c:pt>
                <c:pt idx="97">
                  <c:v>8</c:v>
                </c:pt>
                <c:pt idx="98">
                  <c:v>8.1428999999999991</c:v>
                </c:pt>
                <c:pt idx="99">
                  <c:v>8.1428999999999991</c:v>
                </c:pt>
                <c:pt idx="100">
                  <c:v>8.2857000000000003</c:v>
                </c:pt>
                <c:pt idx="101">
                  <c:v>8.2857000000000003</c:v>
                </c:pt>
                <c:pt idx="102">
                  <c:v>8.4285999999999994</c:v>
                </c:pt>
                <c:pt idx="103">
                  <c:v>8.4285999999999994</c:v>
                </c:pt>
                <c:pt idx="104">
                  <c:v>8.5714000000000006</c:v>
                </c:pt>
                <c:pt idx="105">
                  <c:v>8.5714000000000006</c:v>
                </c:pt>
                <c:pt idx="106">
                  <c:v>8.7142999999999997</c:v>
                </c:pt>
                <c:pt idx="107">
                  <c:v>8.7142999999999997</c:v>
                </c:pt>
                <c:pt idx="108">
                  <c:v>8.8571000000000009</c:v>
                </c:pt>
                <c:pt idx="109">
                  <c:v>8.8571000000000009</c:v>
                </c:pt>
                <c:pt idx="110">
                  <c:v>9</c:v>
                </c:pt>
                <c:pt idx="111">
                  <c:v>9</c:v>
                </c:pt>
                <c:pt idx="112">
                  <c:v>9.1428999999999991</c:v>
                </c:pt>
                <c:pt idx="113">
                  <c:v>9.1428999999999991</c:v>
                </c:pt>
                <c:pt idx="114">
                  <c:v>9.2857000000000003</c:v>
                </c:pt>
                <c:pt idx="115">
                  <c:v>9.2857000000000003</c:v>
                </c:pt>
                <c:pt idx="116">
                  <c:v>9.4285999999999994</c:v>
                </c:pt>
                <c:pt idx="117">
                  <c:v>9.4285999999999994</c:v>
                </c:pt>
                <c:pt idx="118">
                  <c:v>9.5714000000000006</c:v>
                </c:pt>
                <c:pt idx="119">
                  <c:v>9.5714000000000006</c:v>
                </c:pt>
                <c:pt idx="120">
                  <c:v>9.7142999999999997</c:v>
                </c:pt>
                <c:pt idx="121">
                  <c:v>9.7142999999999997</c:v>
                </c:pt>
                <c:pt idx="122">
                  <c:v>9.8571000000000009</c:v>
                </c:pt>
                <c:pt idx="123">
                  <c:v>9.8571000000000009</c:v>
                </c:pt>
                <c:pt idx="124">
                  <c:v>10</c:v>
                </c:pt>
                <c:pt idx="125">
                  <c:v>10</c:v>
                </c:pt>
                <c:pt idx="126">
                  <c:v>10.142899999999999</c:v>
                </c:pt>
                <c:pt idx="127">
                  <c:v>10.142899999999999</c:v>
                </c:pt>
                <c:pt idx="128">
                  <c:v>10.2857</c:v>
                </c:pt>
                <c:pt idx="129">
                  <c:v>10.2857</c:v>
                </c:pt>
                <c:pt idx="130">
                  <c:v>10.428599999999999</c:v>
                </c:pt>
                <c:pt idx="131">
                  <c:v>10.428599999999999</c:v>
                </c:pt>
                <c:pt idx="132">
                  <c:v>10.571400000000001</c:v>
                </c:pt>
                <c:pt idx="133">
                  <c:v>10.571400000000001</c:v>
                </c:pt>
                <c:pt idx="134">
                  <c:v>10.7143</c:v>
                </c:pt>
                <c:pt idx="135">
                  <c:v>10.7143</c:v>
                </c:pt>
                <c:pt idx="136">
                  <c:v>10.857100000000001</c:v>
                </c:pt>
                <c:pt idx="137">
                  <c:v>10.857100000000001</c:v>
                </c:pt>
                <c:pt idx="138">
                  <c:v>11</c:v>
                </c:pt>
                <c:pt idx="139">
                  <c:v>11</c:v>
                </c:pt>
                <c:pt idx="140">
                  <c:v>11.142899999999999</c:v>
                </c:pt>
                <c:pt idx="141">
                  <c:v>11.142899999999999</c:v>
                </c:pt>
                <c:pt idx="142">
                  <c:v>11.2857</c:v>
                </c:pt>
                <c:pt idx="143">
                  <c:v>11.2857</c:v>
                </c:pt>
                <c:pt idx="144">
                  <c:v>11.428599999999999</c:v>
                </c:pt>
                <c:pt idx="145">
                  <c:v>11.428599999999999</c:v>
                </c:pt>
                <c:pt idx="146">
                  <c:v>11.571400000000001</c:v>
                </c:pt>
                <c:pt idx="147">
                  <c:v>11.571400000000001</c:v>
                </c:pt>
                <c:pt idx="148">
                  <c:v>11.7143</c:v>
                </c:pt>
                <c:pt idx="149">
                  <c:v>11.7143</c:v>
                </c:pt>
                <c:pt idx="150">
                  <c:v>11.857100000000001</c:v>
                </c:pt>
                <c:pt idx="151">
                  <c:v>11.857100000000001</c:v>
                </c:pt>
                <c:pt idx="152">
                  <c:v>12</c:v>
                </c:pt>
                <c:pt idx="153">
                  <c:v>12</c:v>
                </c:pt>
                <c:pt idx="154">
                  <c:v>12.142899999999999</c:v>
                </c:pt>
                <c:pt idx="155">
                  <c:v>12.142899999999999</c:v>
                </c:pt>
                <c:pt idx="156">
                  <c:v>12.428599999999999</c:v>
                </c:pt>
                <c:pt idx="157">
                  <c:v>12.428599999999999</c:v>
                </c:pt>
                <c:pt idx="158">
                  <c:v>12.571400000000001</c:v>
                </c:pt>
                <c:pt idx="159">
                  <c:v>12.571400000000001</c:v>
                </c:pt>
                <c:pt idx="160">
                  <c:v>12.7143</c:v>
                </c:pt>
                <c:pt idx="161">
                  <c:v>12.7143</c:v>
                </c:pt>
                <c:pt idx="162">
                  <c:v>12.857100000000001</c:v>
                </c:pt>
                <c:pt idx="163">
                  <c:v>12.857100000000001</c:v>
                </c:pt>
                <c:pt idx="164">
                  <c:v>13</c:v>
                </c:pt>
                <c:pt idx="165">
                  <c:v>13</c:v>
                </c:pt>
                <c:pt idx="166">
                  <c:v>13.142899999999999</c:v>
                </c:pt>
                <c:pt idx="167">
                  <c:v>13.142899999999999</c:v>
                </c:pt>
                <c:pt idx="168">
                  <c:v>13.2857</c:v>
                </c:pt>
                <c:pt idx="169">
                  <c:v>13.2857</c:v>
                </c:pt>
                <c:pt idx="170">
                  <c:v>13.428599999999999</c:v>
                </c:pt>
                <c:pt idx="171">
                  <c:v>13.428599999999999</c:v>
                </c:pt>
                <c:pt idx="172">
                  <c:v>13.571400000000001</c:v>
                </c:pt>
                <c:pt idx="173">
                  <c:v>13.571400000000001</c:v>
                </c:pt>
                <c:pt idx="174">
                  <c:v>13.7143</c:v>
                </c:pt>
                <c:pt idx="175">
                  <c:v>13.7143</c:v>
                </c:pt>
                <c:pt idx="176">
                  <c:v>13.857100000000001</c:v>
                </c:pt>
                <c:pt idx="177">
                  <c:v>13.857100000000001</c:v>
                </c:pt>
                <c:pt idx="178">
                  <c:v>14</c:v>
                </c:pt>
                <c:pt idx="179">
                  <c:v>14</c:v>
                </c:pt>
                <c:pt idx="180">
                  <c:v>14.142899999999999</c:v>
                </c:pt>
                <c:pt idx="181">
                  <c:v>14.142899999999999</c:v>
                </c:pt>
                <c:pt idx="182">
                  <c:v>14.2857</c:v>
                </c:pt>
                <c:pt idx="183">
                  <c:v>14.2857</c:v>
                </c:pt>
                <c:pt idx="184">
                  <c:v>14.428599999999999</c:v>
                </c:pt>
                <c:pt idx="185">
                  <c:v>14.428599999999999</c:v>
                </c:pt>
                <c:pt idx="186">
                  <c:v>14.571400000000001</c:v>
                </c:pt>
                <c:pt idx="187">
                  <c:v>14.571400000000001</c:v>
                </c:pt>
                <c:pt idx="188">
                  <c:v>14.7143</c:v>
                </c:pt>
                <c:pt idx="189">
                  <c:v>14.7143</c:v>
                </c:pt>
                <c:pt idx="190">
                  <c:v>14.857100000000001</c:v>
                </c:pt>
                <c:pt idx="191">
                  <c:v>14.857100000000001</c:v>
                </c:pt>
                <c:pt idx="192">
                  <c:v>15</c:v>
                </c:pt>
                <c:pt idx="193">
                  <c:v>15</c:v>
                </c:pt>
                <c:pt idx="194">
                  <c:v>15.142899999999999</c:v>
                </c:pt>
                <c:pt idx="195">
                  <c:v>15.142899999999999</c:v>
                </c:pt>
                <c:pt idx="196">
                  <c:v>15.2857</c:v>
                </c:pt>
                <c:pt idx="197">
                  <c:v>15.2857</c:v>
                </c:pt>
                <c:pt idx="198">
                  <c:v>15.428599999999999</c:v>
                </c:pt>
                <c:pt idx="199">
                  <c:v>15.428599999999999</c:v>
                </c:pt>
                <c:pt idx="200">
                  <c:v>15.571400000000001</c:v>
                </c:pt>
                <c:pt idx="201">
                  <c:v>15.571400000000001</c:v>
                </c:pt>
                <c:pt idx="202">
                  <c:v>15.7143</c:v>
                </c:pt>
                <c:pt idx="203">
                  <c:v>15.7143</c:v>
                </c:pt>
                <c:pt idx="204">
                  <c:v>15.857100000000001</c:v>
                </c:pt>
                <c:pt idx="205">
                  <c:v>15.857100000000001</c:v>
                </c:pt>
                <c:pt idx="206">
                  <c:v>16</c:v>
                </c:pt>
                <c:pt idx="207">
                  <c:v>16</c:v>
                </c:pt>
                <c:pt idx="208">
                  <c:v>16.142900000000001</c:v>
                </c:pt>
                <c:pt idx="209">
                  <c:v>16.142900000000001</c:v>
                </c:pt>
                <c:pt idx="210">
                  <c:v>16.285699999999999</c:v>
                </c:pt>
                <c:pt idx="211">
                  <c:v>16.285699999999999</c:v>
                </c:pt>
                <c:pt idx="212">
                  <c:v>16.428599999999999</c:v>
                </c:pt>
                <c:pt idx="213">
                  <c:v>16.428599999999999</c:v>
                </c:pt>
                <c:pt idx="214">
                  <c:v>16.571400000000001</c:v>
                </c:pt>
                <c:pt idx="215">
                  <c:v>16.571400000000001</c:v>
                </c:pt>
                <c:pt idx="216">
                  <c:v>16.714300000000001</c:v>
                </c:pt>
                <c:pt idx="217">
                  <c:v>16.714300000000001</c:v>
                </c:pt>
                <c:pt idx="218">
                  <c:v>16.857099999999999</c:v>
                </c:pt>
                <c:pt idx="219">
                  <c:v>16.857099999999999</c:v>
                </c:pt>
                <c:pt idx="220">
                  <c:v>17</c:v>
                </c:pt>
                <c:pt idx="221">
                  <c:v>17</c:v>
                </c:pt>
                <c:pt idx="222">
                  <c:v>17.142900000000001</c:v>
                </c:pt>
                <c:pt idx="223">
                  <c:v>17.142900000000001</c:v>
                </c:pt>
                <c:pt idx="224">
                  <c:v>17.285699999999999</c:v>
                </c:pt>
                <c:pt idx="225">
                  <c:v>17.285699999999999</c:v>
                </c:pt>
                <c:pt idx="226">
                  <c:v>17.428599999999999</c:v>
                </c:pt>
                <c:pt idx="227">
                  <c:v>17.428599999999999</c:v>
                </c:pt>
                <c:pt idx="228">
                  <c:v>17.571400000000001</c:v>
                </c:pt>
                <c:pt idx="229">
                  <c:v>17.571400000000001</c:v>
                </c:pt>
                <c:pt idx="230">
                  <c:v>17.714300000000001</c:v>
                </c:pt>
                <c:pt idx="231">
                  <c:v>17.714300000000001</c:v>
                </c:pt>
                <c:pt idx="232">
                  <c:v>17.857099999999999</c:v>
                </c:pt>
                <c:pt idx="233">
                  <c:v>17.857099999999999</c:v>
                </c:pt>
                <c:pt idx="234">
                  <c:v>18</c:v>
                </c:pt>
                <c:pt idx="235">
                  <c:v>18</c:v>
                </c:pt>
                <c:pt idx="236">
                  <c:v>18.142900000000001</c:v>
                </c:pt>
                <c:pt idx="237">
                  <c:v>18.142900000000001</c:v>
                </c:pt>
                <c:pt idx="238">
                  <c:v>18.285699999999999</c:v>
                </c:pt>
                <c:pt idx="239">
                  <c:v>18.285699999999999</c:v>
                </c:pt>
                <c:pt idx="240">
                  <c:v>18.428599999999999</c:v>
                </c:pt>
                <c:pt idx="241">
                  <c:v>18.428599999999999</c:v>
                </c:pt>
                <c:pt idx="242">
                  <c:v>18.571400000000001</c:v>
                </c:pt>
                <c:pt idx="243">
                  <c:v>18.571400000000001</c:v>
                </c:pt>
                <c:pt idx="244">
                  <c:v>18.714300000000001</c:v>
                </c:pt>
                <c:pt idx="245">
                  <c:v>18.714300000000001</c:v>
                </c:pt>
                <c:pt idx="246">
                  <c:v>18.857099999999999</c:v>
                </c:pt>
                <c:pt idx="247">
                  <c:v>18.857099999999999</c:v>
                </c:pt>
                <c:pt idx="248">
                  <c:v>19</c:v>
                </c:pt>
                <c:pt idx="249">
                  <c:v>19</c:v>
                </c:pt>
                <c:pt idx="250">
                  <c:v>19.142900000000001</c:v>
                </c:pt>
                <c:pt idx="251">
                  <c:v>19.142900000000001</c:v>
                </c:pt>
                <c:pt idx="252">
                  <c:v>19.285699999999999</c:v>
                </c:pt>
                <c:pt idx="253">
                  <c:v>19.285699999999999</c:v>
                </c:pt>
                <c:pt idx="254">
                  <c:v>19.428599999999999</c:v>
                </c:pt>
                <c:pt idx="255">
                  <c:v>19.428599999999999</c:v>
                </c:pt>
                <c:pt idx="256">
                  <c:v>19.571400000000001</c:v>
                </c:pt>
                <c:pt idx="257">
                  <c:v>19.571400000000001</c:v>
                </c:pt>
                <c:pt idx="258">
                  <c:v>19.714300000000001</c:v>
                </c:pt>
                <c:pt idx="259">
                  <c:v>19.714300000000001</c:v>
                </c:pt>
                <c:pt idx="260">
                  <c:v>20</c:v>
                </c:pt>
                <c:pt idx="261">
                  <c:v>20</c:v>
                </c:pt>
                <c:pt idx="262">
                  <c:v>20.142900000000001</c:v>
                </c:pt>
                <c:pt idx="263">
                  <c:v>20.142900000000001</c:v>
                </c:pt>
                <c:pt idx="264">
                  <c:v>20.428599999999999</c:v>
                </c:pt>
                <c:pt idx="265">
                  <c:v>20.428599999999999</c:v>
                </c:pt>
                <c:pt idx="266">
                  <c:v>20.571400000000001</c:v>
                </c:pt>
                <c:pt idx="267">
                  <c:v>20.571400000000001</c:v>
                </c:pt>
                <c:pt idx="268">
                  <c:v>20.714300000000001</c:v>
                </c:pt>
                <c:pt idx="269">
                  <c:v>20.714300000000001</c:v>
                </c:pt>
                <c:pt idx="270">
                  <c:v>20.857099999999999</c:v>
                </c:pt>
                <c:pt idx="271">
                  <c:v>20.857099999999999</c:v>
                </c:pt>
                <c:pt idx="272">
                  <c:v>21</c:v>
                </c:pt>
                <c:pt idx="273">
                  <c:v>21</c:v>
                </c:pt>
                <c:pt idx="274">
                  <c:v>21.142900000000001</c:v>
                </c:pt>
                <c:pt idx="275">
                  <c:v>21.142900000000001</c:v>
                </c:pt>
                <c:pt idx="276">
                  <c:v>21.285699999999999</c:v>
                </c:pt>
                <c:pt idx="277">
                  <c:v>21.285699999999999</c:v>
                </c:pt>
                <c:pt idx="278">
                  <c:v>21.428599999999999</c:v>
                </c:pt>
                <c:pt idx="279">
                  <c:v>21.428599999999999</c:v>
                </c:pt>
                <c:pt idx="280">
                  <c:v>21.571400000000001</c:v>
                </c:pt>
                <c:pt idx="281">
                  <c:v>21.571400000000001</c:v>
                </c:pt>
                <c:pt idx="282">
                  <c:v>21.714300000000001</c:v>
                </c:pt>
                <c:pt idx="283">
                  <c:v>21.714300000000001</c:v>
                </c:pt>
                <c:pt idx="284">
                  <c:v>21.857099999999999</c:v>
                </c:pt>
                <c:pt idx="285">
                  <c:v>21.857099999999999</c:v>
                </c:pt>
                <c:pt idx="286">
                  <c:v>22</c:v>
                </c:pt>
                <c:pt idx="287">
                  <c:v>22</c:v>
                </c:pt>
                <c:pt idx="288">
                  <c:v>22.142900000000001</c:v>
                </c:pt>
                <c:pt idx="289">
                  <c:v>22.142900000000001</c:v>
                </c:pt>
                <c:pt idx="290">
                  <c:v>22.285699999999999</c:v>
                </c:pt>
                <c:pt idx="291">
                  <c:v>22.285699999999999</c:v>
                </c:pt>
                <c:pt idx="292">
                  <c:v>22.428599999999999</c:v>
                </c:pt>
                <c:pt idx="293">
                  <c:v>22.428599999999999</c:v>
                </c:pt>
                <c:pt idx="294">
                  <c:v>22.571400000000001</c:v>
                </c:pt>
                <c:pt idx="295">
                  <c:v>22.571400000000001</c:v>
                </c:pt>
                <c:pt idx="296">
                  <c:v>22.714300000000001</c:v>
                </c:pt>
                <c:pt idx="297">
                  <c:v>22.714300000000001</c:v>
                </c:pt>
                <c:pt idx="298">
                  <c:v>22.857099999999999</c:v>
                </c:pt>
                <c:pt idx="299">
                  <c:v>22.857099999999999</c:v>
                </c:pt>
                <c:pt idx="300">
                  <c:v>23</c:v>
                </c:pt>
                <c:pt idx="301">
                  <c:v>23</c:v>
                </c:pt>
                <c:pt idx="302">
                  <c:v>23.142900000000001</c:v>
                </c:pt>
                <c:pt idx="303">
                  <c:v>23.142900000000001</c:v>
                </c:pt>
                <c:pt idx="304">
                  <c:v>23.285699999999999</c:v>
                </c:pt>
                <c:pt idx="305">
                  <c:v>23.285699999999999</c:v>
                </c:pt>
                <c:pt idx="306">
                  <c:v>23.428599999999999</c:v>
                </c:pt>
                <c:pt idx="307">
                  <c:v>23.428599999999999</c:v>
                </c:pt>
                <c:pt idx="308">
                  <c:v>23.571400000000001</c:v>
                </c:pt>
                <c:pt idx="309">
                  <c:v>23.571400000000001</c:v>
                </c:pt>
                <c:pt idx="310">
                  <c:v>23.714300000000001</c:v>
                </c:pt>
                <c:pt idx="311">
                  <c:v>23.714300000000001</c:v>
                </c:pt>
                <c:pt idx="312">
                  <c:v>23.857099999999999</c:v>
                </c:pt>
                <c:pt idx="313">
                  <c:v>23.857099999999999</c:v>
                </c:pt>
                <c:pt idx="314">
                  <c:v>24</c:v>
                </c:pt>
                <c:pt idx="315">
                  <c:v>24</c:v>
                </c:pt>
                <c:pt idx="316">
                  <c:v>24.142900000000001</c:v>
                </c:pt>
                <c:pt idx="317">
                  <c:v>24.142900000000001</c:v>
                </c:pt>
                <c:pt idx="318">
                  <c:v>24.285699999999999</c:v>
                </c:pt>
                <c:pt idx="319">
                  <c:v>24.285699999999999</c:v>
                </c:pt>
                <c:pt idx="320">
                  <c:v>24.428599999999999</c:v>
                </c:pt>
                <c:pt idx="321">
                  <c:v>24.428599999999999</c:v>
                </c:pt>
                <c:pt idx="322">
                  <c:v>24.571400000000001</c:v>
                </c:pt>
                <c:pt idx="323">
                  <c:v>24.571400000000001</c:v>
                </c:pt>
                <c:pt idx="324">
                  <c:v>24.714300000000001</c:v>
                </c:pt>
                <c:pt idx="325">
                  <c:v>24.714300000000001</c:v>
                </c:pt>
                <c:pt idx="326">
                  <c:v>24.857099999999999</c:v>
                </c:pt>
                <c:pt idx="327">
                  <c:v>24.857099999999999</c:v>
                </c:pt>
                <c:pt idx="328">
                  <c:v>25</c:v>
                </c:pt>
                <c:pt idx="329">
                  <c:v>25</c:v>
                </c:pt>
                <c:pt idx="330">
                  <c:v>25.142900000000001</c:v>
                </c:pt>
                <c:pt idx="331">
                  <c:v>25.142900000000001</c:v>
                </c:pt>
                <c:pt idx="332">
                  <c:v>25.285699999999999</c:v>
                </c:pt>
                <c:pt idx="333">
                  <c:v>25.285699999999999</c:v>
                </c:pt>
                <c:pt idx="334">
                  <c:v>25.428599999999999</c:v>
                </c:pt>
                <c:pt idx="335">
                  <c:v>25.428599999999999</c:v>
                </c:pt>
                <c:pt idx="336">
                  <c:v>25.571400000000001</c:v>
                </c:pt>
                <c:pt idx="337">
                  <c:v>25.571400000000001</c:v>
                </c:pt>
                <c:pt idx="338">
                  <c:v>25.714300000000001</c:v>
                </c:pt>
                <c:pt idx="339">
                  <c:v>25.714300000000001</c:v>
                </c:pt>
                <c:pt idx="340">
                  <c:v>25.857099999999999</c:v>
                </c:pt>
                <c:pt idx="341">
                  <c:v>25.857099999999999</c:v>
                </c:pt>
                <c:pt idx="342">
                  <c:v>26</c:v>
                </c:pt>
              </c:numCache>
            </c:numRef>
          </c:xVal>
          <c:yVal>
            <c:numRef>
              <c:f>Sheet1!$D$2:$D$344</c:f>
              <c:numCache>
                <c:formatCode>General</c:formatCode>
                <c:ptCount val="343"/>
                <c:pt idx="0">
                  <c:v>0</c:v>
                </c:pt>
                <c:pt idx="1">
                  <c:v>3.5799999999999998E-3</c:v>
                </c:pt>
                <c:pt idx="2">
                  <c:v>3.5799999999999998E-3</c:v>
                </c:pt>
                <c:pt idx="3">
                  <c:v>7.1700000000000002E-3</c:v>
                </c:pt>
                <c:pt idx="4">
                  <c:v>7.1700000000000002E-3</c:v>
                </c:pt>
                <c:pt idx="5">
                  <c:v>1.0749999999999999E-2</c:v>
                </c:pt>
                <c:pt idx="6">
                  <c:v>1.0749999999999999E-2</c:v>
                </c:pt>
                <c:pt idx="7">
                  <c:v>2.1510000000000001E-2</c:v>
                </c:pt>
                <c:pt idx="8">
                  <c:v>2.1510000000000001E-2</c:v>
                </c:pt>
                <c:pt idx="9">
                  <c:v>2.8670000000000001E-2</c:v>
                </c:pt>
                <c:pt idx="10">
                  <c:v>2.8670000000000001E-2</c:v>
                </c:pt>
                <c:pt idx="11">
                  <c:v>3.2259999999999997E-2</c:v>
                </c:pt>
                <c:pt idx="12">
                  <c:v>3.2259999999999997E-2</c:v>
                </c:pt>
                <c:pt idx="13">
                  <c:v>3.943E-2</c:v>
                </c:pt>
                <c:pt idx="14">
                  <c:v>3.943E-2</c:v>
                </c:pt>
                <c:pt idx="15">
                  <c:v>6.0929999999999998E-2</c:v>
                </c:pt>
                <c:pt idx="16">
                  <c:v>6.0929999999999998E-2</c:v>
                </c:pt>
                <c:pt idx="17">
                  <c:v>7.8850000000000003E-2</c:v>
                </c:pt>
                <c:pt idx="18">
                  <c:v>7.8850000000000003E-2</c:v>
                </c:pt>
                <c:pt idx="19">
                  <c:v>8.9609999999999995E-2</c:v>
                </c:pt>
                <c:pt idx="20">
                  <c:v>8.9609999999999995E-2</c:v>
                </c:pt>
                <c:pt idx="21">
                  <c:v>0.1147</c:v>
                </c:pt>
                <c:pt idx="22">
                  <c:v>0.1147</c:v>
                </c:pt>
                <c:pt idx="23">
                  <c:v>0.12903000000000001</c:v>
                </c:pt>
                <c:pt idx="24">
                  <c:v>0.12903000000000001</c:v>
                </c:pt>
                <c:pt idx="25">
                  <c:v>0.13977999999999999</c:v>
                </c:pt>
                <c:pt idx="26">
                  <c:v>0.13977999999999999</c:v>
                </c:pt>
                <c:pt idx="27">
                  <c:v>0.14338000000000001</c:v>
                </c:pt>
                <c:pt idx="28">
                  <c:v>0.14338000000000001</c:v>
                </c:pt>
                <c:pt idx="29">
                  <c:v>0.14698</c:v>
                </c:pt>
                <c:pt idx="30">
                  <c:v>0.14698</c:v>
                </c:pt>
                <c:pt idx="31">
                  <c:v>0.15057999999999999</c:v>
                </c:pt>
                <c:pt idx="32">
                  <c:v>0.15057999999999999</c:v>
                </c:pt>
                <c:pt idx="33">
                  <c:v>0.15417</c:v>
                </c:pt>
                <c:pt idx="34">
                  <c:v>0.15417</c:v>
                </c:pt>
                <c:pt idx="35">
                  <c:v>0.16137000000000001</c:v>
                </c:pt>
                <c:pt idx="36">
                  <c:v>0.16137000000000001</c:v>
                </c:pt>
                <c:pt idx="37">
                  <c:v>0.16497999999999999</c:v>
                </c:pt>
                <c:pt idx="38">
                  <c:v>0.16497999999999999</c:v>
                </c:pt>
                <c:pt idx="39">
                  <c:v>0.17219999999999999</c:v>
                </c:pt>
                <c:pt idx="40">
                  <c:v>0.17219999999999999</c:v>
                </c:pt>
                <c:pt idx="41">
                  <c:v>0.17580999999999999</c:v>
                </c:pt>
                <c:pt idx="42">
                  <c:v>0.17580999999999999</c:v>
                </c:pt>
                <c:pt idx="43">
                  <c:v>0.18303</c:v>
                </c:pt>
                <c:pt idx="44">
                  <c:v>0.18303</c:v>
                </c:pt>
                <c:pt idx="45">
                  <c:v>0.19394</c:v>
                </c:pt>
                <c:pt idx="46">
                  <c:v>0.19394</c:v>
                </c:pt>
                <c:pt idx="47">
                  <c:v>0.20488999999999999</c:v>
                </c:pt>
                <c:pt idx="48">
                  <c:v>0.20488999999999999</c:v>
                </c:pt>
                <c:pt idx="49">
                  <c:v>0.21584</c:v>
                </c:pt>
                <c:pt idx="50">
                  <c:v>0.21584</c:v>
                </c:pt>
                <c:pt idx="51">
                  <c:v>0.21948000000000001</c:v>
                </c:pt>
                <c:pt idx="52">
                  <c:v>0.21948000000000001</c:v>
                </c:pt>
                <c:pt idx="53">
                  <c:v>0.22313</c:v>
                </c:pt>
                <c:pt idx="54">
                  <c:v>0.22313</c:v>
                </c:pt>
                <c:pt idx="55">
                  <c:v>0.23043</c:v>
                </c:pt>
                <c:pt idx="56">
                  <c:v>0.23043</c:v>
                </c:pt>
                <c:pt idx="57">
                  <c:v>0.23408000000000001</c:v>
                </c:pt>
                <c:pt idx="58">
                  <c:v>0.23408000000000001</c:v>
                </c:pt>
                <c:pt idx="59">
                  <c:v>0.24141000000000001</c:v>
                </c:pt>
                <c:pt idx="60">
                  <c:v>0.24141000000000001</c:v>
                </c:pt>
                <c:pt idx="61">
                  <c:v>0.25240000000000001</c:v>
                </c:pt>
                <c:pt idx="62">
                  <c:v>0.25240000000000001</c:v>
                </c:pt>
                <c:pt idx="63">
                  <c:v>0.27071000000000001</c:v>
                </c:pt>
                <c:pt idx="64">
                  <c:v>0.27071000000000001</c:v>
                </c:pt>
                <c:pt idx="65">
                  <c:v>0.28170000000000001</c:v>
                </c:pt>
                <c:pt idx="66">
                  <c:v>0.28170000000000001</c:v>
                </c:pt>
                <c:pt idx="67">
                  <c:v>0.28903000000000001</c:v>
                </c:pt>
                <c:pt idx="68">
                  <c:v>0.28903000000000001</c:v>
                </c:pt>
                <c:pt idx="69">
                  <c:v>0.29269000000000001</c:v>
                </c:pt>
                <c:pt idx="70">
                  <c:v>0.29269000000000001</c:v>
                </c:pt>
                <c:pt idx="71">
                  <c:v>0.29635</c:v>
                </c:pt>
                <c:pt idx="72">
                  <c:v>0.29635</c:v>
                </c:pt>
                <c:pt idx="73">
                  <c:v>0.30368000000000001</c:v>
                </c:pt>
                <c:pt idx="74">
                  <c:v>0.30368000000000001</c:v>
                </c:pt>
                <c:pt idx="75">
                  <c:v>0.30734</c:v>
                </c:pt>
                <c:pt idx="76">
                  <c:v>0.30734</c:v>
                </c:pt>
                <c:pt idx="77">
                  <c:v>0.31467000000000001</c:v>
                </c:pt>
                <c:pt idx="78">
                  <c:v>0.31467000000000001</c:v>
                </c:pt>
                <c:pt idx="79">
                  <c:v>0.31833</c:v>
                </c:pt>
                <c:pt idx="80">
                  <c:v>0.31833</c:v>
                </c:pt>
                <c:pt idx="81">
                  <c:v>0.34397</c:v>
                </c:pt>
                <c:pt idx="82">
                  <c:v>0.34397</c:v>
                </c:pt>
                <c:pt idx="83">
                  <c:v>0.35863</c:v>
                </c:pt>
                <c:pt idx="84">
                  <c:v>0.35863</c:v>
                </c:pt>
                <c:pt idx="85">
                  <c:v>0.36229</c:v>
                </c:pt>
                <c:pt idx="86">
                  <c:v>0.36229</c:v>
                </c:pt>
                <c:pt idx="87">
                  <c:v>0.36960999999999999</c:v>
                </c:pt>
                <c:pt idx="88">
                  <c:v>0.36960999999999999</c:v>
                </c:pt>
                <c:pt idx="89">
                  <c:v>0.38793</c:v>
                </c:pt>
                <c:pt idx="90">
                  <c:v>0.38793</c:v>
                </c:pt>
                <c:pt idx="91">
                  <c:v>0.40257999999999999</c:v>
                </c:pt>
                <c:pt idx="92">
                  <c:v>0.40257999999999999</c:v>
                </c:pt>
                <c:pt idx="93">
                  <c:v>0.41356999999999999</c:v>
                </c:pt>
                <c:pt idx="94">
                  <c:v>0.41356999999999999</c:v>
                </c:pt>
                <c:pt idx="95">
                  <c:v>0.43189</c:v>
                </c:pt>
                <c:pt idx="96">
                  <c:v>0.43189</c:v>
                </c:pt>
                <c:pt idx="97">
                  <c:v>0.43920999999999999</c:v>
                </c:pt>
                <c:pt idx="98">
                  <c:v>0.43920999999999999</c:v>
                </c:pt>
                <c:pt idx="99">
                  <c:v>0.45019999999999999</c:v>
                </c:pt>
                <c:pt idx="100">
                  <c:v>0.45019999999999999</c:v>
                </c:pt>
                <c:pt idx="101">
                  <c:v>0.46484999999999999</c:v>
                </c:pt>
                <c:pt idx="102">
                  <c:v>0.46484999999999999</c:v>
                </c:pt>
                <c:pt idx="103">
                  <c:v>0.47949999999999998</c:v>
                </c:pt>
                <c:pt idx="104">
                  <c:v>0.47949999999999998</c:v>
                </c:pt>
                <c:pt idx="105">
                  <c:v>0.50514999999999999</c:v>
                </c:pt>
                <c:pt idx="106">
                  <c:v>0.50514999999999999</c:v>
                </c:pt>
                <c:pt idx="107">
                  <c:v>0.51246999999999998</c:v>
                </c:pt>
                <c:pt idx="108">
                  <c:v>0.51246999999999998</c:v>
                </c:pt>
                <c:pt idx="109">
                  <c:v>0.52712000000000003</c:v>
                </c:pt>
                <c:pt idx="110">
                  <c:v>0.52712000000000003</c:v>
                </c:pt>
                <c:pt idx="111">
                  <c:v>0.53444999999999998</c:v>
                </c:pt>
                <c:pt idx="112">
                  <c:v>0.53444999999999998</c:v>
                </c:pt>
                <c:pt idx="113">
                  <c:v>0.56374999999999997</c:v>
                </c:pt>
                <c:pt idx="114">
                  <c:v>0.56374999999999997</c:v>
                </c:pt>
                <c:pt idx="115">
                  <c:v>0.57474000000000003</c:v>
                </c:pt>
                <c:pt idx="116">
                  <c:v>0.57474000000000003</c:v>
                </c:pt>
                <c:pt idx="117">
                  <c:v>0.58206999999999998</c:v>
                </c:pt>
                <c:pt idx="118">
                  <c:v>0.58206999999999998</c:v>
                </c:pt>
                <c:pt idx="119">
                  <c:v>0.60038000000000002</c:v>
                </c:pt>
                <c:pt idx="120">
                  <c:v>0.60038000000000002</c:v>
                </c:pt>
                <c:pt idx="121">
                  <c:v>0.61136999999999997</c:v>
                </c:pt>
                <c:pt idx="122">
                  <c:v>0.61136999999999997</c:v>
                </c:pt>
                <c:pt idx="123">
                  <c:v>0.62607999999999997</c:v>
                </c:pt>
                <c:pt idx="124">
                  <c:v>0.62607999999999997</c:v>
                </c:pt>
                <c:pt idx="125">
                  <c:v>0.63343000000000005</c:v>
                </c:pt>
                <c:pt idx="126">
                  <c:v>0.63343000000000005</c:v>
                </c:pt>
                <c:pt idx="127">
                  <c:v>0.64446000000000003</c:v>
                </c:pt>
                <c:pt idx="128">
                  <c:v>0.64446000000000003</c:v>
                </c:pt>
                <c:pt idx="129">
                  <c:v>0.66652</c:v>
                </c:pt>
                <c:pt idx="130">
                  <c:v>0.66652</c:v>
                </c:pt>
                <c:pt idx="131">
                  <c:v>0.68123</c:v>
                </c:pt>
                <c:pt idx="132">
                  <c:v>0.68123</c:v>
                </c:pt>
                <c:pt idx="133">
                  <c:v>0.70328000000000002</c:v>
                </c:pt>
                <c:pt idx="134">
                  <c:v>0.70328000000000002</c:v>
                </c:pt>
                <c:pt idx="135">
                  <c:v>0.72167000000000003</c:v>
                </c:pt>
                <c:pt idx="136">
                  <c:v>0.72167000000000003</c:v>
                </c:pt>
                <c:pt idx="137">
                  <c:v>0.72902</c:v>
                </c:pt>
                <c:pt idx="138">
                  <c:v>0.72902</c:v>
                </c:pt>
                <c:pt idx="139">
                  <c:v>0.75475999999999999</c:v>
                </c:pt>
                <c:pt idx="140">
                  <c:v>0.75475999999999999</c:v>
                </c:pt>
                <c:pt idx="141">
                  <c:v>0.77314000000000005</c:v>
                </c:pt>
                <c:pt idx="142">
                  <c:v>0.77314000000000005</c:v>
                </c:pt>
                <c:pt idx="143">
                  <c:v>0.78783999999999998</c:v>
                </c:pt>
                <c:pt idx="144">
                  <c:v>0.78783999999999998</c:v>
                </c:pt>
                <c:pt idx="145">
                  <c:v>0.80989999999999995</c:v>
                </c:pt>
                <c:pt idx="146">
                  <c:v>0.80989999999999995</c:v>
                </c:pt>
                <c:pt idx="147">
                  <c:v>0.82093000000000005</c:v>
                </c:pt>
                <c:pt idx="148">
                  <c:v>0.82093000000000005</c:v>
                </c:pt>
                <c:pt idx="149">
                  <c:v>0.83564000000000005</c:v>
                </c:pt>
                <c:pt idx="150">
                  <c:v>0.83564000000000005</c:v>
                </c:pt>
                <c:pt idx="151">
                  <c:v>0.85770000000000002</c:v>
                </c:pt>
                <c:pt idx="152">
                  <c:v>0.85770000000000002</c:v>
                </c:pt>
                <c:pt idx="153">
                  <c:v>0.89473000000000003</c:v>
                </c:pt>
                <c:pt idx="154">
                  <c:v>0.89473000000000003</c:v>
                </c:pt>
                <c:pt idx="155">
                  <c:v>0.90954999999999997</c:v>
                </c:pt>
                <c:pt idx="156">
                  <c:v>0.90954999999999997</c:v>
                </c:pt>
                <c:pt idx="157">
                  <c:v>0.93176999999999999</c:v>
                </c:pt>
                <c:pt idx="158">
                  <c:v>0.93176999999999999</c:v>
                </c:pt>
                <c:pt idx="159">
                  <c:v>0.9577</c:v>
                </c:pt>
                <c:pt idx="160">
                  <c:v>0.9577</c:v>
                </c:pt>
                <c:pt idx="161">
                  <c:v>0.97621000000000002</c:v>
                </c:pt>
                <c:pt idx="162">
                  <c:v>0.97621000000000002</c:v>
                </c:pt>
                <c:pt idx="163">
                  <c:v>0.98733000000000004</c:v>
                </c:pt>
                <c:pt idx="164">
                  <c:v>0.98733000000000004</c:v>
                </c:pt>
                <c:pt idx="165">
                  <c:v>1.00214</c:v>
                </c:pt>
                <c:pt idx="166">
                  <c:v>1.00214</c:v>
                </c:pt>
                <c:pt idx="167">
                  <c:v>1.01329</c:v>
                </c:pt>
                <c:pt idx="168">
                  <c:v>1.01329</c:v>
                </c:pt>
                <c:pt idx="169">
                  <c:v>1.02816</c:v>
                </c:pt>
                <c:pt idx="170">
                  <c:v>1.02816</c:v>
                </c:pt>
                <c:pt idx="171">
                  <c:v>1.0430299999999999</c:v>
                </c:pt>
                <c:pt idx="172">
                  <c:v>1.0430299999999999</c:v>
                </c:pt>
                <c:pt idx="173">
                  <c:v>1.06162</c:v>
                </c:pt>
                <c:pt idx="174">
                  <c:v>1.06162</c:v>
                </c:pt>
                <c:pt idx="175">
                  <c:v>1.0802099999999999</c:v>
                </c:pt>
                <c:pt idx="176">
                  <c:v>1.0802099999999999</c:v>
                </c:pt>
                <c:pt idx="177">
                  <c:v>1.0913600000000001</c:v>
                </c:pt>
                <c:pt idx="178">
                  <c:v>1.0913600000000001</c:v>
                </c:pt>
                <c:pt idx="179">
                  <c:v>1.0988</c:v>
                </c:pt>
                <c:pt idx="180">
                  <c:v>1.0988</c:v>
                </c:pt>
                <c:pt idx="181">
                  <c:v>1.10623</c:v>
                </c:pt>
                <c:pt idx="182">
                  <c:v>1.10623</c:v>
                </c:pt>
                <c:pt idx="183">
                  <c:v>1.1248199999999999</c:v>
                </c:pt>
                <c:pt idx="184">
                  <c:v>1.1248199999999999</c:v>
                </c:pt>
                <c:pt idx="185">
                  <c:v>1.13225</c:v>
                </c:pt>
                <c:pt idx="186">
                  <c:v>1.13225</c:v>
                </c:pt>
                <c:pt idx="187">
                  <c:v>1.1434</c:v>
                </c:pt>
                <c:pt idx="188">
                  <c:v>1.1434</c:v>
                </c:pt>
                <c:pt idx="189">
                  <c:v>1.15456</c:v>
                </c:pt>
                <c:pt idx="190">
                  <c:v>1.15456</c:v>
                </c:pt>
                <c:pt idx="191">
                  <c:v>1.1582699999999999</c:v>
                </c:pt>
                <c:pt idx="192">
                  <c:v>1.1582699999999999</c:v>
                </c:pt>
                <c:pt idx="193">
                  <c:v>1.1731400000000001</c:v>
                </c:pt>
                <c:pt idx="194">
                  <c:v>1.1731400000000001</c:v>
                </c:pt>
                <c:pt idx="195">
                  <c:v>1.18801</c:v>
                </c:pt>
                <c:pt idx="196">
                  <c:v>1.18801</c:v>
                </c:pt>
                <c:pt idx="197">
                  <c:v>1.1954499999999999</c:v>
                </c:pt>
                <c:pt idx="198">
                  <c:v>1.1954499999999999</c:v>
                </c:pt>
                <c:pt idx="199">
                  <c:v>1.2065999999999999</c:v>
                </c:pt>
                <c:pt idx="200">
                  <c:v>1.2065999999999999</c:v>
                </c:pt>
                <c:pt idx="201">
                  <c:v>1.2214700000000001</c:v>
                </c:pt>
                <c:pt idx="202">
                  <c:v>1.2214700000000001</c:v>
                </c:pt>
                <c:pt idx="203">
                  <c:v>1.23634</c:v>
                </c:pt>
                <c:pt idx="204">
                  <c:v>1.23634</c:v>
                </c:pt>
                <c:pt idx="205">
                  <c:v>1.2660800000000001</c:v>
                </c:pt>
                <c:pt idx="206">
                  <c:v>1.2660800000000001</c:v>
                </c:pt>
                <c:pt idx="207">
                  <c:v>1.28101</c:v>
                </c:pt>
                <c:pt idx="208">
                  <c:v>1.28101</c:v>
                </c:pt>
                <c:pt idx="209">
                  <c:v>1.2922</c:v>
                </c:pt>
                <c:pt idx="210">
                  <c:v>1.2922</c:v>
                </c:pt>
                <c:pt idx="211">
                  <c:v>1.32578</c:v>
                </c:pt>
                <c:pt idx="212">
                  <c:v>1.32578</c:v>
                </c:pt>
                <c:pt idx="213">
                  <c:v>1.3444400000000001</c:v>
                </c:pt>
                <c:pt idx="214">
                  <c:v>1.3444400000000001</c:v>
                </c:pt>
                <c:pt idx="215">
                  <c:v>1.3593599999999999</c:v>
                </c:pt>
                <c:pt idx="216">
                  <c:v>1.3593599999999999</c:v>
                </c:pt>
                <c:pt idx="217">
                  <c:v>1.37056</c:v>
                </c:pt>
                <c:pt idx="218">
                  <c:v>1.37056</c:v>
                </c:pt>
                <c:pt idx="219">
                  <c:v>1.3817900000000001</c:v>
                </c:pt>
                <c:pt idx="220">
                  <c:v>1.3817900000000001</c:v>
                </c:pt>
                <c:pt idx="221">
                  <c:v>1.40801</c:v>
                </c:pt>
                <c:pt idx="222">
                  <c:v>1.40801</c:v>
                </c:pt>
                <c:pt idx="223">
                  <c:v>1.42299</c:v>
                </c:pt>
                <c:pt idx="224">
                  <c:v>1.42299</c:v>
                </c:pt>
                <c:pt idx="225">
                  <c:v>1.43797</c:v>
                </c:pt>
                <c:pt idx="226">
                  <c:v>1.43797</c:v>
                </c:pt>
                <c:pt idx="227">
                  <c:v>1.4567000000000001</c:v>
                </c:pt>
                <c:pt idx="228">
                  <c:v>1.4567000000000001</c:v>
                </c:pt>
                <c:pt idx="229">
                  <c:v>1.4716800000000001</c:v>
                </c:pt>
                <c:pt idx="230">
                  <c:v>1.4716800000000001</c:v>
                </c:pt>
                <c:pt idx="231">
                  <c:v>1.4866600000000001</c:v>
                </c:pt>
                <c:pt idx="232">
                  <c:v>1.4866600000000001</c:v>
                </c:pt>
                <c:pt idx="233">
                  <c:v>1.50546</c:v>
                </c:pt>
                <c:pt idx="234">
                  <c:v>1.50546</c:v>
                </c:pt>
                <c:pt idx="235">
                  <c:v>1.5280199999999999</c:v>
                </c:pt>
                <c:pt idx="236">
                  <c:v>1.5280199999999999</c:v>
                </c:pt>
                <c:pt idx="237">
                  <c:v>1.55809</c:v>
                </c:pt>
                <c:pt idx="238">
                  <c:v>1.55809</c:v>
                </c:pt>
                <c:pt idx="239">
                  <c:v>1.5693699999999999</c:v>
                </c:pt>
                <c:pt idx="240">
                  <c:v>1.5693699999999999</c:v>
                </c:pt>
                <c:pt idx="241">
                  <c:v>1.5731299999999999</c:v>
                </c:pt>
                <c:pt idx="242">
                  <c:v>1.5731299999999999</c:v>
                </c:pt>
                <c:pt idx="243">
                  <c:v>1.5844100000000001</c:v>
                </c:pt>
                <c:pt idx="244">
                  <c:v>1.5844100000000001</c:v>
                </c:pt>
                <c:pt idx="245">
                  <c:v>1.6069599999999999</c:v>
                </c:pt>
                <c:pt idx="246">
                  <c:v>1.6069599999999999</c:v>
                </c:pt>
                <c:pt idx="247">
                  <c:v>1.6332800000000001</c:v>
                </c:pt>
                <c:pt idx="248">
                  <c:v>1.6332800000000001</c:v>
                </c:pt>
                <c:pt idx="249">
                  <c:v>1.64456</c:v>
                </c:pt>
                <c:pt idx="250">
                  <c:v>1.64456</c:v>
                </c:pt>
                <c:pt idx="251">
                  <c:v>1.65208</c:v>
                </c:pt>
                <c:pt idx="252">
                  <c:v>1.65208</c:v>
                </c:pt>
                <c:pt idx="253">
                  <c:v>1.6746300000000001</c:v>
                </c:pt>
                <c:pt idx="254">
                  <c:v>1.6746300000000001</c:v>
                </c:pt>
                <c:pt idx="255">
                  <c:v>1.67839</c:v>
                </c:pt>
                <c:pt idx="256">
                  <c:v>1.67839</c:v>
                </c:pt>
                <c:pt idx="257">
                  <c:v>1.69719</c:v>
                </c:pt>
                <c:pt idx="258">
                  <c:v>1.69719</c:v>
                </c:pt>
                <c:pt idx="259">
                  <c:v>1.7122299999999999</c:v>
                </c:pt>
                <c:pt idx="260">
                  <c:v>1.7122299999999999</c:v>
                </c:pt>
                <c:pt idx="261">
                  <c:v>1.7235100000000001</c:v>
                </c:pt>
                <c:pt idx="262">
                  <c:v>1.7235100000000001</c:v>
                </c:pt>
                <c:pt idx="263">
                  <c:v>1.73478</c:v>
                </c:pt>
                <c:pt idx="264">
                  <c:v>1.73478</c:v>
                </c:pt>
                <c:pt idx="265">
                  <c:v>1.7799</c:v>
                </c:pt>
                <c:pt idx="266">
                  <c:v>1.7799</c:v>
                </c:pt>
                <c:pt idx="267">
                  <c:v>1.7986899999999999</c:v>
                </c:pt>
                <c:pt idx="268">
                  <c:v>1.7986899999999999</c:v>
                </c:pt>
                <c:pt idx="269">
                  <c:v>1.81749</c:v>
                </c:pt>
                <c:pt idx="270">
                  <c:v>1.81749</c:v>
                </c:pt>
                <c:pt idx="271">
                  <c:v>1.84005</c:v>
                </c:pt>
                <c:pt idx="272">
                  <c:v>1.84005</c:v>
                </c:pt>
                <c:pt idx="273">
                  <c:v>1.8550800000000001</c:v>
                </c:pt>
                <c:pt idx="274">
                  <c:v>1.8550800000000001</c:v>
                </c:pt>
                <c:pt idx="275">
                  <c:v>1.87388</c:v>
                </c:pt>
                <c:pt idx="276">
                  <c:v>1.87388</c:v>
                </c:pt>
                <c:pt idx="277">
                  <c:v>1.8964399999999999</c:v>
                </c:pt>
                <c:pt idx="278">
                  <c:v>1.8964399999999999</c:v>
                </c:pt>
                <c:pt idx="279">
                  <c:v>1.91899</c:v>
                </c:pt>
                <c:pt idx="280">
                  <c:v>1.91899</c:v>
                </c:pt>
                <c:pt idx="281">
                  <c:v>1.9415500000000001</c:v>
                </c:pt>
                <c:pt idx="282">
                  <c:v>1.9415500000000001</c:v>
                </c:pt>
                <c:pt idx="283">
                  <c:v>1.96035</c:v>
                </c:pt>
                <c:pt idx="284">
                  <c:v>1.96035</c:v>
                </c:pt>
                <c:pt idx="285">
                  <c:v>1.9866600000000001</c:v>
                </c:pt>
                <c:pt idx="286">
                  <c:v>1.9866600000000001</c:v>
                </c:pt>
                <c:pt idx="287">
                  <c:v>1.99794</c:v>
                </c:pt>
                <c:pt idx="288">
                  <c:v>1.99794</c:v>
                </c:pt>
                <c:pt idx="289">
                  <c:v>2.00922</c:v>
                </c:pt>
                <c:pt idx="290">
                  <c:v>2.00922</c:v>
                </c:pt>
                <c:pt idx="291">
                  <c:v>2.0355400000000001</c:v>
                </c:pt>
                <c:pt idx="292">
                  <c:v>2.0355400000000001</c:v>
                </c:pt>
                <c:pt idx="293">
                  <c:v>2.0618500000000002</c:v>
                </c:pt>
                <c:pt idx="294">
                  <c:v>2.0618500000000002</c:v>
                </c:pt>
                <c:pt idx="295">
                  <c:v>2.0881699999999999</c:v>
                </c:pt>
                <c:pt idx="296">
                  <c:v>2.0881699999999999</c:v>
                </c:pt>
                <c:pt idx="297">
                  <c:v>2.1107200000000002</c:v>
                </c:pt>
                <c:pt idx="298">
                  <c:v>2.1107200000000002</c:v>
                </c:pt>
                <c:pt idx="299">
                  <c:v>2.1219999999999999</c:v>
                </c:pt>
                <c:pt idx="300">
                  <c:v>2.1219999999999999</c:v>
                </c:pt>
                <c:pt idx="301">
                  <c:v>2.1257600000000001</c:v>
                </c:pt>
                <c:pt idx="302">
                  <c:v>2.1257600000000001</c:v>
                </c:pt>
                <c:pt idx="303">
                  <c:v>2.14832</c:v>
                </c:pt>
                <c:pt idx="304">
                  <c:v>2.14832</c:v>
                </c:pt>
                <c:pt idx="305">
                  <c:v>2.1708699999999999</c:v>
                </c:pt>
                <c:pt idx="306">
                  <c:v>2.1708699999999999</c:v>
                </c:pt>
                <c:pt idx="307">
                  <c:v>2.18967</c:v>
                </c:pt>
                <c:pt idx="308">
                  <c:v>2.18967</c:v>
                </c:pt>
                <c:pt idx="309">
                  <c:v>2.2047099999999999</c:v>
                </c:pt>
                <c:pt idx="310">
                  <c:v>2.2047099999999999</c:v>
                </c:pt>
                <c:pt idx="311">
                  <c:v>2.2084700000000002</c:v>
                </c:pt>
                <c:pt idx="312">
                  <c:v>2.2084700000000002</c:v>
                </c:pt>
                <c:pt idx="313">
                  <c:v>2.2235100000000001</c:v>
                </c:pt>
                <c:pt idx="314">
                  <c:v>2.2235100000000001</c:v>
                </c:pt>
                <c:pt idx="315">
                  <c:v>2.2460599999999999</c:v>
                </c:pt>
                <c:pt idx="316">
                  <c:v>2.2460599999999999</c:v>
                </c:pt>
                <c:pt idx="317">
                  <c:v>2.2535799999999999</c:v>
                </c:pt>
                <c:pt idx="318">
                  <c:v>2.2535799999999999</c:v>
                </c:pt>
                <c:pt idx="319">
                  <c:v>2.2799</c:v>
                </c:pt>
                <c:pt idx="320">
                  <c:v>2.2799</c:v>
                </c:pt>
                <c:pt idx="321">
                  <c:v>2.3024499999999999</c:v>
                </c:pt>
                <c:pt idx="322">
                  <c:v>2.3024499999999999</c:v>
                </c:pt>
                <c:pt idx="323">
                  <c:v>2.3099699999999999</c:v>
                </c:pt>
                <c:pt idx="324">
                  <c:v>2.3099699999999999</c:v>
                </c:pt>
                <c:pt idx="325">
                  <c:v>2.3250099999999998</c:v>
                </c:pt>
                <c:pt idx="326">
                  <c:v>2.3250099999999998</c:v>
                </c:pt>
                <c:pt idx="327">
                  <c:v>2.33629</c:v>
                </c:pt>
                <c:pt idx="328">
                  <c:v>2.33629</c:v>
                </c:pt>
                <c:pt idx="329">
                  <c:v>2.3550800000000001</c:v>
                </c:pt>
                <c:pt idx="330">
                  <c:v>2.3550800000000001</c:v>
                </c:pt>
                <c:pt idx="331">
                  <c:v>2.3663599999999998</c:v>
                </c:pt>
                <c:pt idx="332">
                  <c:v>2.3663599999999998</c:v>
                </c:pt>
                <c:pt idx="333">
                  <c:v>2.3814000000000002</c:v>
                </c:pt>
                <c:pt idx="334">
                  <c:v>2.3814000000000002</c:v>
                </c:pt>
                <c:pt idx="335">
                  <c:v>2.3964400000000001</c:v>
                </c:pt>
                <c:pt idx="336">
                  <c:v>2.3964400000000001</c:v>
                </c:pt>
                <c:pt idx="337">
                  <c:v>2.4114800000000001</c:v>
                </c:pt>
                <c:pt idx="338">
                  <c:v>2.4114800000000001</c:v>
                </c:pt>
                <c:pt idx="339">
                  <c:v>2.4302700000000002</c:v>
                </c:pt>
                <c:pt idx="340">
                  <c:v>2.4302700000000002</c:v>
                </c:pt>
                <c:pt idx="341">
                  <c:v>2.4415499999999999</c:v>
                </c:pt>
                <c:pt idx="342">
                  <c:v>2.44154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60-41C2-A675-E8C1926C3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3112048"/>
        <c:axId val="463112440"/>
      </c:scatterChart>
      <c:valAx>
        <c:axId val="463112048"/>
        <c:scaling>
          <c:orientation val="minMax"/>
          <c:max val="26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28575" cap="flat" cmpd="sng" algn="ctr">
            <a:solidFill>
              <a:srgbClr val="00196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BE"/>
          </a:p>
        </c:txPr>
        <c:crossAx val="463112440"/>
        <c:crosses val="autoZero"/>
        <c:crossBetween val="midCat"/>
        <c:majorUnit val="2"/>
      </c:valAx>
      <c:valAx>
        <c:axId val="463112440"/>
        <c:scaling>
          <c:orientation val="minMax"/>
          <c:max val="2.5"/>
          <c:min val="0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 w="28575" cap="flat" cmpd="sng" algn="ctr">
            <a:solidFill>
              <a:srgbClr val="00196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BE"/>
          </a:p>
        </c:txPr>
        <c:crossAx val="463112048"/>
        <c:crosses val="autoZero"/>
        <c:crossBetween val="midCat"/>
        <c:majorUnit val="0.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B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51275" y="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3C1C0899-8A31-447A-B2A2-8932393E27B4}" type="datetime1">
              <a:rPr lang="nl-BE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51275" y="942975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C9F80F2F-1D8C-49BE-833D-5F9D50A8EECA}" type="slidenum">
              <a:rPr lang="nl-BE"/>
              <a:pPr>
                <a:defRPr/>
              </a:pPr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7363589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3751A17F-BFDC-49AD-A349-253F6FBDF1F6}" type="datetime1">
              <a:rPr lang="nl-BE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BE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BE" noProof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1275" y="9429750"/>
            <a:ext cx="2944813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1702637-0500-40F5-A487-78F7EC192660}" type="slidenum">
              <a:rPr lang="nl-BE"/>
              <a:pPr>
                <a:defRPr/>
              </a:pPr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5754169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Geneva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ptodate.com/contents/insulin-regular-drug-information?source=see_link" TargetMode="External"/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uptodate.com/contents/insulin-glargine-drug-information?source=see_link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 dirty="0">
                <a:ea typeface="Geneva"/>
                <a:cs typeface="Geneva"/>
              </a:rPr>
              <a:t>België 7-8% (1/12) </a:t>
            </a: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 versus USA  waar 12,5% (dus 1/8)</a:t>
            </a:r>
          </a:p>
          <a:p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1/15 grijze zone en 1/3 </a:t>
            </a:r>
            <a:r>
              <a:rPr lang="nl-BE" altLang="nl-BE" dirty="0" err="1">
                <a:ea typeface="Geneva"/>
                <a:cs typeface="Geneva"/>
                <a:sym typeface="Wingdings" panose="05000000000000000000" pitchFamily="2" charset="2"/>
              </a:rPr>
              <a:t>ondergediagnosticeerd</a:t>
            </a:r>
            <a:endParaRPr lang="nl-BE" altLang="nl-BE" dirty="0">
              <a:ea typeface="Geneva"/>
              <a:cs typeface="Geneva"/>
            </a:endParaRPr>
          </a:p>
          <a:p>
            <a:r>
              <a:rPr lang="nl-BE" altLang="nl-BE" dirty="0">
                <a:ea typeface="Geneva"/>
                <a:cs typeface="Geneva"/>
              </a:rPr>
              <a:t>In 2030 </a:t>
            </a: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 10% </a:t>
            </a:r>
          </a:p>
          <a:p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Type 1 0.4 %  België vrij stabiel, wel toename op jongere leeftijd en afname van aantal nieuwe gevallen op volwassenleeftijd</a:t>
            </a:r>
          </a:p>
          <a:p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Toename &lt; 15 jaar met 3% per jaar</a:t>
            </a:r>
          </a:p>
        </p:txBody>
      </p:sp>
      <p:sp>
        <p:nvSpPr>
          <p:cNvPr id="46084" name="Tijdelijke aanduiding voor datum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AAFFD2E6-8E1B-42C1-893F-104C8D18B890}" type="datetime1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0/01/2020</a:t>
            </a:fld>
            <a:endParaRPr lang="nl-BE" altLang="nl-BE">
              <a:latin typeface="Arial" panose="020B0604020202020204" pitchFamily="34" charset="0"/>
            </a:endParaRPr>
          </a:p>
        </p:txBody>
      </p:sp>
      <p:sp>
        <p:nvSpPr>
          <p:cNvPr id="46085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02926A5B-1E1F-4986-8F34-5B7BD30E09A4}" type="slidenum">
              <a:rPr lang="nl-BE" altLang="nl-BE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3480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5988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70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da-DK" altLang="en-US">
                <a:ea typeface="Geneva"/>
                <a:cs typeface="Geneva"/>
              </a:rPr>
              <a:t>rond 100 euro per maand</a:t>
            </a:r>
          </a:p>
        </p:txBody>
      </p:sp>
      <p:sp>
        <p:nvSpPr>
          <p:cNvPr id="870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7713" indent="-28733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50938" indent="-2301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11313" indent="-2301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71688" indent="-2301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28888" indent="-2301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86088" indent="-2301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43288" indent="-2301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900488" indent="-2301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3539530A-A3D2-4B26-83FD-E46BEAB1B74E}" type="slidenum">
              <a:rPr lang="da-DK" altLang="nl-BE" smtClean="0">
                <a:solidFill>
                  <a:srgbClr val="000000"/>
                </a:solidFill>
                <a:latin typeface="Verdana" panose="020B0604030504040204" pitchFamily="34" charset="0"/>
              </a:rPr>
              <a:pPr>
                <a:spcBef>
                  <a:spcPct val="0"/>
                </a:spcBef>
              </a:pPr>
              <a:t>23</a:t>
            </a:fld>
            <a:endParaRPr lang="da-DK" altLang="nl-BE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725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497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en-US" baseline="30000"/>
              <a:t>A</a:t>
            </a:r>
          </a:p>
          <a:p>
            <a:r>
              <a:rPr lang="en-GB" altLang="en-US" baseline="30000"/>
              <a:t>-0.06‡ (-0.19, 0.07)a</a:t>
            </a:r>
          </a:p>
          <a:p>
            <a:endParaRPr lang="en-GB" altLang="en-US" baseline="30000"/>
          </a:p>
          <a:p>
            <a:endParaRPr lang="en-GB" altLang="en-US" baseline="30000"/>
          </a:p>
          <a:p>
            <a:r>
              <a:rPr lang="en-GB" altLang="en-US"/>
              <a:t>-0.06</a:t>
            </a:r>
            <a:r>
              <a:rPr lang="en-GB" altLang="en-US" baseline="30000"/>
              <a:t>‡</a:t>
            </a:r>
            <a:r>
              <a:rPr lang="en-GB" altLang="en-US"/>
              <a:t> (-0.19, 0.07)</a:t>
            </a:r>
            <a:r>
              <a:rPr lang="en-GB" altLang="en-US" baseline="30000"/>
              <a:t>a</a:t>
            </a:r>
          </a:p>
          <a:p>
            <a:r>
              <a:rPr lang="en-GB" altLang="en-US" baseline="30000"/>
              <a:t>‡</a:t>
            </a:r>
            <a:r>
              <a:rPr lang="en-GB" altLang="en-US"/>
              <a:t>p&lt;0.0001, non inferiority vs. liraglutide, </a:t>
            </a:r>
            <a:r>
              <a:rPr lang="en-GB" altLang="en-US" baseline="30000"/>
              <a:t>a</a:t>
            </a:r>
            <a:r>
              <a:rPr lang="en-GB" altLang="en-US"/>
              <a:t>Treatment difference (nominal 95% CI)</a:t>
            </a:r>
          </a:p>
          <a:p>
            <a:endParaRPr lang="en-GB" altLang="en-US"/>
          </a:p>
          <a:p>
            <a:endParaRPr lang="en-GB" altLang="en-US" baseline="30000"/>
          </a:p>
        </p:txBody>
      </p:sp>
      <p:sp>
        <p:nvSpPr>
          <p:cNvPr id="2549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4538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6175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655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65338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225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97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369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941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9990CE37-A066-46CE-9075-B07CE583BD7F}" type="slidenum">
              <a:rPr lang="en-GB" altLang="en-US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5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245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0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/>
          </a:p>
        </p:txBody>
      </p:sp>
      <p:sp>
        <p:nvSpPr>
          <p:cNvPr id="2560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4538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6175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655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65338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225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97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369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94138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F615AE81-E98D-426E-B476-F006116EF93D}" type="slidenum">
              <a:rPr lang="en-GB" altLang="en-US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6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396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63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 dirty="0">
                <a:ea typeface="Geneva"/>
                <a:cs typeface="Geneva"/>
              </a:rPr>
              <a:t>Tgv verbetering lipidenprofiel/BD/ gewicht?</a:t>
            </a:r>
          </a:p>
          <a:p>
            <a:r>
              <a:rPr lang="nl-BE" altLang="nl-BE" dirty="0">
                <a:ea typeface="Geneva"/>
                <a:cs typeface="Geneva"/>
              </a:rPr>
              <a:t>Tgv rechtstreeks effect op atherosclerose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92165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75316010-8634-46C1-A07D-9E6879C81CD3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7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8388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9331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ACE-i en sartaan 1</a:t>
            </a:r>
            <a:r>
              <a:rPr lang="nl-BE" altLang="nl-BE" baseline="30000">
                <a:ea typeface="Geneva"/>
                <a:cs typeface="Geneva"/>
              </a:rPr>
              <a:t>ste</a:t>
            </a:r>
            <a:r>
              <a:rPr lang="nl-BE" altLang="nl-BE">
                <a:ea typeface="Geneva"/>
                <a:cs typeface="Geneva"/>
              </a:rPr>
              <a:t> keuze, echter evidentie beperkt indien geen albuminurie</a:t>
            </a:r>
          </a:p>
          <a:p>
            <a:r>
              <a:rPr lang="nl-BE" altLang="nl-BE">
                <a:ea typeface="Geneva"/>
                <a:cs typeface="Geneva"/>
              </a:rPr>
              <a:t>dan kan ook voor caliumantagonist/ thiazide gekozen word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99333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88831182-E07E-4031-82EA-E62C4ED55BCD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8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3804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7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altLang="nl-BE">
              <a:ea typeface="Geneva"/>
              <a:cs typeface="Geneva"/>
            </a:endParaRPr>
          </a:p>
        </p:txBody>
      </p:sp>
      <p:sp>
        <p:nvSpPr>
          <p:cNvPr id="137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</a:pPr>
            <a:fld id="{A0127C32-E85A-4400-A059-72E2E5CD6CD9}" type="slidenum">
              <a:rPr lang="en-GB" altLang="nl-BE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 eaLnBrk="1" hangingPunct="1">
                <a:spcBef>
                  <a:spcPct val="0"/>
                </a:spcBef>
              </a:pPr>
              <a:t>34</a:t>
            </a:fld>
            <a:endParaRPr lang="en-GB" altLang="nl-BE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40564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9E5159-0256-4492-84FE-DEDC7088426B}" type="slidenum">
              <a:rPr lang="en-GB" altLang="en-US" smtClean="0">
                <a:solidFill>
                  <a:prstClr val="black"/>
                </a:solidFill>
              </a:rPr>
              <a:pPr>
                <a:defRPr/>
              </a:pPr>
              <a:t>35</a:t>
            </a:fld>
            <a:endParaRPr lang="en-GB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3845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RR bedraagt 14%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146437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DE99448C-152E-4F94-81EB-751CB8B3271D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6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28150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8483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 dirty="0">
                <a:ea typeface="Geneva"/>
                <a:cs typeface="Geneva"/>
              </a:rPr>
              <a:t>RR bedraagt 38% op CV mortaliteit, </a:t>
            </a:r>
          </a:p>
          <a:p>
            <a:r>
              <a:rPr lang="fr-BE" altLang="nl-BE" dirty="0">
                <a:ea typeface="Geneva"/>
                <a:cs typeface="Geneva"/>
              </a:rPr>
              <a:t>RR op </a:t>
            </a:r>
            <a:r>
              <a:rPr lang="fr-BE" altLang="nl-BE" dirty="0" err="1">
                <a:ea typeface="Geneva"/>
                <a:cs typeface="Geneva"/>
              </a:rPr>
              <a:t>hartfalen</a:t>
            </a:r>
            <a:r>
              <a:rPr lang="fr-BE" altLang="nl-BE" dirty="0">
                <a:ea typeface="Geneva"/>
                <a:cs typeface="Geneva"/>
              </a:rPr>
              <a:t> 35%</a:t>
            </a:r>
          </a:p>
          <a:p>
            <a:r>
              <a:rPr lang="fr-BE" altLang="nl-BE" dirty="0">
                <a:ea typeface="Geneva"/>
                <a:cs typeface="Geneva"/>
              </a:rPr>
              <a:t>FDA </a:t>
            </a:r>
            <a:r>
              <a:rPr lang="fr-BE" altLang="nl-BE" dirty="0">
                <a:ea typeface="Geneva"/>
                <a:cs typeface="Geneva"/>
                <a:sym typeface="Wingdings" panose="05000000000000000000" pitchFamily="2" charset="2"/>
              </a:rPr>
              <a:t> CV </a:t>
            </a:r>
            <a:r>
              <a:rPr lang="fr-BE" altLang="nl-BE" dirty="0" err="1">
                <a:ea typeface="Geneva"/>
                <a:cs typeface="Geneva"/>
                <a:sym typeface="Wingdings" panose="05000000000000000000" pitchFamily="2" charset="2"/>
              </a:rPr>
              <a:t>preventie</a:t>
            </a:r>
            <a:r>
              <a:rPr lang="fr-BE" altLang="nl-BE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dirty="0" err="1">
                <a:ea typeface="Geneva"/>
                <a:cs typeface="Geneva"/>
                <a:sym typeface="Wingdings" panose="05000000000000000000" pitchFamily="2" charset="2"/>
              </a:rPr>
              <a:t>bij</a:t>
            </a:r>
            <a:r>
              <a:rPr lang="fr-BE" altLang="nl-BE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dirty="0" err="1">
                <a:ea typeface="Geneva"/>
                <a:cs typeface="Geneva"/>
                <a:sym typeface="Wingdings" panose="05000000000000000000" pitchFamily="2" charset="2"/>
              </a:rPr>
              <a:t>diabetespatiënt</a:t>
            </a:r>
            <a:r>
              <a:rPr lang="fr-BE" altLang="nl-BE" dirty="0">
                <a:ea typeface="Geneva"/>
                <a:cs typeface="Geneva"/>
                <a:sym typeface="Wingdings" panose="05000000000000000000" pitchFamily="2" charset="2"/>
              </a:rPr>
              <a:t> met CV </a:t>
            </a:r>
            <a:r>
              <a:rPr lang="fr-BE" altLang="nl-BE" dirty="0" err="1">
                <a:ea typeface="Geneva"/>
                <a:cs typeface="Geneva"/>
                <a:sym typeface="Wingdings" panose="05000000000000000000" pitchFamily="2" charset="2"/>
              </a:rPr>
              <a:t>ziekte</a:t>
            </a:r>
            <a:endParaRPr lang="nl-BE" altLang="nl-BE" dirty="0">
              <a:ea typeface="Geneva"/>
              <a:cs typeface="Geneva"/>
            </a:endParaRP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148485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05ED8618-F2EF-4325-B1AB-E257CFEDED38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7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8272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/>
              <a:t>(Needs to be seen in presentation mode)</a:t>
            </a:r>
          </a:p>
          <a:p>
            <a:r>
              <a:rPr lang="en-GB" baseline="0" dirty="0"/>
              <a:t>While there as previously mentioned are limitation to directly comparing cardiovascular outcome trials, this is commonly being done in the scientific community. This slide thus shows a frequent comparison between the two curves for the primary endpoint in EMPA REG OUTCOME and LEADER. 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ifference in the time course of separation of the curves for empagliflozin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liraglutide has led to the suggestion that the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served benefit in EMPA-REG OUTCOME could be suggestive of primarily hemodynamic changes whereas the results in LEADER perhaps more closely resemble a modification of the atherosclerotic progression. 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discussed in more detail by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animation of this slide where it can be seen that there are two different suggested modes of action for empagliflozin and liraglutide. Empagliflozin has a proposed hemodynamic MoA by reducing fluid and blood pressure (</a:t>
            </a:r>
            <a:r>
              <a:rPr lang="en-GB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odynamics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or potentially affecting the metabolism in the heart. Liraglutide has a number of CV effects that may have contributed to the results in LEADER including anti-atherosclerotic and anti-inflammatory effects as well as potentially reducing platelet aggregation. 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while there</a:t>
            </a:r>
            <a:r>
              <a:rPr lang="en-GB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similar outcomes in the two trials and the magnitude of the risk reduction is similar, the mode of action are different.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</a:rPr>
              <a:pPr/>
              <a:t>3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88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7763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In de meeste landen gaat 5 tot 20% van de gezondheidszorgkosten </a:t>
            </a:r>
            <a:r>
              <a:rPr lang="nl-BE" altLang="nl-BE">
                <a:ea typeface="Geneva"/>
                <a:cs typeface="Geneva"/>
                <a:sym typeface="Wingdings" panose="05000000000000000000" pitchFamily="2" charset="2"/>
              </a:rPr>
              <a:t> gaat naar diabetes (behandeling, medische begeleiding, ziekteverzuim, behandeling complicaties)</a:t>
            </a:r>
          </a:p>
          <a:p>
            <a:r>
              <a:rPr lang="nl-BE" altLang="nl-BE">
                <a:ea typeface="Geneva"/>
                <a:cs typeface="Geneva"/>
                <a:sym typeface="Wingdings" panose="05000000000000000000" pitchFamily="2" charset="2"/>
              </a:rPr>
              <a:t>In belgië schat men tussen 9-15%, meeste hiervan wordt gespendeerd aan ziekenhuisopnames, opvang van complicaties en ziektevezuim, slechts 8% van het hele budget gaat naar de kostprijs van de geneesmiddelen</a:t>
            </a:r>
            <a:endParaRPr lang="nl-BE" altLang="nl-BE">
              <a:ea typeface="Geneva"/>
              <a:cs typeface="Geneva"/>
            </a:endParaRPr>
          </a:p>
        </p:txBody>
      </p:sp>
      <p:sp>
        <p:nvSpPr>
          <p:cNvPr id="117764" name="Tijdelijke aanduiding voor datum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</a:pPr>
            <a:fld id="{89295B2C-930D-482C-A7C1-2BF31E350A32}" type="datetime1">
              <a:rPr lang="nl-BE" altLang="nl-BE" smtClean="0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20/01/2020</a:t>
            </a:fld>
            <a:endParaRPr lang="nl-BE" altLang="nl-BE">
              <a:latin typeface="Arial" panose="020B0604020202020204" pitchFamily="34" charset="0"/>
            </a:endParaRPr>
          </a:p>
        </p:txBody>
      </p:sp>
      <p:sp>
        <p:nvSpPr>
          <p:cNvPr id="117765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</a:pPr>
            <a:fld id="{42304A19-C87C-4460-B4C2-CCC8B92C259B}" type="slidenum">
              <a:rPr lang="nl-BE" altLang="nl-B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0300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00113" y="739775"/>
            <a:ext cx="4935537" cy="37004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GB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40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52863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Geen terugbetaling in België</a:t>
            </a:r>
            <a:r>
              <a:rPr lang="nl-BE" baseline="0" dirty="0"/>
              <a:t> voor GLP-1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751A17F-BFDC-49AD-A349-253F6FBDF1F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702637-0500-40F5-A487-78F7EC192660}" type="slidenum">
              <a:rPr lang="nl-BE" smtClean="0"/>
              <a:pPr>
                <a:defRPr/>
              </a:pPr>
              <a:t>4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82406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9267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terugbetaling voor 6 maanden</a:t>
            </a:r>
          </a:p>
          <a:p>
            <a:r>
              <a:rPr lang="nl-BE" altLang="nl-BE">
                <a:ea typeface="Geneva"/>
                <a:cs typeface="Geneva"/>
              </a:rPr>
              <a:t>nadien aantonen dat nierfunctie goed blijft/ gewichtsreductie en daling van HbA1C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A8901CBF-3ECE-4253-9C89-6B4E0DEBF57F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139269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3B4EA99F-422E-4F89-9B65-45CFB10A5E0A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2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6297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1315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Terugbetaling voor 6 maanden, nadien verlenging voor 1 jaar indien HbA1c daalt en gewicht afneemt</a:t>
            </a:r>
          </a:p>
          <a:p>
            <a:r>
              <a:rPr lang="nl-BE" altLang="nl-BE">
                <a:ea typeface="Geneva"/>
                <a:cs typeface="Geneva"/>
              </a:rPr>
              <a:t>Terugbetaling niet indien eGFR &lt; 60ml/min, minder effectief op glycemiecontrole maar wel nog gunstig effect op kidney en CV disease zelfs bij eGFR &lt; 60ml/min</a:t>
            </a:r>
          </a:p>
          <a:p>
            <a:r>
              <a:rPr lang="nl-BE" altLang="nl-BE">
                <a:ea typeface="Geneva"/>
                <a:cs typeface="Geneva"/>
              </a:rPr>
              <a:t>Hemodynamische veranderingen, daling van intraglomurulaire filtratiedruk</a:t>
            </a:r>
          </a:p>
          <a:p>
            <a:r>
              <a:rPr lang="nl-BE" altLang="nl-BE">
                <a:ea typeface="Geneva"/>
                <a:cs typeface="Geneva"/>
              </a:rPr>
              <a:t>Diabetische nierziekte </a:t>
            </a:r>
            <a:r>
              <a:rPr lang="nl-BE" altLang="nl-BE">
                <a:ea typeface="Geneva"/>
                <a:cs typeface="Geneva"/>
                <a:sym typeface="Wingdings" panose="05000000000000000000" pitchFamily="2" charset="2"/>
              </a:rPr>
              <a:t> is onafhankelijke risicofactor voor CV lijden</a:t>
            </a:r>
            <a:endParaRPr lang="nl-BE" altLang="nl-BE">
              <a:ea typeface="Geneva"/>
              <a:cs typeface="Geneva"/>
            </a:endParaRP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141317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B918E6D4-4D6E-4142-A19A-8293AD8F9C21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3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5609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3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combinatie met metformine 850mg of 1000mg 2x/dag</a:t>
            </a:r>
          </a:p>
          <a:p>
            <a:r>
              <a:rPr lang="nl-BE" altLang="nl-BE">
                <a:ea typeface="Geneva"/>
                <a:cs typeface="Geneva"/>
              </a:rPr>
              <a:t>kan aangevraagd worden als er reeds een goedkeuring voor het product liep en patiënt al 6 maanden in combinatie werd behandeld met goed resultaat op HbA1c en gewicht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5035A4BA-41EE-43CE-A24D-E76ABE5583BB}" type="slidenum">
              <a:rPr lang="nl-BE" altLang="nl-BE"/>
              <a:pPr eaLnBrk="1" hangingPunct="1"/>
              <a:t>44</a:t>
            </a:fld>
            <a:endParaRPr lang="nl-BE" altLang="nl-BE"/>
          </a:p>
        </p:txBody>
      </p:sp>
    </p:spTree>
    <p:extLst>
      <p:ext uri="{BB962C8B-B14F-4D97-AF65-F5344CB8AC3E}">
        <p14:creationId xmlns:p14="http://schemas.microsoft.com/office/powerpoint/2010/main" val="18650514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8243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combinatie met metformine 850mg of 1000mg 2x/dag</a:t>
            </a:r>
          </a:p>
          <a:p>
            <a:r>
              <a:rPr lang="nl-BE" altLang="nl-BE">
                <a:ea typeface="Geneva"/>
                <a:cs typeface="Geneva"/>
              </a:rPr>
              <a:t>terugbetaling ok indien al goede controle onder losse combinatie of onmiddellijk te associëren indien HbA1c tussen 7 en 9%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898B91B3-643C-40FC-90E1-9E6D4EFA8907}" type="slidenum">
              <a:rPr lang="nl-BE" altLang="nl-BE"/>
              <a:pPr eaLnBrk="1" hangingPunct="1"/>
              <a:t>53</a:t>
            </a:fld>
            <a:endParaRPr lang="nl-BE" altLang="nl-BE"/>
          </a:p>
        </p:txBody>
      </p:sp>
    </p:spTree>
    <p:extLst>
      <p:ext uri="{BB962C8B-B14F-4D97-AF65-F5344CB8AC3E}">
        <p14:creationId xmlns:p14="http://schemas.microsoft.com/office/powerpoint/2010/main" val="131778701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neutraal</a:t>
            </a:r>
            <a:r>
              <a:rPr lang="nl-BE" baseline="0" dirty="0"/>
              <a:t> effect, maar risico op hartfalen toegenomen bij </a:t>
            </a:r>
            <a:r>
              <a:rPr lang="nl-BE" baseline="0" dirty="0" err="1"/>
              <a:t>Oglyza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751A17F-BFDC-49AD-A349-253F6FBDF1F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702637-0500-40F5-A487-78F7EC192660}" type="slidenum">
              <a:rPr lang="nl-BE" smtClean="0"/>
              <a:pPr>
                <a:defRPr/>
              </a:pPr>
              <a:t>5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979427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 dirty="0"/>
          </a:p>
        </p:txBody>
      </p:sp>
      <p:sp>
        <p:nvSpPr>
          <p:cNvPr id="143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11523" indent="-273663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094651" indent="-21893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532512" indent="-21893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1970372" indent="-21893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408232" indent="-218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846093" indent="-218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283953" indent="-218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721814" indent="-2189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fld id="{564C1F40-93B9-4715-98F6-EA0CD139F4C6}" type="slidenum">
              <a:rPr lang="en-GB" altLang="en-US">
                <a:solidFill>
                  <a:srgbClr val="000000"/>
                </a:solidFill>
              </a:rPr>
              <a:pPr/>
              <a:t>55</a:t>
            </a:fld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5900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751A17F-BFDC-49AD-A349-253F6FBDF1F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702637-0500-40F5-A487-78F7EC192660}" type="slidenum">
              <a:rPr lang="nl-BE" smtClean="0"/>
              <a:pPr>
                <a:defRPr/>
              </a:pPr>
              <a:t>5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209643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ffectLst/>
              </a:rPr>
              <a:t>The time to peak and the duration of action of human insulin preparations (NPH and </a:t>
            </a:r>
            <a:r>
              <a:rPr lang="en-US" dirty="0">
                <a:effectLst/>
                <a:hlinkClick r:id="rId3"/>
              </a:rPr>
              <a:t>regular insulin</a:t>
            </a:r>
            <a:r>
              <a:rPr lang="en-US" dirty="0">
                <a:effectLst/>
              </a:rPr>
              <a:t>) do not replicate endogenous basal and postprandial insulin secretion, which is particularly important in treating insulin-deficient, such as type 1, diabetes. Thus, insulin analogs (</a:t>
            </a:r>
            <a:r>
              <a:rPr lang="en-US" dirty="0" err="1">
                <a:effectLst/>
              </a:rPr>
              <a:t>lispro</a:t>
            </a:r>
            <a:r>
              <a:rPr lang="en-US" dirty="0">
                <a:effectLst/>
              </a:rPr>
              <a:t>, </a:t>
            </a:r>
            <a:r>
              <a:rPr lang="en-US" dirty="0" err="1">
                <a:effectLst/>
              </a:rPr>
              <a:t>aspart</a:t>
            </a:r>
            <a:r>
              <a:rPr lang="en-US" dirty="0">
                <a:effectLst/>
              </a:rPr>
              <a:t>, </a:t>
            </a:r>
            <a:r>
              <a:rPr lang="en-US" dirty="0" err="1">
                <a:effectLst/>
              </a:rPr>
              <a:t>glulisine</a:t>
            </a:r>
            <a:r>
              <a:rPr lang="en-US" dirty="0">
                <a:effectLst/>
              </a:rPr>
              <a:t>, glargine, </a:t>
            </a:r>
            <a:r>
              <a:rPr lang="en-US" dirty="0" err="1">
                <a:effectLst/>
              </a:rPr>
              <a:t>detemir</a:t>
            </a:r>
            <a:r>
              <a:rPr lang="en-US" dirty="0">
                <a:effectLst/>
              </a:rPr>
              <a:t>, </a:t>
            </a:r>
            <a:r>
              <a:rPr lang="en-US" dirty="0" err="1">
                <a:effectLst/>
              </a:rPr>
              <a:t>degludec</a:t>
            </a:r>
            <a:r>
              <a:rPr lang="en-US" dirty="0">
                <a:effectLst/>
              </a:rPr>
              <a:t>) were developed. The very rapid-acting insulin analogs have both faster onset and shorter duration of action than regular insulin for </a:t>
            </a:r>
            <a:r>
              <a:rPr lang="en-US" dirty="0" err="1">
                <a:effectLst/>
              </a:rPr>
              <a:t>premeal</a:t>
            </a:r>
            <a:r>
              <a:rPr lang="en-US" dirty="0">
                <a:effectLst/>
              </a:rPr>
              <a:t> coverage, while the long-acting analogs have a longer and flatter profile than NPH for basal coverage </a:t>
            </a:r>
          </a:p>
          <a:p>
            <a:endParaRPr lang="en-US" dirty="0">
              <a:effectLst/>
            </a:endParaRPr>
          </a:p>
          <a:p>
            <a:r>
              <a:rPr lang="en-US" dirty="0">
                <a:effectLst/>
              </a:rPr>
              <a:t>Rapid-acting insulin – With respect to short-term outcomes, such as glycated hemoglobin (A1C) and risk of hypoglycemia, the newer rapid-acting insulins may have a minor glycemic advantage over short-acting (regular) insulin in patients with type 1 diabetes but not in patients with type 2 diabetes.</a:t>
            </a:r>
          </a:p>
          <a:p>
            <a:r>
              <a:rPr lang="en-US" dirty="0">
                <a:effectLst/>
              </a:rPr>
              <a:t>●Long-acting insulin – The long-acting insulins (glargine, </a:t>
            </a:r>
            <a:r>
              <a:rPr lang="en-US" dirty="0" err="1">
                <a:effectLst/>
              </a:rPr>
              <a:t>detemir</a:t>
            </a:r>
            <a:r>
              <a:rPr lang="en-US" dirty="0">
                <a:effectLst/>
              </a:rPr>
              <a:t>, and </a:t>
            </a:r>
            <a:r>
              <a:rPr lang="en-US" dirty="0" err="1">
                <a:effectLst/>
              </a:rPr>
              <a:t>degludec</a:t>
            </a:r>
            <a:r>
              <a:rPr lang="en-US" dirty="0">
                <a:effectLst/>
              </a:rPr>
              <a:t>) may have some modest clinical advantages over NPH (less symptomatic and nocturnal hypoglycemia) in type 2 diabetes, with the important disadvantage of higher cost. </a:t>
            </a:r>
            <a:r>
              <a:rPr lang="en-US" dirty="0" err="1">
                <a:effectLst/>
              </a:rPr>
              <a:t>Degludec</a:t>
            </a:r>
            <a:r>
              <a:rPr lang="en-US" dirty="0">
                <a:effectLst/>
              </a:rPr>
              <a:t> may have less risk of symptomatic and nocturnal hypoglycemia than glargine. In type 2 diabetes, the absolute reduction of chemical hypoglycemia with longer-acting versus NPH insulin (measured, for example, as the number of episodes with capillary glucose &lt;70 mg/</a:t>
            </a:r>
            <a:r>
              <a:rPr lang="en-US" dirty="0" err="1">
                <a:effectLst/>
              </a:rPr>
              <a:t>dL</a:t>
            </a:r>
            <a:r>
              <a:rPr lang="en-US" dirty="0">
                <a:effectLst/>
              </a:rPr>
              <a:t> per patient year) is usually small. The frequency of severe hypoglycemia (requiring assistance) is very low and usually not different among long- and intermediate-acting insulins.</a:t>
            </a:r>
          </a:p>
          <a:p>
            <a:r>
              <a:rPr lang="en-US" dirty="0">
                <a:effectLst/>
              </a:rPr>
              <a:t>In type 1 diabetes, </a:t>
            </a:r>
            <a:r>
              <a:rPr lang="en-US" dirty="0">
                <a:effectLst/>
                <a:hlinkClick r:id="rId4"/>
              </a:rPr>
              <a:t>insulin glargine</a:t>
            </a:r>
            <a:r>
              <a:rPr lang="en-US" dirty="0">
                <a:effectLst/>
              </a:rPr>
              <a:t> may have a slight glycemic advantage and </a:t>
            </a:r>
            <a:r>
              <a:rPr lang="en-US" dirty="0" err="1">
                <a:effectLst/>
              </a:rPr>
              <a:t>detemir</a:t>
            </a:r>
            <a:r>
              <a:rPr lang="en-US" dirty="0">
                <a:effectLst/>
              </a:rPr>
              <a:t> less risk of severe hypoglycemia compared with NPH. Compared with glargine, </a:t>
            </a:r>
            <a:r>
              <a:rPr lang="en-US" dirty="0" err="1">
                <a:effectLst/>
              </a:rPr>
              <a:t>degludec</a:t>
            </a:r>
            <a:r>
              <a:rPr lang="en-US" dirty="0">
                <a:effectLst/>
              </a:rPr>
              <a:t> has similar glycemic efficacy with less nocturnal hypoglycemia</a:t>
            </a:r>
          </a:p>
          <a:p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751A17F-BFDC-49AD-A349-253F6FBDF1F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702637-0500-40F5-A487-78F7EC192660}" type="slidenum">
              <a:rPr lang="nl-BE" smtClean="0"/>
              <a:pPr>
                <a:defRPr/>
              </a:pPr>
              <a:t>5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72222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8787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 dirty="0">
                <a:ea typeface="Geneva"/>
                <a:cs typeface="Geneva"/>
              </a:rPr>
              <a:t>68% van de patiënten met diabetes mellitus &gt; 65 jaar sterft aan hart en vaatziekten!!!</a:t>
            </a:r>
          </a:p>
          <a:p>
            <a:r>
              <a:rPr lang="nl-BE" altLang="nl-BE" dirty="0" err="1">
                <a:ea typeface="Geneva"/>
                <a:cs typeface="Geneva"/>
              </a:rPr>
              <a:t>Gemiddelende</a:t>
            </a:r>
            <a:r>
              <a:rPr lang="nl-BE" altLang="nl-BE" baseline="0" dirty="0">
                <a:ea typeface="Geneva"/>
                <a:cs typeface="Geneva"/>
              </a:rPr>
              <a:t> </a:t>
            </a:r>
            <a:r>
              <a:rPr lang="nl-BE" altLang="nl-BE" baseline="0" dirty="0" err="1">
                <a:ea typeface="Geneva"/>
                <a:cs typeface="Geneva"/>
              </a:rPr>
              <a:t>levenverwachting</a:t>
            </a:r>
            <a:r>
              <a:rPr lang="nl-BE" altLang="nl-BE" baseline="0" dirty="0">
                <a:ea typeface="Geneva"/>
                <a:cs typeface="Geneva"/>
              </a:rPr>
              <a:t> -5 jaar en indien reeds CV ziekte -10 à 15 jaar!!!</a:t>
            </a:r>
            <a:endParaRPr lang="nl-BE" altLang="nl-BE" dirty="0">
              <a:ea typeface="Geneva"/>
              <a:cs typeface="Geneva"/>
            </a:endParaRPr>
          </a:p>
        </p:txBody>
      </p:sp>
      <p:sp>
        <p:nvSpPr>
          <p:cNvPr id="118788" name="Tijdelijke aanduiding voor datum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</a:pPr>
            <a:fld id="{3D470F3C-6F4E-46C5-927B-69D028A98301}" type="datetime1">
              <a:rPr lang="nl-BE" altLang="nl-BE" smtClean="0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20/01/2020</a:t>
            </a:fld>
            <a:endParaRPr lang="nl-BE" altLang="nl-BE">
              <a:latin typeface="Arial" panose="020B0604020202020204" pitchFamily="34" charset="0"/>
            </a:endParaRPr>
          </a:p>
        </p:txBody>
      </p:sp>
      <p:sp>
        <p:nvSpPr>
          <p:cNvPr id="118789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</a:pPr>
            <a:fld id="{C130983A-093A-4CF2-AF7F-7F0D2BFC1848}" type="slidenum">
              <a:rPr lang="nl-BE" altLang="nl-BE"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5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9560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56958" indent="-291137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64551" indent="-232911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30372" indent="-232911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96192" indent="-232911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62014" indent="-23291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3027834" indent="-23291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93654" indent="-23291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959475" indent="-23291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/>
            <a:fld id="{8DC070AA-39F3-4575-98ED-A9FB2280AE96}" type="slidenum">
              <a:rPr lang="en-GB" sz="1200">
                <a:solidFill>
                  <a:srgbClr val="0000FF"/>
                </a:solidFill>
                <a:ea typeface="ヒラギノ角ゴ Pro W3"/>
                <a:cs typeface="ヒラギノ角ゴ Pro W3"/>
              </a:rPr>
              <a:pPr eaLnBrk="1" hangingPunct="1"/>
              <a:t>58</a:t>
            </a:fld>
            <a:endParaRPr lang="en-GB" sz="1200" dirty="0">
              <a:solidFill>
                <a:srgbClr val="0000FF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2048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857875" y="373063"/>
            <a:ext cx="2481263" cy="18605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baseline="0" dirty="0">
                <a:ea typeface="Geneva"/>
                <a:cs typeface="Geneva"/>
              </a:rPr>
              <a:t>The aim of the subcutaneously injected mealtime insulin is to approach the physiological insulin profile.</a:t>
            </a:r>
          </a:p>
          <a:p>
            <a:pPr marL="171450" indent="-171450" eaLnBrk="1" hangingPunct="1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dirty="0">
                <a:ea typeface="Geneva"/>
                <a:cs typeface="Geneva"/>
              </a:rPr>
              <a:t>The</a:t>
            </a:r>
            <a:r>
              <a:rPr lang="en-GB" baseline="0" dirty="0">
                <a:ea typeface="Geneva"/>
                <a:cs typeface="Geneva"/>
              </a:rPr>
              <a:t> first generation of fast-acting insulins have an improved action profile as compared with the regular human insulin, but there is still a gap to the ideal one. An ultra-fast-acting insulin should reduce this gap and provide clinical benefits.</a:t>
            </a:r>
          </a:p>
        </p:txBody>
      </p:sp>
      <p:sp>
        <p:nvSpPr>
          <p:cNvPr id="20485" name="Slide Number Placeholder 3"/>
          <p:cNvSpPr txBox="1">
            <a:spLocks noGrp="1"/>
          </p:cNvSpPr>
          <p:nvPr/>
        </p:nvSpPr>
        <p:spPr bwMode="auto">
          <a:xfrm>
            <a:off x="8038836" y="4712695"/>
            <a:ext cx="6152065" cy="24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5" tIns="46583" rIns="93165" bIns="46583" anchor="b"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1FEC9B32-566F-4FF5-8FFE-D69DF6FE51DA}" type="slidenum">
              <a:rPr lang="en-GB" smtClean="0">
                <a:solidFill>
                  <a:srgbClr val="000000"/>
                </a:solidFill>
                <a:latin typeface="Calibri" pitchFamily="34" charset="0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58</a:t>
            </a:fld>
            <a:endParaRPr lang="en-GB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74713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48025" y="504825"/>
            <a:ext cx="3370263" cy="2527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en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tamine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3 wat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orgt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en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nellere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rptie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uline</a:t>
            </a:r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part</a:t>
            </a:r>
            <a:endParaRPr lang="en-GB" sz="12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en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uurlijk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rkomend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inozuur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egevoegd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biliteit</a:t>
            </a:r>
            <a:r>
              <a:rPr lang="en-GB" sz="1200" kern="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de </a:t>
            </a:r>
            <a:r>
              <a:rPr lang="en-GB" sz="1200" kern="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ulering</a:t>
            </a:r>
            <a:endParaRPr lang="en-GB" sz="1200" kern="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l-NL" dirty="0"/>
          </a:p>
          <a:p>
            <a:r>
              <a:rPr lang="nl-NL" dirty="0"/>
              <a:t>Beide hulpstoffen staan op een FDA-lijst van metabole inactieve hulpstoffen die mogen worden toegevoegd aan reeds goedgekeurde injectietherapie.</a:t>
            </a:r>
          </a:p>
          <a:p>
            <a:r>
              <a:rPr lang="nl-NL" dirty="0"/>
              <a:t>Wanneer een patiënt een hypothetisch hoge totale dosis van 200 eenheden per dag  injecteert, blijft de intake van deze hulpstoffen 10-100 keer kleiner dan de normale aanbevolen voedingsinname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</a:rPr>
              <a:pPr/>
              <a:t>5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0057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8100" y="450850"/>
            <a:ext cx="2989263" cy="2241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[SLIDE</a:t>
            </a:r>
            <a:r>
              <a:rPr lang="en-GB" baseline="0" dirty="0"/>
              <a:t> IS ANIMATED]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3003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6675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 dirty="0">
                <a:solidFill>
                  <a:srgbClr val="FF0000"/>
                </a:solidFill>
                <a:ea typeface="Geneva"/>
                <a:cs typeface="Geneva"/>
              </a:rPr>
              <a:t>nog aan te vullen met </a:t>
            </a:r>
            <a:r>
              <a:rPr lang="nl-BE" altLang="nl-BE" dirty="0" err="1">
                <a:solidFill>
                  <a:srgbClr val="FF0000"/>
                </a:solidFill>
                <a:ea typeface="Geneva"/>
                <a:cs typeface="Geneva"/>
              </a:rPr>
              <a:t>gevens</a:t>
            </a:r>
            <a:r>
              <a:rPr lang="nl-BE" altLang="nl-BE" baseline="0" dirty="0">
                <a:solidFill>
                  <a:srgbClr val="FF0000"/>
                </a:solidFill>
                <a:ea typeface="Geneva"/>
                <a:cs typeface="Geneva"/>
              </a:rPr>
              <a:t> </a:t>
            </a:r>
            <a:r>
              <a:rPr lang="nl-BE" altLang="nl-BE" baseline="0" dirty="0" err="1">
                <a:solidFill>
                  <a:srgbClr val="FF0000"/>
                </a:solidFill>
                <a:ea typeface="Geneva"/>
                <a:cs typeface="Geneva"/>
              </a:rPr>
              <a:t>Fiasp</a:t>
            </a:r>
            <a:endParaRPr lang="nl-BE" altLang="nl-BE" dirty="0">
              <a:solidFill>
                <a:srgbClr val="FF0000"/>
              </a:solidFill>
              <a:ea typeface="Geneva"/>
              <a:cs typeface="Geneva"/>
            </a:endParaRPr>
          </a:p>
          <a:p>
            <a:r>
              <a:rPr lang="nl-BE" altLang="nl-BE" dirty="0">
                <a:ea typeface="Geneva"/>
                <a:cs typeface="Geneva"/>
              </a:rPr>
              <a:t>Allemaal EMA </a:t>
            </a:r>
            <a:r>
              <a:rPr lang="nl-BE" altLang="nl-BE" dirty="0" err="1">
                <a:ea typeface="Geneva"/>
                <a:cs typeface="Geneva"/>
              </a:rPr>
              <a:t>approved</a:t>
            </a:r>
            <a:r>
              <a:rPr lang="nl-BE" altLang="nl-BE" dirty="0">
                <a:ea typeface="Geneva"/>
                <a:cs typeface="Geneva"/>
              </a:rPr>
              <a:t>, niet in België op de markt</a:t>
            </a:r>
          </a:p>
          <a:p>
            <a:r>
              <a:rPr lang="nl-BE" altLang="nl-BE" dirty="0">
                <a:ea typeface="Geneva"/>
                <a:cs typeface="Geneva"/>
              </a:rPr>
              <a:t>Combinatie </a:t>
            </a:r>
            <a:r>
              <a:rPr lang="nl-BE" altLang="nl-BE" dirty="0" err="1">
                <a:ea typeface="Geneva"/>
                <a:cs typeface="Geneva"/>
              </a:rPr>
              <a:t>lantus</a:t>
            </a:r>
            <a:r>
              <a:rPr lang="nl-BE" altLang="nl-BE" dirty="0">
                <a:ea typeface="Geneva"/>
                <a:cs typeface="Geneva"/>
              </a:rPr>
              <a:t>/</a:t>
            </a:r>
            <a:r>
              <a:rPr lang="nl-BE" altLang="nl-BE" dirty="0" err="1">
                <a:ea typeface="Geneva"/>
                <a:cs typeface="Geneva"/>
              </a:rPr>
              <a:t>lixisenatide</a:t>
            </a:r>
            <a:r>
              <a:rPr lang="nl-BE" altLang="nl-BE" dirty="0">
                <a:ea typeface="Geneva"/>
                <a:cs typeface="Geneva"/>
              </a:rPr>
              <a:t> (</a:t>
            </a:r>
            <a:r>
              <a:rPr lang="nl-BE" altLang="nl-BE" dirty="0" err="1">
                <a:ea typeface="Geneva"/>
                <a:cs typeface="Geneva"/>
              </a:rPr>
              <a:t>Soliqua</a:t>
            </a:r>
            <a:r>
              <a:rPr lang="nl-BE" altLang="nl-BE" dirty="0">
                <a:ea typeface="Geneva"/>
                <a:cs typeface="Geneva"/>
              </a:rPr>
              <a:t>)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2359E650-6E0C-4CD1-ADC7-20E3A8A06A86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156677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7D81C52D-6D58-43B0-9272-F2C6250B40A0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61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24411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D21BAE-4E01-40D3-A618-4773C5E945D7}" type="slidenum">
              <a:rPr lang="en-GB">
                <a:solidFill>
                  <a:prstClr val="black"/>
                </a:solidFill>
              </a:rPr>
              <a:pPr/>
              <a:t>6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7098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E6810E-435A-4070-BA1E-7DCDF5E7B9EC}" type="slidenum">
              <a:rPr lang="en-US" smtClean="0">
                <a:solidFill>
                  <a:srgbClr val="001965"/>
                </a:solidFill>
                <a:latin typeface="Verdana"/>
              </a:rPr>
              <a:pPr>
                <a:defRPr/>
              </a:pPr>
              <a:t>64</a:t>
            </a:fld>
            <a:endParaRPr lang="en-US" dirty="0">
              <a:solidFill>
                <a:srgbClr val="001965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5870897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3" indent="-171423">
              <a:buFont typeface="Arial" panose="020B0604020202020204" pitchFamily="34" charset="0"/>
              <a:buChar char="•"/>
            </a:pPr>
            <a:r>
              <a:rPr lang="en-CA" sz="1000" dirty="0"/>
              <a:t>Mean observed HbA</a:t>
            </a:r>
            <a:r>
              <a:rPr lang="en-CA" sz="1000" baseline="-25000" dirty="0"/>
              <a:t>1c</a:t>
            </a:r>
            <a:r>
              <a:rPr lang="en-CA" sz="1000" dirty="0"/>
              <a:t> at baseline was 8.4% in the IDegLira group and decreased by 1.81 percentage points to 6.6% by the end of treatment, while the mean observed HbA</a:t>
            </a:r>
            <a:r>
              <a:rPr lang="en-CA" sz="1000" baseline="-25000" dirty="0"/>
              <a:t>1c</a:t>
            </a:r>
            <a:r>
              <a:rPr lang="en-CA" sz="1000" dirty="0"/>
              <a:t> of 8.2% at baseline in the </a:t>
            </a:r>
            <a:r>
              <a:rPr lang="en-CA" sz="1000" dirty="0" err="1"/>
              <a:t>IGlar</a:t>
            </a:r>
            <a:r>
              <a:rPr lang="en-CA" sz="1000" dirty="0"/>
              <a:t> U100 group decreased by 1.13 percentage points to 7.1% by end of treatment.</a:t>
            </a:r>
          </a:p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en-GB">
                <a:solidFill>
                  <a:srgbClr val="001965"/>
                </a:solidFill>
              </a:rPr>
              <a:pPr>
                <a:defRPr/>
              </a:pPr>
              <a:t>65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74660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3" indent="-171423">
              <a:buFont typeface="Arial" panose="020B0604020202020204" pitchFamily="34" charset="0"/>
              <a:buChar char="•"/>
            </a:pPr>
            <a:r>
              <a:rPr lang="en-CA" sz="1000" dirty="0"/>
              <a:t>A treat-to-target approach within the allowed maximum dose levels of 50 dose steps IDegLira (50 units IDeg/1.8 mg liraglutide) per day. IGlar had no maximum dose per day. 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CA" sz="1000" dirty="0"/>
              <a:t>A frequent visit schedule was applied during the treatment period to ensure optimal titration of IDegLira and IGlar based on fasting SMBG values to the glycaemic target of 4.0−5.0 mmol/L (71−90 mg/dL).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CA" sz="1000" dirty="0"/>
              <a:t>At week 1, the actual mean insulin dose was 17 units for IDegLira and 32 units for IGlar.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CA" sz="1000" dirty="0"/>
              <a:t>The mean insulin doses increased steadily during throughout the trial for both treatment arms.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CA" sz="1000" dirty="0"/>
              <a:t>At week 26, the mean actual daily insulin dose was 38.3% lower with IDegLira compared with IGlar (</a:t>
            </a:r>
            <a:r>
              <a:rPr lang="en-CA" sz="1000" i="1" dirty="0"/>
              <a:t>p</a:t>
            </a:r>
            <a:r>
              <a:rPr lang="en-CA" sz="1000" dirty="0"/>
              <a:t>&lt;0.001).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US" sz="1000" dirty="0"/>
              <a:t>Of the 41% patients at maximum dose of IDegLira at week 26, 68.4% achieved an HbA</a:t>
            </a:r>
            <a:r>
              <a:rPr lang="en-US" sz="1000" baseline="-25000" dirty="0"/>
              <a:t>1c</a:t>
            </a:r>
            <a:r>
              <a:rPr lang="en-US" sz="1000" dirty="0"/>
              <a:t> &lt;7%.</a:t>
            </a:r>
            <a:endParaRPr lang="en-CA" sz="1000" dirty="0"/>
          </a:p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9579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/>
            <a:r>
              <a:rPr lang="en-US" sz="1000" dirty="0"/>
              <a:t>The body weight at baseline was 88.3 kg for IDegLira and 87.3</a:t>
            </a:r>
            <a:r>
              <a:rPr lang="en-US" sz="1000" baseline="0" dirty="0"/>
              <a:t> </a:t>
            </a:r>
            <a:r>
              <a:rPr lang="en-US" sz="1000" dirty="0"/>
              <a:t>kg for IGlar. </a:t>
            </a:r>
          </a:p>
          <a:p>
            <a:pPr marL="0" lvl="1"/>
            <a:r>
              <a:rPr lang="en-US" sz="1000" dirty="0"/>
              <a:t>Mean</a:t>
            </a:r>
            <a:r>
              <a:rPr lang="en-US" sz="1000" baseline="0" dirty="0"/>
              <a:t> b</a:t>
            </a:r>
            <a:r>
              <a:rPr lang="en-US" sz="1000" dirty="0"/>
              <a:t>ody weight steadily</a:t>
            </a:r>
            <a:r>
              <a:rPr lang="en-US" sz="1000" baseline="0" dirty="0"/>
              <a:t> decreased throughout the trial for the IDegLira group, while it steadily increased for the IGlar group.</a:t>
            </a:r>
            <a:endParaRPr lang="en-US" sz="1000" dirty="0"/>
          </a:p>
          <a:p>
            <a:pPr marL="0" lvl="1"/>
            <a:r>
              <a:rPr lang="en-US" sz="1000" u="none" dirty="0"/>
              <a:t>After 26 weeks of treatment, mean body weight was 86.9 kg for IDegLira and 89.1 kg for IGlar (corresponds</a:t>
            </a:r>
            <a:r>
              <a:rPr lang="en-US" sz="1000" u="none" baseline="0" dirty="0"/>
              <a:t> to a mean change of </a:t>
            </a:r>
            <a:r>
              <a:rPr lang="en-US" sz="1000" u="none" baseline="0" dirty="0">
                <a:sym typeface="Symbol" panose="05050102010706020507" pitchFamily="18" charset="2"/>
              </a:rPr>
              <a:t></a:t>
            </a:r>
            <a:r>
              <a:rPr lang="en-US" sz="1000" u="none" baseline="0" dirty="0"/>
              <a:t>1.4 kg for the subjects in the</a:t>
            </a:r>
            <a:r>
              <a:rPr lang="en-US" sz="1000" u="none" dirty="0"/>
              <a:t> IDegLira group and +1.8 kg for subjects in the IGlar group). </a:t>
            </a:r>
          </a:p>
          <a:p>
            <a:pPr marL="0" lvl="1"/>
            <a:r>
              <a:rPr lang="en-US" sz="1000" u="none" dirty="0"/>
              <a:t>This corresponded</a:t>
            </a:r>
            <a:r>
              <a:rPr lang="en-US" sz="1000" u="none" baseline="0" dirty="0"/>
              <a:t> to an estimated statistically significant treatment difference of 3.20 kg [</a:t>
            </a:r>
            <a:r>
              <a:rPr lang="en-US" sz="1000" u="none" baseline="0" dirty="0">
                <a:sym typeface="Symbol" panose="05050102010706020507" pitchFamily="18" charset="2"/>
              </a:rPr>
              <a:t></a:t>
            </a:r>
            <a:r>
              <a:rPr lang="en-US" sz="1000" u="none" baseline="0" dirty="0"/>
              <a:t>3.77; </a:t>
            </a:r>
            <a:r>
              <a:rPr lang="en-US" sz="1000" u="none" baseline="0" dirty="0">
                <a:sym typeface="Symbol" panose="05050102010706020507" pitchFamily="18" charset="2"/>
              </a:rPr>
              <a:t></a:t>
            </a:r>
            <a:r>
              <a:rPr lang="en-US" sz="1000" u="none" baseline="0" dirty="0"/>
              <a:t>2.64]</a:t>
            </a:r>
            <a:r>
              <a:rPr lang="en-US" sz="1000" u="none" baseline="-25000" dirty="0"/>
              <a:t>95%CI</a:t>
            </a:r>
            <a:r>
              <a:rPr lang="en-US" sz="1000" u="none" dirty="0"/>
              <a:t>,</a:t>
            </a:r>
            <a:r>
              <a:rPr lang="en-US" sz="1000" u="none" baseline="-25000" dirty="0"/>
              <a:t> </a:t>
            </a:r>
            <a:r>
              <a:rPr lang="en-US" sz="1000" i="1" u="none" baseline="0" dirty="0"/>
              <a:t>p</a:t>
            </a:r>
            <a:r>
              <a:rPr lang="en-US" sz="1000" u="none" baseline="0" dirty="0"/>
              <a:t>&lt;0.001, when comparing subjects treated with IDegLira + metformin to subjects treated with IGlar and metformin. </a:t>
            </a:r>
            <a:endParaRPr lang="en-US" sz="1000" u="none" dirty="0"/>
          </a:p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97307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3" indent="-171423">
              <a:buFont typeface="Arial" panose="020B0604020202020204" pitchFamily="34" charset="0"/>
              <a:buChar char="•"/>
            </a:pPr>
            <a:r>
              <a:rPr lang="en-US" sz="1000" dirty="0"/>
              <a:t>The proportion of subjects who experienced confirmed hypoglycaemic episodes (the pool of minor and severe episodes) in the IDegLira and IGlar groups were 28.4%, and 49.1%. 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US" sz="1000" dirty="0"/>
              <a:t>The estimated treatment ratio </a:t>
            </a:r>
            <a:r>
              <a:rPr lang="en-US" altLang="en-US" sz="1000" dirty="0">
                <a:solidFill>
                  <a:srgbClr val="001965"/>
                </a:solidFill>
              </a:rPr>
              <a:t>(IDegLira/IGlar)</a:t>
            </a:r>
            <a:r>
              <a:rPr lang="en-US" altLang="en-US" sz="1000" dirty="0"/>
              <a:t> </a:t>
            </a:r>
            <a:r>
              <a:rPr lang="en-US" sz="1000" dirty="0"/>
              <a:t>of IDegLira vs. IGlar was 0.43 [0.30; 0.61]</a:t>
            </a:r>
            <a:r>
              <a:rPr lang="en-US" sz="1000" baseline="-25000" dirty="0"/>
              <a:t>95%CI</a:t>
            </a:r>
            <a:r>
              <a:rPr lang="en-US" sz="1000" dirty="0"/>
              <a:t>, </a:t>
            </a:r>
            <a:r>
              <a:rPr lang="en-US" sz="1000" i="1" dirty="0"/>
              <a:t>p</a:t>
            </a:r>
            <a:r>
              <a:rPr lang="en-US" sz="1000" dirty="0"/>
              <a:t>&lt;0.001, demonstrating a statistically significantly lower rate of hypoglycaemic episodes with IDegLira compared with IGlar.</a:t>
            </a:r>
          </a:p>
          <a:p>
            <a:pPr marL="171423" indent="-171423">
              <a:buFont typeface="Arial" panose="020B0604020202020204" pitchFamily="34" charset="0"/>
              <a:buChar char="•"/>
            </a:pPr>
            <a:r>
              <a:rPr lang="en-US" sz="1000" dirty="0"/>
              <a:t>The rate of confirmed hypoglycaemic episodes over time was higher in the IGlar group than in the IDegLira group during all 26 weeks of treatment. </a:t>
            </a:r>
          </a:p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1670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9400" y="38258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ZA" altLang="nl-BE" b="1">
                <a:latin typeface="Arial" panose="020B0604020202020204" pitchFamily="34" charset="0"/>
                <a:ea typeface="Geneva"/>
                <a:cs typeface="Geneva"/>
              </a:rPr>
              <a:t>Main Point:</a:t>
            </a:r>
            <a:r>
              <a:rPr lang="en-ZA" altLang="nl-BE">
                <a:latin typeface="Arial" panose="020B0604020202020204" pitchFamily="34" charset="0"/>
                <a:ea typeface="Geneva"/>
                <a:cs typeface="Geneva"/>
              </a:rPr>
              <a:t> One of the major defining principles of the current treatment paradigm is the idea that for each 1% reduction in HbA</a:t>
            </a:r>
            <a:r>
              <a:rPr lang="en-ZA" altLang="nl-BE" baseline="-25000">
                <a:latin typeface="Arial" panose="020B0604020202020204" pitchFamily="34" charset="0"/>
                <a:ea typeface="Geneva"/>
                <a:cs typeface="Geneva"/>
              </a:rPr>
              <a:t>1c</a:t>
            </a:r>
            <a:r>
              <a:rPr lang="en-ZA" altLang="nl-BE">
                <a:latin typeface="Arial" panose="020B0604020202020204" pitchFamily="34" charset="0"/>
                <a:ea typeface="Geneva"/>
                <a:cs typeface="Geneva"/>
              </a:rPr>
              <a:t>, there is an associated reduction in risk of diabetes-related complications, as evidenced in the </a:t>
            </a:r>
            <a:r>
              <a:rPr lang="en-US" altLang="nl-BE">
                <a:latin typeface="Arial" panose="020B0604020202020204" pitchFamily="34" charset="0"/>
                <a:ea typeface="Geneva"/>
                <a:cs typeface="Geneva"/>
              </a:rPr>
              <a:t>United Kingdom Prospective Diabetes Study (</a:t>
            </a:r>
            <a:r>
              <a:rPr lang="en-ZA" altLang="nl-BE">
                <a:latin typeface="Arial" panose="020B0604020202020204" pitchFamily="34" charset="0"/>
                <a:ea typeface="Geneva"/>
                <a:cs typeface="Geneva"/>
              </a:rPr>
              <a:t>UKPDS</a:t>
            </a:r>
            <a:r>
              <a:rPr lang="en-US" altLang="nl-BE">
                <a:latin typeface="Arial" panose="020B0604020202020204" pitchFamily="34" charset="0"/>
                <a:ea typeface="Geneva"/>
                <a:cs typeface="Geneva"/>
              </a:rPr>
              <a:t>)</a:t>
            </a:r>
            <a:r>
              <a:rPr lang="en-ZA" altLang="nl-BE">
                <a:latin typeface="Arial" panose="020B0604020202020204" pitchFamily="34" charset="0"/>
                <a:ea typeface="Geneva"/>
                <a:cs typeface="Geneva"/>
              </a:rPr>
              <a:t> trial.</a:t>
            </a:r>
            <a:endParaRPr lang="en-ZA" altLang="nl-BE" baseline="30000">
              <a:latin typeface="Arial" panose="020B0604020202020204" pitchFamily="34" charset="0"/>
              <a:ea typeface="Geneva"/>
              <a:cs typeface="Geneva"/>
            </a:endParaRPr>
          </a:p>
          <a:p>
            <a:endParaRPr lang="en-ZA" altLang="nl-BE">
              <a:latin typeface="Arial" panose="020B0604020202020204" pitchFamily="34" charset="0"/>
              <a:ea typeface="Geneva"/>
              <a:cs typeface="Geneva"/>
            </a:endParaRPr>
          </a:p>
          <a:p>
            <a:r>
              <a:rPr lang="en-ZA" altLang="nl-BE" b="1">
                <a:latin typeface="Arial" panose="020B0604020202020204" pitchFamily="34" charset="0"/>
                <a:ea typeface="Geneva"/>
                <a:cs typeface="Geneva"/>
              </a:rPr>
              <a:t>Reference:</a:t>
            </a:r>
          </a:p>
          <a:p>
            <a:r>
              <a:rPr lang="en-ZA" altLang="nl-BE">
                <a:latin typeface="Arial" panose="020B0604020202020204" pitchFamily="34" charset="0"/>
                <a:ea typeface="Geneva"/>
                <a:cs typeface="Geneva"/>
              </a:rPr>
              <a:t>Stratton IM, Adler AI, Neil AW, </a:t>
            </a:r>
            <a:r>
              <a:rPr lang="en-ZA" altLang="nl-BE" i="1">
                <a:latin typeface="Arial" panose="020B0604020202020204" pitchFamily="34" charset="0"/>
                <a:ea typeface="Geneva"/>
                <a:cs typeface="Geneva"/>
              </a:rPr>
              <a:t>et al</a:t>
            </a:r>
            <a:r>
              <a:rPr lang="en-ZA" altLang="nl-BE">
                <a:latin typeface="Arial" panose="020B0604020202020204" pitchFamily="34" charset="0"/>
                <a:ea typeface="Geneva"/>
                <a:cs typeface="Geneva"/>
              </a:rPr>
              <a:t>. Association of glycemia with macrovascular and microvascular complications of type 2 diabetes (UKPDS 35): prospective observational study. BMJ 2000;321:405-412.</a:t>
            </a:r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07" tIns="44853" rIns="89707" bIns="44853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97B5B89A-8513-4F2D-AEC8-BF783B6CA5DD}" type="slidenum">
              <a:rPr lang="en-ZA" altLang="nl-BE" smtClean="0">
                <a:solidFill>
                  <a:srgbClr val="000000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en-ZA" altLang="nl-BE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43153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en-GB" smtClean="0"/>
              <a:pPr>
                <a:defRPr/>
              </a:pPr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77032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F6CA62-8FDA-4B5A-971F-D86398D8AB91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74208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Te starten met: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nl-BE" dirty="0">
                <a:sym typeface="Wingdings" panose="05000000000000000000" pitchFamily="2" charset="2"/>
              </a:rPr>
              <a:t>10</a:t>
            </a:r>
            <a:r>
              <a:rPr lang="nl-BE" baseline="30000" dirty="0">
                <a:sym typeface="Wingdings" panose="05000000000000000000" pitchFamily="2" charset="2"/>
              </a:rPr>
              <a:t>E</a:t>
            </a:r>
            <a:r>
              <a:rPr lang="nl-BE" dirty="0">
                <a:sym typeface="Wingdings" panose="05000000000000000000" pitchFamily="2" charset="2"/>
              </a:rPr>
              <a:t> </a:t>
            </a:r>
            <a:r>
              <a:rPr lang="nl-BE" dirty="0" err="1">
                <a:sym typeface="Wingdings" panose="05000000000000000000" pitchFamily="2" charset="2"/>
              </a:rPr>
              <a:t>degludec</a:t>
            </a:r>
            <a:r>
              <a:rPr lang="nl-BE" dirty="0">
                <a:sym typeface="Wingdings" panose="05000000000000000000" pitchFamily="2" charset="2"/>
              </a:rPr>
              <a:t> indien op perorale therapi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nl-BE" dirty="0">
                <a:sym typeface="Wingdings" panose="05000000000000000000" pitchFamily="2" charset="2"/>
              </a:rPr>
              <a:t>16</a:t>
            </a:r>
            <a:r>
              <a:rPr lang="nl-BE" baseline="30000" dirty="0">
                <a:sym typeface="Wingdings" panose="05000000000000000000" pitchFamily="2" charset="2"/>
              </a:rPr>
              <a:t>E</a:t>
            </a:r>
            <a:r>
              <a:rPr lang="nl-BE" dirty="0">
                <a:sym typeface="Wingdings" panose="05000000000000000000" pitchFamily="2" charset="2"/>
              </a:rPr>
              <a:t> </a:t>
            </a:r>
            <a:r>
              <a:rPr lang="nl-BE" dirty="0" err="1">
                <a:sym typeface="Wingdings" panose="05000000000000000000" pitchFamily="2" charset="2"/>
              </a:rPr>
              <a:t>degludec</a:t>
            </a:r>
            <a:r>
              <a:rPr lang="nl-BE" dirty="0">
                <a:sym typeface="Wingdings" panose="05000000000000000000" pitchFamily="2" charset="2"/>
              </a:rPr>
              <a:t> indien reeds op </a:t>
            </a:r>
            <a:r>
              <a:rPr lang="nl-BE" dirty="0" err="1">
                <a:sym typeface="Wingdings" panose="05000000000000000000" pitchFamily="2" charset="2"/>
              </a:rPr>
              <a:t>Victoza</a:t>
            </a:r>
            <a:r>
              <a:rPr lang="nl-BE" dirty="0">
                <a:sym typeface="Wingdings" panose="05000000000000000000" pitchFamily="2" charset="2"/>
              </a:rPr>
              <a:t> of basaal insuline</a:t>
            </a:r>
            <a:endParaRPr lang="nl-BE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F6CA62-8FDA-4B5A-971F-D86398D8AB91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611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6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Rectangle 7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nl-BE" dirty="0" err="1">
                <a:latin typeface="Arial" panose="020B0604020202020204" pitchFamily="34" charset="0"/>
                <a:ea typeface="Geneva"/>
                <a:cs typeface="Geneva"/>
              </a:rPr>
              <a:t>metabool</a:t>
            </a:r>
            <a:r>
              <a:rPr lang="en-GB" altLang="nl-BE" dirty="0">
                <a:latin typeface="Arial" panose="020B0604020202020204" pitchFamily="34" charset="0"/>
                <a:ea typeface="Geneva"/>
                <a:cs typeface="Geneva"/>
              </a:rPr>
              <a:t> </a:t>
            </a:r>
            <a:r>
              <a:rPr lang="en-GB" altLang="nl-BE" dirty="0" err="1">
                <a:latin typeface="Arial" panose="020B0604020202020204" pitchFamily="34" charset="0"/>
                <a:ea typeface="Geneva"/>
                <a:cs typeface="Geneva"/>
              </a:rPr>
              <a:t>geheugen</a:t>
            </a:r>
            <a:endParaRPr lang="en-GB" altLang="nl-BE" dirty="0">
              <a:latin typeface="Arial" panose="020B0604020202020204" pitchFamily="34" charset="0"/>
              <a:ea typeface="Geneva"/>
              <a:cs typeface="Geneva"/>
            </a:endParaRPr>
          </a:p>
          <a:p>
            <a:r>
              <a:rPr lang="en-GB" altLang="nl-BE" dirty="0" err="1">
                <a:latin typeface="Arial" panose="020B0604020202020204" pitchFamily="34" charset="0"/>
                <a:ea typeface="Geneva"/>
                <a:cs typeface="Geneva"/>
              </a:rPr>
              <a:t>vroegtijdig</a:t>
            </a:r>
            <a:r>
              <a:rPr lang="en-GB" altLang="nl-BE" baseline="0" dirty="0">
                <a:latin typeface="Arial" panose="020B0604020202020204" pitchFamily="34" charset="0"/>
                <a:ea typeface="Geneva"/>
                <a:cs typeface="Geneva"/>
              </a:rPr>
              <a:t> </a:t>
            </a:r>
            <a:r>
              <a:rPr lang="en-GB" altLang="nl-BE" baseline="0" dirty="0" err="1">
                <a:latin typeface="Arial" panose="020B0604020202020204" pitchFamily="34" charset="0"/>
                <a:ea typeface="Geneva"/>
                <a:cs typeface="Geneva"/>
              </a:rPr>
              <a:t>intensief</a:t>
            </a:r>
            <a:r>
              <a:rPr lang="en-GB" altLang="nl-BE" baseline="0" dirty="0">
                <a:latin typeface="Arial" panose="020B0604020202020204" pitchFamily="34" charset="0"/>
                <a:ea typeface="Geneva"/>
                <a:cs typeface="Geneva"/>
              </a:rPr>
              <a:t> </a:t>
            </a:r>
            <a:r>
              <a:rPr lang="en-GB" altLang="nl-BE" baseline="0" dirty="0" err="1">
                <a:latin typeface="Arial" panose="020B0604020202020204" pitchFamily="34" charset="0"/>
                <a:ea typeface="Geneva"/>
                <a:cs typeface="Geneva"/>
              </a:rPr>
              <a:t>behandelen</a:t>
            </a:r>
            <a:r>
              <a:rPr lang="en-GB" altLang="nl-BE" baseline="0" dirty="0">
                <a:latin typeface="Arial" panose="020B0604020202020204" pitchFamily="34" charset="0"/>
                <a:ea typeface="Geneva"/>
                <a:cs typeface="Geneva"/>
              </a:rPr>
              <a:t>!</a:t>
            </a:r>
            <a:endParaRPr lang="en-GB" altLang="nl-BE" dirty="0">
              <a:latin typeface="Arial" panose="020B0604020202020204" pitchFamily="34" charset="0"/>
              <a:ea typeface="Geneva"/>
              <a:cs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912676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622B3FA-9660-4AAF-8FB6-71D1B6947203}" type="slidenum">
              <a:rPr lang="nl-NL" altLang="nl-NL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nl-NL" altLang="nl-NL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728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95263" y="414338"/>
            <a:ext cx="3852862" cy="28908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4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363538" y="3403600"/>
            <a:ext cx="5853112" cy="60086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194" tIns="49096" rIns="98194" bIns="49096"/>
          <a:lstStyle/>
          <a:p>
            <a:pPr marL="184150" indent="-184150"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  <a:cs typeface="Geneva"/>
              </a:rPr>
              <a:t>DISCUSSION:</a:t>
            </a:r>
          </a:p>
          <a:p>
            <a:pPr marL="169863" lvl="1" indent="-169863"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Intentional weight loss was associated with substantial reduction in mortality in this observational study of overweight individuals with diabetes</a:t>
            </a:r>
          </a:p>
          <a:p>
            <a:pPr marL="184150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  <a:cs typeface="Geneva"/>
              </a:rPr>
              <a:t>SLIDE BACKGROUND: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Prospective analysis with a 12-year mortality follow-up (1959–1972) of 4970 overweight individuals with diabetes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Participants were men and women, 40–64 years of age, who were enrolled in the American Cancer Society’s Cancer Prevention Study I 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Rate ratios (RRs) were calculated, comparing overall death rates, and death from cardiovascular disease (CVD) or diabetes in individuals with and without reported intentional weight loss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RRs were not reported for intentional gain because there were only 19 individuals in this category.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Weight-change categories were: no change, unknown, unintentional gain, unintentional loss, intentional loss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Intentional/unintentional weight loss was determined based on the response to the question “did you try and bring about this change?”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Respondents with no or unknown weight change were the referent.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Neither unintentional weight loss nor gain was associated with mortality.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For the intentional loss group: 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Initial BMI: 33.5 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Ending BMI: 27.7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Weight change (%)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1-9 lb: 4.1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10-19 lb: 20.2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20-29 lb: 29.8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30+ lb: 46.0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For the unintentional loss group: 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Initial BMI: 31.8 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Ending BMI: 25.9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Weight change (%)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1-9 lb: 4.0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10-19 lb: 18.9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20-29 lb: 24.8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30+ lb: 52.3</a:t>
            </a:r>
          </a:p>
          <a:p>
            <a:pPr marL="169863" lvl="1" indent="-169863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For the unintentional gain group: 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Initial BMI: 29.9 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Ending BMI: 34.3</a:t>
            </a:r>
          </a:p>
          <a:p>
            <a:pPr marL="533400" lvl="2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Weight change (%)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1-9 lb: 18.1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10-19 lb: 43.3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20-29 lb: 22.8</a:t>
            </a:r>
          </a:p>
          <a:p>
            <a:pPr marL="881063" lvl="3" indent="-184150">
              <a:spcBef>
                <a:spcPct val="0"/>
              </a:spcBef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</a:rPr>
              <a:t>30+ lb: 15.7</a:t>
            </a:r>
          </a:p>
          <a:p>
            <a:pPr marL="169863" lvl="1" indent="-169863"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endParaRPr lang="en-US" altLang="nl-NL" sz="900">
              <a:latin typeface="Arial" panose="020B0604020202020204" pitchFamily="34" charset="0"/>
              <a:ea typeface="Geneva"/>
            </a:endParaRPr>
          </a:p>
          <a:p>
            <a:pPr marL="184150" indent="-184150"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>
                <a:latin typeface="Arial" panose="020B0604020202020204" pitchFamily="34" charset="0"/>
                <a:ea typeface="Geneva"/>
                <a:cs typeface="Geneva"/>
              </a:rPr>
              <a:t>REFERENCE:</a:t>
            </a:r>
          </a:p>
          <a:p>
            <a:pPr marL="184150" indent="-184150"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r>
              <a:rPr lang="en-US" altLang="nl-NL" sz="900" b="1">
                <a:latin typeface="Arial" panose="020B0604020202020204" pitchFamily="34" charset="0"/>
                <a:ea typeface="Geneva"/>
                <a:cs typeface="Geneva"/>
              </a:rPr>
              <a:t>1. Williamson DF, Thompson TJ, Thun M, et al. Intentional weight loss and mortality among overweight individuals with diabetes. </a:t>
            </a:r>
            <a:r>
              <a:rPr lang="en-US" altLang="nl-NL" sz="900" b="1" i="1">
                <a:latin typeface="Arial" panose="020B0604020202020204" pitchFamily="34" charset="0"/>
                <a:ea typeface="Geneva"/>
                <a:cs typeface="Geneva"/>
              </a:rPr>
              <a:t>Diabetes Care</a:t>
            </a:r>
            <a:r>
              <a:rPr lang="en-US" altLang="nl-NL" sz="900" b="1">
                <a:latin typeface="Arial" panose="020B0604020202020204" pitchFamily="34" charset="0"/>
                <a:ea typeface="Geneva"/>
                <a:cs typeface="Geneva"/>
              </a:rPr>
              <a:t>. 2000;23:1499-1504. </a:t>
            </a:r>
          </a:p>
          <a:p>
            <a:pPr marL="184150" indent="-184150">
              <a:tabLst>
                <a:tab pos="0" algn="l"/>
                <a:tab pos="231775" algn="l"/>
                <a:tab pos="579438" algn="l"/>
                <a:tab pos="927100" algn="l"/>
                <a:tab pos="1276350" algn="l"/>
              </a:tabLst>
            </a:pPr>
            <a:endParaRPr lang="en-US" altLang="nl-NL">
              <a:latin typeface="Arial" panose="020B0604020202020204" pitchFamily="34" charset="0"/>
              <a:ea typeface="Geneva"/>
              <a:cs typeface="Geneva"/>
            </a:endParaRPr>
          </a:p>
        </p:txBody>
      </p:sp>
      <p:sp>
        <p:nvSpPr>
          <p:cNvPr id="97285" name="Slide Number Placeholder 3"/>
          <p:cNvSpPr txBox="1">
            <a:spLocks noGrp="1"/>
          </p:cNvSpPr>
          <p:nvPr/>
        </p:nvSpPr>
        <p:spPr bwMode="auto">
          <a:xfrm>
            <a:off x="3679825" y="9102725"/>
            <a:ext cx="29464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269" tIns="47635" rIns="95269" bIns="47635" anchor="b"/>
          <a:lstStyle>
            <a:lvl1pPr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 defTabSz="9525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433F96DF-B9D1-4D14-A490-AEDA67E49B24}" type="slidenum">
              <a:rPr lang="en-US" altLang="nl-NL" sz="900" b="1">
                <a:solidFill>
                  <a:srgbClr val="000000"/>
                </a:solidFill>
                <a:latin typeface="Formata Regular"/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en-US" altLang="nl-NL" sz="900" b="1">
              <a:solidFill>
                <a:srgbClr val="000000"/>
              </a:solidFill>
              <a:latin typeface="Format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93826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Text Box 1"/>
          <p:cNvSpPr txBox="1">
            <a:spLocks noChangeArrowheads="1"/>
          </p:cNvSpPr>
          <p:nvPr/>
        </p:nvSpPr>
        <p:spPr bwMode="auto">
          <a:xfrm>
            <a:off x="1389063" y="993775"/>
            <a:ext cx="4019550" cy="34036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771" tIns="42885" rIns="85771" bIns="42885" anchor="ctr"/>
          <a:lstStyle/>
          <a:p>
            <a:pPr defTabSz="428809" hangingPunct="0">
              <a:lnSpc>
                <a:spcPct val="93000"/>
              </a:lnSpc>
              <a:buClr>
                <a:srgbClr val="000000"/>
              </a:buClr>
              <a:buSzPct val="45000"/>
              <a:defRPr/>
            </a:pPr>
            <a:endParaRPr lang="nl-BE" sz="2300" baseline="0">
              <a:solidFill>
                <a:prstClr val="black"/>
              </a:solidFill>
              <a:latin typeface="Times New Roman" pitchFamily="16" charset="0"/>
              <a:ea typeface="+mn-ea"/>
              <a:cs typeface="+mn-cs"/>
            </a:endParaRPr>
          </a:p>
        </p:txBody>
      </p:sp>
      <p:sp>
        <p:nvSpPr>
          <p:cNvPr id="126979" name="Text Box 2"/>
          <p:cNvSpPr>
            <a:spLocks noGrp="1" noChangeArrowheads="1"/>
          </p:cNvSpPr>
          <p:nvPr>
            <p:ph type="body"/>
          </p:nvPr>
        </p:nvSpPr>
        <p:spPr bwMode="auto">
          <a:xfrm>
            <a:off x="1036638" y="4725988"/>
            <a:ext cx="4729162" cy="37766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79375" indent="-79375" eaLnBrk="1">
              <a:lnSpc>
                <a:spcPct val="93000"/>
              </a:lnSpc>
              <a:spcBef>
                <a:spcPct val="0"/>
              </a:spcBef>
              <a:buSzPct val="45000"/>
              <a:tabLst>
                <a:tab pos="677863" algn="l"/>
                <a:tab pos="1357313" algn="l"/>
                <a:tab pos="2036763" algn="l"/>
                <a:tab pos="2714625" algn="l"/>
                <a:tab pos="3394075" algn="l"/>
                <a:tab pos="4073525" algn="l"/>
                <a:tab pos="4752975" algn="l"/>
              </a:tabLst>
            </a:pP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Antihyperglycemic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 therapy in type 2 diabetes: general recommendations. The order in the chart was determined by historical availability and the route of administration, with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injectables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 to the right; it is not meant to denote any specific preference. Potential sequences of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antihyperglycemic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 therapy for patients with type 2 diabetes are displayed, with the usual transition moving vertically from top to bottom (although horizontal movement within therapy stages is also possible, depending on the circumstances). DPP-4-i, DPP-4 inhibitor;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fxs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, fractures; GI, gastrointestinal; GLP-1 RA, GLP-1 receptor agonist; GU, genitourinary; HF, heart failure; Hypo,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hypoglycemia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; SGLT2-i, SGLT2 inhibitor; SU, sulfonylurea; TZD, thiazolidinedione. *See ref. 21 for description of efficacy and cost categorization. §Usually a basal insulin (NPH, glargine,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detemir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,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degludec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). Adapted with permission from </a:t>
            </a:r>
            <a:r>
              <a:rPr lang="en-GB" altLang="nl-BE" dirty="0" err="1">
                <a:latin typeface="Arial" panose="020B0604020202020204" pitchFamily="34" charset="0"/>
                <a:ea typeface="msgothic"/>
                <a:cs typeface="msgothic"/>
              </a:rPr>
              <a:t>Inzucchi</a:t>
            </a:r>
            <a:r>
              <a:rPr lang="en-GB" altLang="nl-BE" dirty="0">
                <a:latin typeface="Arial" panose="020B0604020202020204" pitchFamily="34" charset="0"/>
                <a:ea typeface="msgothic"/>
                <a:cs typeface="msgothic"/>
              </a:rPr>
              <a:t> et al. (21).</a:t>
            </a:r>
          </a:p>
        </p:txBody>
      </p:sp>
    </p:spTree>
    <p:extLst>
      <p:ext uri="{BB962C8B-B14F-4D97-AF65-F5344CB8AC3E}">
        <p14:creationId xmlns:p14="http://schemas.microsoft.com/office/powerpoint/2010/main" val="3026403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Avandia werd van de markt gehaald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382FA6F0-93F2-4D3E-AAA5-499E1311EBAC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72709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92E66ACF-4340-412C-8E22-4D11850C9AF9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4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943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Tijdelijke aanduiding voor notiti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nalezen UKPDS ikv meformine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382FA6F0-93F2-4D3E-AAA5-499E1311EBAC}" type="datetime1">
              <a:rPr lang="nl-BE" smtClean="0"/>
              <a:pPr>
                <a:defRPr/>
              </a:pPr>
              <a:t>20/01/2020</a:t>
            </a:fld>
            <a:endParaRPr lang="nl-BE"/>
          </a:p>
        </p:txBody>
      </p:sp>
      <p:sp>
        <p:nvSpPr>
          <p:cNvPr id="74757" name="Tijdelijke aanduiding voor dianumm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</a:pPr>
            <a:fld id="{327C666F-485A-443D-9644-DFBCC5A8766D}" type="slidenum">
              <a:rPr lang="nl-BE" altLang="nl-B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5</a:t>
            </a:fld>
            <a:endParaRPr lang="nl-BE" altLang="nl-B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186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5"/>
          <p:cNvSpPr>
            <a:spLocks noChangeArrowheads="1"/>
          </p:cNvSpPr>
          <p:nvPr/>
        </p:nvSpPr>
        <p:spPr bwMode="auto">
          <a:xfrm>
            <a:off x="0" y="0"/>
            <a:ext cx="1760538" cy="6858000"/>
          </a:xfrm>
          <a:prstGeom prst="rect">
            <a:avLst/>
          </a:prstGeom>
          <a:solidFill>
            <a:srgbClr val="97BF0D"/>
          </a:solidFill>
          <a:ln>
            <a:noFill/>
          </a:ln>
          <a:extLst/>
        </p:spPr>
        <p:txBody>
          <a:bodyPr/>
          <a:lstStyle/>
          <a:p>
            <a:endParaRPr lang="nl-BE"/>
          </a:p>
        </p:txBody>
      </p:sp>
      <p:pic>
        <p:nvPicPr>
          <p:cNvPr id="5" name="Afbeelding 6" descr="ZNA_logo_Maurice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8" y="6188075"/>
            <a:ext cx="1331912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3478" y="950282"/>
            <a:ext cx="6990522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de stijl te bewerken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3478" y="2128808"/>
            <a:ext cx="6400800" cy="1752600"/>
          </a:xfrm>
        </p:spPr>
        <p:txBody>
          <a:bodyPr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nl-NL" noProof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1871261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l-NL" noProof="0"/>
              <a:t>Klik op het pictogram als u een afbeelding wilt toevoegen</a:t>
            </a:r>
            <a:endParaRPr lang="nl-BE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DEDCFD4-B03A-4E9A-BC6D-F75CA7FA4779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5210476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749632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22" y="1749631"/>
            <a:ext cx="6308887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49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22" y="1749631"/>
            <a:ext cx="4099651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749632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95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749632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4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2" y="1749631"/>
            <a:ext cx="2923653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3578125" y="1746570"/>
            <a:ext cx="5258820" cy="3944113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/9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85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4891539" y="1746570"/>
            <a:ext cx="3945406" cy="3944113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4/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1" y="1749631"/>
            <a:ext cx="4251592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0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-1"/>
            <a:ext cx="9144000" cy="68579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:9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77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316800" y="412053"/>
            <a:ext cx="8510400" cy="5278631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1219200">
              <a:spcBef>
                <a:spcPct val="50000"/>
              </a:spcBef>
            </a:pPr>
            <a:endParaRPr lang="en-GB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318821" y="769746"/>
            <a:ext cx="8518124" cy="521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sz="2400" dirty="0"/>
              <a:t>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48809" y="3366049"/>
            <a:ext cx="3633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200" baseline="0" dirty="0">
                <a:solidFill>
                  <a:srgbClr val="E64A0E"/>
                </a:solidFill>
                <a:latin typeface="Verdana"/>
                <a:ea typeface="MS PGothic" pitchFamily="34" charset="-128"/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318821" y="1749631"/>
            <a:ext cx="851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aseline="0">
              <a:solidFill>
                <a:srgbClr val="001965"/>
              </a:solidFill>
              <a:latin typeface="Verdana"/>
              <a:ea typeface="MS PGothic" pitchFamily="34" charset="-128"/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316801" y="1749630"/>
            <a:ext cx="8510401" cy="3941052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9875" indent="-269875" defTabSz="1219200">
              <a:spcBef>
                <a:spcPct val="50000"/>
              </a:spcBef>
              <a:buClr>
                <a:srgbClr val="009FDA"/>
              </a:buClr>
              <a:buFont typeface="Arial" pitchFamily="34" charset="0"/>
              <a:buChar char="•"/>
            </a:pPr>
            <a:r>
              <a:rPr lang="en-GB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316800" y="1285946"/>
            <a:ext cx="45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200" baseline="0" dirty="0">
                <a:solidFill>
                  <a:srgbClr val="E64A0E"/>
                </a:solidFill>
                <a:latin typeface="Verdana"/>
                <a:ea typeface="MS PGothic" pitchFamily="34" charset="-128"/>
              </a:rPr>
              <a:t>Keep all titles, </a:t>
            </a:r>
            <a:r>
              <a:rPr lang="en-GB" sz="1200" baseline="0" dirty="0" err="1">
                <a:solidFill>
                  <a:srgbClr val="E64A0E"/>
                </a:solidFill>
                <a:latin typeface="Verdana"/>
                <a:ea typeface="MS PGothic" pitchFamily="34" charset="-128"/>
              </a:rPr>
              <a:t>trompets</a:t>
            </a:r>
            <a:r>
              <a:rPr lang="en-GB" sz="1200" baseline="0" dirty="0">
                <a:solidFill>
                  <a:srgbClr val="E64A0E"/>
                </a:solidFill>
                <a:latin typeface="Verdana"/>
                <a:ea typeface="MS PGothic" pitchFamily="34" charset="-128"/>
              </a:rPr>
              <a:t>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4919812" y="439654"/>
            <a:ext cx="3909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1200" baseline="0">
                <a:solidFill>
                  <a:srgbClr val="E64A0E"/>
                </a:solidFill>
                <a:latin typeface="Verdana"/>
                <a:ea typeface="MS PGothic" pitchFamily="34" charset="-128"/>
              </a:rPr>
              <a:t>Never move Footer, Date and No placeholder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7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8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64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018" y="367739"/>
            <a:ext cx="8510400" cy="521883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96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2122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2122"/>
                        <a:ext cx="1587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5130" y="1352045"/>
            <a:ext cx="3959251" cy="428784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8058" y="1352045"/>
            <a:ext cx="3960819" cy="428784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99614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oter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463041"/>
            <a:ext cx="8510400" cy="4227643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0" y="5618565"/>
            <a:ext cx="8509700" cy="1027768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800" baseline="0">
                <a:solidFill>
                  <a:srgbClr val="82786F"/>
                </a:solidFill>
              </a:defRPr>
            </a:lvl1pPr>
          </a:lstStyle>
          <a:p>
            <a:r>
              <a:rPr lang="da-DK" dirty="0"/>
              <a:t>Footnotes</a:t>
            </a:r>
          </a:p>
          <a:p>
            <a:r>
              <a:rPr lang="da-DK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4040036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720000" y="1440000"/>
            <a:ext cx="8229600" cy="4150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5FB0038-E547-4815-A2EE-0D0F0FF35CD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215442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383867"/>
            <a:ext cx="8509000" cy="289984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82786F"/>
                </a:solidFill>
              </a:defRPr>
            </a:lvl1pPr>
            <a:lvl2pPr marL="265112" indent="0">
              <a:buNone/>
              <a:defRPr sz="800">
                <a:solidFill>
                  <a:srgbClr val="82786F"/>
                </a:solidFill>
              </a:defRPr>
            </a:lvl2pPr>
            <a:lvl3pPr marL="536575" indent="0">
              <a:buNone/>
              <a:defRPr sz="800">
                <a:solidFill>
                  <a:srgbClr val="82786F"/>
                </a:solidFill>
              </a:defRPr>
            </a:lvl3pPr>
            <a:lvl4pPr marL="808038" indent="0">
              <a:buNone/>
              <a:defRPr sz="800">
                <a:solidFill>
                  <a:srgbClr val="82786F"/>
                </a:solidFill>
              </a:defRPr>
            </a:lvl4pPr>
            <a:lvl5pPr marL="1073150" indent="0">
              <a:buNone/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8767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40968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749631"/>
            <a:ext cx="40968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17500" y="6383867"/>
            <a:ext cx="8509000" cy="289984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82786F"/>
                </a:solidFill>
              </a:defRPr>
            </a:lvl1pPr>
            <a:lvl2pPr marL="265112" indent="0">
              <a:buNone/>
              <a:defRPr sz="800">
                <a:solidFill>
                  <a:srgbClr val="82786F"/>
                </a:solidFill>
              </a:defRPr>
            </a:lvl2pPr>
            <a:lvl3pPr marL="536575" indent="0">
              <a:buNone/>
              <a:defRPr sz="800">
                <a:solidFill>
                  <a:srgbClr val="82786F"/>
                </a:solidFill>
              </a:defRPr>
            </a:lvl3pPr>
            <a:lvl4pPr marL="808038" indent="0">
              <a:buNone/>
              <a:defRPr sz="800">
                <a:solidFill>
                  <a:srgbClr val="82786F"/>
                </a:solidFill>
              </a:defRPr>
            </a:lvl4pPr>
            <a:lvl5pPr marL="1073150" indent="0">
              <a:buNone/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0575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9" descr="CD_Stacked_BIG®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6144684"/>
            <a:ext cx="608012" cy="237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773239"/>
            <a:ext cx="3379788" cy="2019300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4033839"/>
            <a:ext cx="3379788" cy="914400"/>
          </a:xfrm>
        </p:spPr>
        <p:txBody>
          <a:bodyPr/>
          <a:lstStyle>
            <a:lvl1pPr marL="0" indent="0" algn="r">
              <a:buFontTx/>
              <a:buNone/>
              <a:defRPr sz="1500"/>
            </a:lvl1pPr>
          </a:lstStyle>
          <a:p>
            <a:r>
              <a:rPr lang="en-GB"/>
              <a:t>Write date, location and Your name here</a:t>
            </a:r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395288" y="0"/>
            <a:ext cx="6519862" cy="620184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Presentation title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dt" sz="half" idx="11"/>
          </p:nvPr>
        </p:nvSpPr>
        <p:spPr>
          <a:xfrm>
            <a:off x="6913563" y="0"/>
            <a:ext cx="1751012" cy="620184"/>
          </a:xfrm>
        </p:spPr>
        <p:txBody>
          <a:bodyPr anchor="b"/>
          <a:lstStyle>
            <a:lvl1pPr>
              <a:defRPr sz="9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E64A0E"/>
                </a:solidFill>
              </a:rPr>
              <a:t>Date</a:t>
            </a:r>
            <a:endParaRPr lang="en-GB">
              <a:solidFill>
                <a:srgbClr val="E64A0E"/>
              </a:solidFill>
            </a:endParaRPr>
          </a:p>
        </p:txBody>
      </p:sp>
      <p:pic>
        <p:nvPicPr>
          <p:cNvPr id="8" name="Picture 46" descr="NN_m_2c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226" y="6021289"/>
            <a:ext cx="863774" cy="83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27051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72306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60607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625601"/>
            <a:ext cx="4016375" cy="372903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7" y="1625601"/>
            <a:ext cx="4017963" cy="372903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23385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6968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538292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37260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75597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28D2CF-0FF7-4E96-AFEC-F8E5208ED123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283117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6076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9729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90" y="469900"/>
            <a:ext cx="2046287" cy="48847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0" y="469900"/>
            <a:ext cx="5989638" cy="48847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0702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25" y="228600"/>
            <a:ext cx="8313738" cy="949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5926" y="1270000"/>
            <a:ext cx="4079875" cy="43926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2" y="1270000"/>
            <a:ext cx="4081463" cy="4392613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61884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25" y="228600"/>
            <a:ext cx="8313738" cy="949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15925" y="1270000"/>
            <a:ext cx="8313738" cy="4392613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9257170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25" y="228600"/>
            <a:ext cx="8313738" cy="949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5925" y="1270000"/>
            <a:ext cx="8313738" cy="4392613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24019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0" y="6206068"/>
            <a:ext cx="7537450" cy="268817"/>
          </a:xfrm>
        </p:spPr>
        <p:txBody>
          <a:bodyPr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endParaRPr lang="en-GB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1965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69D05E2-0E73-4641-BD79-67CECCE6D5DF}" type="slidenum">
              <a:rPr lang="en-GB" sz="2400" b="1" baseline="0">
                <a:ea typeface="MS PGothic" pitchFamily="34" charset="-128"/>
              </a:rPr>
              <a:pPr>
                <a:defRPr/>
              </a:pPr>
              <a:t>‹nr.›</a:t>
            </a:fld>
            <a:endParaRPr lang="en-GB" sz="2400" b="1" baseline="0" dirty="0">
              <a:ea typeface="MS PGothic" pitchFamily="34" charset="-128"/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2"/>
          </p:nvPr>
        </p:nvSpPr>
        <p:spPr>
          <a:xfrm>
            <a:off x="4173538" y="137584"/>
            <a:ext cx="2900362" cy="135467"/>
          </a:xfrm>
        </p:spPr>
        <p:txBody>
          <a:bodyPr/>
          <a:lstStyle>
            <a:lvl1pPr>
              <a:defRPr>
                <a:solidFill>
                  <a:srgbClr val="001965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3"/>
          </p:nvPr>
        </p:nvSpPr>
        <p:spPr>
          <a:xfrm>
            <a:off x="7186614" y="137584"/>
            <a:ext cx="1201737" cy="135467"/>
          </a:xfrm>
        </p:spPr>
        <p:txBody>
          <a:bodyPr/>
          <a:lstStyle>
            <a:lvl1pPr>
              <a:defRPr>
                <a:solidFill>
                  <a:srgbClr val="001965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3881001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6B31B1F-EBCB-49C1-BC9C-EB8B741B3A85}" type="slidenum">
              <a:rPr lang="en-GB" altLang="en-US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pPr/>
              <a:t>‹nr.›</a:t>
            </a:fld>
            <a:endParaRPr lang="en-GB" altLang="en-US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8072384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6301326"/>
            <a:ext cx="8509000" cy="39158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76" indent="0">
              <a:buNone/>
              <a:defRPr sz="900"/>
            </a:lvl2pPr>
            <a:lvl3pPr marL="536494" indent="0">
              <a:buNone/>
              <a:defRPr sz="900"/>
            </a:lvl3pPr>
            <a:lvl4pPr marL="807918" indent="0">
              <a:buNone/>
              <a:defRPr sz="900"/>
            </a:lvl4pPr>
            <a:lvl5pPr marL="1072988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255161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baseline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pPr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latin typeface="Verdana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277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5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0" y="6206077"/>
            <a:ext cx="7537450" cy="268819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</a:lstStyle>
          <a:p>
            <a:pPr lvl="0"/>
            <a:endParaRPr lang="en-GB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15350" y="139700"/>
            <a:ext cx="311150" cy="134938"/>
          </a:xfrm>
        </p:spPr>
        <p:txBody>
          <a:bodyPr lIns="102258" tIns="51134" rIns="102258" bIns="51134"/>
          <a:lstStyle>
            <a:lvl1pPr>
              <a:defRPr sz="1200">
                <a:solidFill>
                  <a:srgbClr val="001965"/>
                </a:solidFill>
                <a:latin typeface="Verdana" panose="020B060403050404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FFEC3DD-DE31-43E9-BC0A-363E7BE83240}" type="slidenum">
              <a:rPr lang="en-GB" altLang="nl-BE"/>
              <a:pPr>
                <a:defRPr/>
              </a:pPr>
              <a:t>‹nr.›</a:t>
            </a:fld>
            <a:endParaRPr lang="en-GB" altLang="nl-BE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2"/>
          </p:nvPr>
        </p:nvSpPr>
        <p:spPr>
          <a:xfrm>
            <a:off x="4173538" y="138113"/>
            <a:ext cx="2900362" cy="134937"/>
          </a:xfrm>
          <a:prstGeom prst="rect">
            <a:avLst/>
          </a:prstGeom>
        </p:spPr>
        <p:txBody>
          <a:bodyPr lIns="102258" tIns="51134" rIns="102258" bIns="51134"/>
          <a:lstStyle>
            <a:lvl1pPr eaLnBrk="1" hangingPunct="1">
              <a:defRPr sz="1200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3"/>
          </p:nvPr>
        </p:nvSpPr>
        <p:spPr>
          <a:xfrm>
            <a:off x="7186613" y="138113"/>
            <a:ext cx="1201737" cy="134937"/>
          </a:xfrm>
          <a:prstGeom prst="rect">
            <a:avLst/>
          </a:prstGeom>
        </p:spPr>
        <p:txBody>
          <a:bodyPr lIns="91403" tIns="45702" rIns="91403" bIns="45702"/>
          <a:lstStyle>
            <a:lvl1pPr eaLnBrk="1" hangingPunct="1"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2202354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1209112"/>
            <a:ext cx="85104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5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5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9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baseline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pPr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latin typeface="Verdana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751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0" y="6206068"/>
            <a:ext cx="7537450" cy="268817"/>
          </a:xfrm>
        </p:spPr>
        <p:txBody>
          <a:bodyPr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endParaRPr lang="en-GB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1F82FC-85AC-4043-9665-8EAE5FECC457}" type="slidenum">
              <a: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pPr>
                <a:defRPr/>
              </a:pPr>
              <a:t>‹nr.›</a:t>
            </a:fld>
            <a:endParaRPr lang="en-GB" sz="2400" b="1" baseline="0" dirty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2"/>
          </p:nvPr>
        </p:nvSpPr>
        <p:spPr>
          <a:xfrm>
            <a:off x="4173538" y="137584"/>
            <a:ext cx="2900362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3"/>
          </p:nvPr>
        </p:nvSpPr>
        <p:spPr>
          <a:xfrm>
            <a:off x="7186614" y="137584"/>
            <a:ext cx="1201737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7027649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750494"/>
            <a:ext cx="35424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9" y="4033952"/>
            <a:ext cx="3543319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D2DA1-799D-4AB3-8D6A-C84E9B4FB822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085478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9FAB3-31B1-409E-92E4-4C0885D0CD84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130672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514567"/>
            <a:ext cx="8510400" cy="1715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4DF84B-66D7-42D6-B951-6935F1E98A29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414977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1209112"/>
            <a:ext cx="85104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2D36D-C2C4-4D0D-B0F1-A274C175CDE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289873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2" y="687237"/>
            <a:ext cx="6692499" cy="5006607"/>
          </a:xfrm>
        </p:spPr>
        <p:txBody>
          <a:bodyPr tIns="5759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718B6C-F9A8-4F8E-9EAF-06FFDDA65D5A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234035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40968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749631"/>
            <a:ext cx="40968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98170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749638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3831315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841098-4CAE-4F4B-8168-CCE246618300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37258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7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45F428-D708-47BC-BC8A-B596F553595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21950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16802" y="5972583"/>
            <a:ext cx="7623631" cy="885420"/>
          </a:xfrm>
        </p:spPr>
        <p:txBody>
          <a:bodyPr rIns="90000" bIns="90000" anchor="b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1pPr>
            <a:lvl2pPr marL="265112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536575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80803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07315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GB" sz="800" kern="1200" dirty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4AFF8E-44D3-40B7-892A-B865914F653C}" type="slidenum">
              <a:rPr lang="en-GB" altLang="en-US"/>
              <a:pPr>
                <a:defRPr/>
              </a:pPr>
              <a:t>‹nr.›</a:t>
            </a:fld>
            <a:endParaRPr lang="en-GB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4173538" y="137584"/>
            <a:ext cx="2900362" cy="13546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6"/>
          </p:nvPr>
        </p:nvSpPr>
        <p:spPr>
          <a:xfrm>
            <a:off x="7186614" y="137584"/>
            <a:ext cx="1201737" cy="13546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190886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08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45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82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8971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CBC546-3C3D-4413-8174-2C0928D19AA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343514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749638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749638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3831317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3831317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F1AA0-5D25-4BFD-9C6E-3731CBEC723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172261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1" y="1749638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7" y="1749638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749638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1" y="3831317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7" y="3831317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3831317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76DD6C-9B92-4543-BA15-6BEC4F657E2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599563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734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AC2FA73-B7F9-45BD-BAF8-9E6189C127D2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040985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3531909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3831315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 algn="r" defTabSz="877734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4CDC439-7D14-4C22-8D71-8E6CC508DE01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444936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749633"/>
            <a:ext cx="9144000" cy="3941051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793F2-5857-4866-8A3B-FC661E40FA91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26954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68580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53" y="687229"/>
            <a:ext cx="3953755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53" y="1749631"/>
            <a:ext cx="3953755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4873626" y="137585"/>
            <a:ext cx="2200275" cy="135467"/>
          </a:xfrm>
        </p:spPr>
        <p:txBody>
          <a:bodyPr/>
          <a:lstStyle>
            <a:lvl1pPr algn="r" defTabSz="878767" eaLnBrk="1" hangingPunct="1">
              <a:spcBef>
                <a:spcPct val="0"/>
              </a:spcBef>
              <a:defRPr sz="600" b="0" dirty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73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B10EAA0-E449-4266-9055-41E5E61D6A90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945185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749633"/>
            <a:ext cx="8510400" cy="3941051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855D-F444-4A24-B031-89493CF1DEA3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25973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749633"/>
            <a:ext cx="4093768" cy="3941051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40968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F15539-46F0-4714-9357-3E029ADF6425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687209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2" y="1749631"/>
            <a:ext cx="5564631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280" y="1749633"/>
            <a:ext cx="2624927" cy="3941051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40531-B193-4FA5-9626-282A690FEA7A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6836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nl" b="0" i="0" u="none" baseline="0"/>
              <a:t>Klik om de stijl van de Mastertitel te bewerken</a:t>
            </a:r>
            <a:endParaRPr lang="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52000" y="6382800"/>
            <a:ext cx="6843600" cy="244800"/>
          </a:xfrm>
          <a:prstGeom prst="rect">
            <a:avLst/>
          </a:prstGeom>
        </p:spPr>
        <p:txBody>
          <a:bodyPr/>
          <a:lstStyle/>
          <a:p>
            <a:endParaRPr lang="n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08624" y="6597352"/>
            <a:ext cx="935376" cy="260648"/>
          </a:xfrm>
        </p:spPr>
        <p:txBody>
          <a:bodyPr/>
          <a:lstStyle/>
          <a:p>
            <a:pPr algn="l"/>
            <a:fld id="{4AD7133C-5F9C-4F7F-9637-3E296898A784}" type="slidenum">
              <a:rPr>
                <a:solidFill>
                  <a:prstClr val="black">
                    <a:tint val="75000"/>
                  </a:prstClr>
                </a:solidFill>
              </a:rPr>
              <a:pPr algn="l"/>
              <a:t>‹nr.›</a:t>
            </a:fld>
            <a:endParaRPr lang="n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87136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749633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29" y="1749631"/>
            <a:ext cx="6308887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3F11A-521D-4CA8-A20B-4553ED574EFC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74953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29" y="1749631"/>
            <a:ext cx="4099651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749633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1EE2D5-78E7-4C77-89B2-D0214DAF2AA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463434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749633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749629"/>
            <a:ext cx="189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367C96-4DFF-4CD6-86EA-4D08D6D19D75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3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821503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2" y="1749631"/>
            <a:ext cx="2923653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3578125" y="1746571"/>
            <a:ext cx="5258820" cy="3944113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5182E-FC5C-467F-9F5C-09912EB9807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934477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/>
          </p:nvPr>
        </p:nvSpPr>
        <p:spPr>
          <a:xfrm>
            <a:off x="4891539" y="1746571"/>
            <a:ext cx="3945406" cy="3944113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2" y="1749631"/>
            <a:ext cx="4251592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16159-7028-460D-AE76-F037B86A18F4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816625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0" y="9"/>
            <a:ext cx="9144000" cy="6857999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 algn="r" defTabSz="877734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E09414-6CA4-4F8B-BF9C-C73AA5DCC7B9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770231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317502" y="412761"/>
            <a:ext cx="8509000" cy="5278967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71990" tIns="71990" rIns="71990" bIns="71990" anchor="ctr"/>
          <a:lstStyle/>
          <a:p>
            <a:pPr algn="ctr" defTabSz="1218989">
              <a:spcBef>
                <a:spcPct val="50000"/>
              </a:spcBef>
              <a:defRPr/>
            </a:pPr>
            <a:endParaRPr lang="en-GB" sz="2400" b="1" baseline="0" dirty="0">
              <a:solidFill>
                <a:srgbClr val="001965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3" name="Title 6"/>
          <p:cNvSpPr txBox="1">
            <a:spLocks/>
          </p:cNvSpPr>
          <p:nvPr userDrawn="1"/>
        </p:nvSpPr>
        <p:spPr bwMode="auto">
          <a:xfrm>
            <a:off x="319096" y="770467"/>
            <a:ext cx="8518525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r>
              <a:rPr lang="en-GB" sz="2400" dirty="0"/>
              <a:t>Title</a:t>
            </a:r>
          </a:p>
        </p:txBody>
      </p:sp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2749551" y="3365510"/>
            <a:ext cx="3632200" cy="27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GB" sz="1200" baseline="0" dirty="0">
                <a:solidFill>
                  <a:srgbClr val="E64A0E"/>
                </a:solidFill>
                <a:ea typeface="+mn-ea"/>
                <a:cs typeface="Arial" charset="0"/>
              </a:rPr>
              <a:t>Keep all content in this area</a:t>
            </a:r>
          </a:p>
        </p:txBody>
      </p:sp>
      <p:sp>
        <p:nvSpPr>
          <p:cNvPr id="5" name="TextBox 16"/>
          <p:cNvSpPr txBox="1">
            <a:spLocks noChangeArrowheads="1"/>
          </p:cNvSpPr>
          <p:nvPr userDrawn="1"/>
        </p:nvSpPr>
        <p:spPr bwMode="auto">
          <a:xfrm>
            <a:off x="319096" y="1750492"/>
            <a:ext cx="8518525" cy="369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GB" baseline="0" dirty="0">
              <a:solidFill>
                <a:srgbClr val="001965"/>
              </a:solidFill>
              <a:ea typeface="+mn-ea"/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317502" y="1750494"/>
            <a:ext cx="8509000" cy="394123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/>
          <a:lstStyle/>
          <a:p>
            <a:pPr marL="269831" indent="-269831" defTabSz="1218989">
              <a:spcBef>
                <a:spcPct val="5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en-GB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Content area</a:t>
            </a:r>
          </a:p>
        </p:txBody>
      </p:sp>
      <p:sp>
        <p:nvSpPr>
          <p:cNvPr id="7" name="TextBox 18"/>
          <p:cNvSpPr txBox="1">
            <a:spLocks noChangeArrowheads="1"/>
          </p:cNvSpPr>
          <p:nvPr userDrawn="1"/>
        </p:nvSpPr>
        <p:spPr bwMode="auto">
          <a:xfrm>
            <a:off x="317500" y="1286935"/>
            <a:ext cx="4572000" cy="27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1200" baseline="0" dirty="0">
                <a:solidFill>
                  <a:srgbClr val="E64A0E"/>
                </a:solidFill>
                <a:ea typeface="+mn-ea"/>
                <a:cs typeface="Arial" charset="0"/>
              </a:rPr>
              <a:t>Keep all titles, trompets and subtitles in this area</a:t>
            </a:r>
          </a:p>
        </p:txBody>
      </p:sp>
      <p:sp>
        <p:nvSpPr>
          <p:cNvPr id="8" name="TextBox 19"/>
          <p:cNvSpPr txBox="1">
            <a:spLocks noChangeArrowheads="1"/>
          </p:cNvSpPr>
          <p:nvPr userDrawn="1"/>
        </p:nvSpPr>
        <p:spPr bwMode="auto">
          <a:xfrm>
            <a:off x="4919664" y="440267"/>
            <a:ext cx="3910012" cy="27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GB" sz="1200" baseline="0" dirty="0">
                <a:solidFill>
                  <a:srgbClr val="E64A0E"/>
                </a:solidFill>
                <a:ea typeface="+mn-ea"/>
                <a:cs typeface="Arial" charset="0"/>
              </a:rPr>
              <a:t>Never move Footer, Date and No placeholders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dirty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767" eaLnBrk="1" hangingPunct="1">
              <a:spcBef>
                <a:spcPct val="0"/>
              </a:spcBef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73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3F08DF2-08E5-4258-AABE-0B58EE66DCBF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179145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20479" y="140069"/>
            <a:ext cx="506729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Slide no </a:t>
            </a:r>
            <a:fld id="{1A0241E5-DD45-4A1D-B7C9-E740AE50636D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2"/>
          </p:nvPr>
        </p:nvSpPr>
        <p:spPr>
          <a:xfrm>
            <a:off x="7240560" y="138545"/>
            <a:ext cx="999051" cy="13546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527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333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625610"/>
            <a:ext cx="4016375" cy="372903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7" y="1625610"/>
            <a:ext cx="4017963" cy="372903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54159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6B31B1F-EBCB-49C1-BC9C-EB8B741B3A85}" type="slidenum">
              <a:rPr lang="en-GB" altLang="en-US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pPr/>
              <a:t>‹nr.›</a:t>
            </a:fld>
            <a:endParaRPr lang="en-GB" altLang="en-US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69900" y="1"/>
            <a:ext cx="5843588" cy="4720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2"/>
          </p:nvPr>
        </p:nvSpPr>
        <p:spPr>
          <a:xfrm>
            <a:off x="6299200" y="1"/>
            <a:ext cx="1460500" cy="4720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332881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0" descr="SUND_bottom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73725"/>
            <a:ext cx="9144000" cy="128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20"/>
          <p:cNvSpPr>
            <a:spLocks noChangeShapeType="1"/>
          </p:cNvSpPr>
          <p:nvPr/>
        </p:nvSpPr>
        <p:spPr bwMode="auto">
          <a:xfrm flipH="1">
            <a:off x="4764" y="6691313"/>
            <a:ext cx="9148762" cy="0"/>
          </a:xfrm>
          <a:prstGeom prst="line">
            <a:avLst/>
          </a:prstGeom>
          <a:noFill/>
          <a:ln w="9525">
            <a:solidFill>
              <a:srgbClr val="2A216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pic>
        <p:nvPicPr>
          <p:cNvPr id="8" name="Picture 14" descr="fke3b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04938" y="2708275"/>
            <a:ext cx="4667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7"/>
          <p:cNvSpPr txBox="1">
            <a:spLocks noChangeArrowheads="1"/>
          </p:cNvSpPr>
          <p:nvPr/>
        </p:nvSpPr>
        <p:spPr bwMode="auto">
          <a:xfrm>
            <a:off x="-1404938" y="1474790"/>
            <a:ext cx="1296988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da-DK" sz="800" baseline="0" dirty="0">
                <a:solidFill>
                  <a:srgbClr val="FFFFFF"/>
                </a:solidFill>
                <a:cs typeface="Arial" charset="0"/>
              </a:rPr>
              <a:t>Tekst starter uden punktopstilling</a:t>
            </a:r>
            <a:br>
              <a:rPr lang="da-DK" sz="800" baseline="0" dirty="0">
                <a:solidFill>
                  <a:srgbClr val="FFFFFF"/>
                </a:solidFill>
                <a:cs typeface="Arial" charset="0"/>
              </a:rPr>
            </a:br>
            <a:endParaRPr lang="da-DK" sz="800" baseline="0" dirty="0">
              <a:solidFill>
                <a:srgbClr val="FFFFFF"/>
              </a:solidFill>
              <a:cs typeface="Arial" charset="0"/>
            </a:endParaRPr>
          </a:p>
          <a:p>
            <a:pPr eaLnBrk="1" hangingPunct="1">
              <a:defRPr/>
            </a:pPr>
            <a:r>
              <a:rPr lang="da-DK" sz="800" baseline="0" dirty="0">
                <a:solidFill>
                  <a:srgbClr val="FFFFFF"/>
                </a:solidFill>
                <a:cs typeface="Arial" charset="0"/>
              </a:rPr>
              <a:t>For at få punkt-opstilling på teksten, brug forøg indrykning</a:t>
            </a:r>
          </a:p>
          <a:p>
            <a:pPr eaLnBrk="1" hangingPunct="1">
              <a:defRPr/>
            </a:pPr>
            <a:endParaRPr lang="da-DK" sz="800" baseline="0" dirty="0">
              <a:solidFill>
                <a:srgbClr val="FFFFFF"/>
              </a:solidFill>
              <a:cs typeface="Arial" charset="0"/>
            </a:endParaRPr>
          </a:p>
          <a:p>
            <a:pPr eaLnBrk="1" hangingPunct="1">
              <a:defRPr/>
            </a:pPr>
            <a:endParaRPr lang="da-DK" sz="800" baseline="0" dirty="0">
              <a:solidFill>
                <a:srgbClr val="FFFFFF"/>
              </a:solidFill>
              <a:cs typeface="Arial" charset="0"/>
            </a:endParaRPr>
          </a:p>
          <a:p>
            <a:pPr eaLnBrk="1" hangingPunct="1">
              <a:defRPr/>
            </a:pPr>
            <a:r>
              <a:rPr lang="da-DK" sz="800" baseline="0" dirty="0">
                <a:solidFill>
                  <a:srgbClr val="FFFFFF"/>
                </a:solidFill>
                <a:cs typeface="Arial" charset="0"/>
              </a:rPr>
              <a:t>For at få venstre-stillet tekst uden punktopstilling, brug formindsk indrykning</a:t>
            </a:r>
          </a:p>
        </p:txBody>
      </p:sp>
      <p:sp>
        <p:nvSpPr>
          <p:cNvPr id="10" name="Line 37"/>
          <p:cNvSpPr>
            <a:spLocks noChangeShapeType="1"/>
          </p:cNvSpPr>
          <p:nvPr/>
        </p:nvSpPr>
        <p:spPr bwMode="auto">
          <a:xfrm>
            <a:off x="-1404938" y="1412875"/>
            <a:ext cx="129698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-1404938" y="827099"/>
            <a:ext cx="129698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da-DK" sz="800" baseline="0">
                <a:solidFill>
                  <a:srgbClr val="FFFFFF"/>
                </a:solidFill>
                <a:cs typeface="Arial" charset="0"/>
              </a:rPr>
              <a:t>Overskrift her</a:t>
            </a:r>
          </a:p>
        </p:txBody>
      </p:sp>
      <p:sp>
        <p:nvSpPr>
          <p:cNvPr id="12" name="Line 39"/>
          <p:cNvSpPr>
            <a:spLocks noChangeShapeType="1"/>
          </p:cNvSpPr>
          <p:nvPr/>
        </p:nvSpPr>
        <p:spPr bwMode="auto">
          <a:xfrm>
            <a:off x="-1404938" y="765175"/>
            <a:ext cx="129698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pic>
        <p:nvPicPr>
          <p:cNvPr id="13" name="Picture 4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04938" y="3875088"/>
            <a:ext cx="5048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Line 41"/>
          <p:cNvSpPr>
            <a:spLocks noChangeShapeType="1"/>
          </p:cNvSpPr>
          <p:nvPr/>
        </p:nvSpPr>
        <p:spPr bwMode="auto">
          <a:xfrm flipV="1">
            <a:off x="-1270000" y="4164015"/>
            <a:ext cx="0" cy="2159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5" name="Line 42"/>
          <p:cNvSpPr>
            <a:spLocks noChangeShapeType="1"/>
          </p:cNvSpPr>
          <p:nvPr/>
        </p:nvSpPr>
        <p:spPr bwMode="auto">
          <a:xfrm>
            <a:off x="-1116013" y="3875092"/>
            <a:ext cx="215900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6" name="Line 43"/>
          <p:cNvSpPr>
            <a:spLocks noChangeShapeType="1"/>
          </p:cNvSpPr>
          <p:nvPr/>
        </p:nvSpPr>
        <p:spPr bwMode="auto">
          <a:xfrm flipH="1">
            <a:off x="-1116013" y="3875092"/>
            <a:ext cx="215900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7" name="Line 44"/>
          <p:cNvSpPr>
            <a:spLocks noChangeShapeType="1"/>
          </p:cNvSpPr>
          <p:nvPr/>
        </p:nvSpPr>
        <p:spPr bwMode="auto">
          <a:xfrm>
            <a:off x="-1404938" y="2679704"/>
            <a:ext cx="215900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8" name="Line 45"/>
          <p:cNvSpPr>
            <a:spLocks noChangeShapeType="1"/>
          </p:cNvSpPr>
          <p:nvPr/>
        </p:nvSpPr>
        <p:spPr bwMode="auto">
          <a:xfrm flipH="1">
            <a:off x="-1404938" y="2679704"/>
            <a:ext cx="215900" cy="2889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9" name="Line 46"/>
          <p:cNvSpPr>
            <a:spLocks noChangeShapeType="1"/>
          </p:cNvSpPr>
          <p:nvPr/>
        </p:nvSpPr>
        <p:spPr bwMode="auto">
          <a:xfrm flipH="1">
            <a:off x="-900113" y="2800351"/>
            <a:ext cx="2159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0" name="Line 48"/>
          <p:cNvSpPr>
            <a:spLocks noChangeShapeType="1"/>
          </p:cNvSpPr>
          <p:nvPr/>
        </p:nvSpPr>
        <p:spPr bwMode="auto">
          <a:xfrm>
            <a:off x="-1404938" y="4676775"/>
            <a:ext cx="129698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6" tIns="45713" rIns="91426" bIns="45713"/>
          <a:lstStyle/>
          <a:p>
            <a:endParaRPr lang="en-GB" baseline="0" dirty="0">
              <a:solidFill>
                <a:srgbClr val="000000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1" name="Text Box 48"/>
          <p:cNvSpPr txBox="1">
            <a:spLocks noChangeArrowheads="1"/>
          </p:cNvSpPr>
          <p:nvPr/>
        </p:nvSpPr>
        <p:spPr bwMode="auto">
          <a:xfrm>
            <a:off x="-1404938" y="4722816"/>
            <a:ext cx="140493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da-DK" sz="800" baseline="0">
                <a:solidFill>
                  <a:srgbClr val="FFFFFF"/>
                </a:solidFill>
                <a:cs typeface="Arial" charset="0"/>
              </a:rPr>
              <a:t>For at ændre ”Enhedens navn” og ”Sted og dato”:</a:t>
            </a:r>
          </a:p>
          <a:p>
            <a:pPr eaLnBrk="1" hangingPunct="1">
              <a:defRPr/>
            </a:pPr>
            <a:endParaRPr lang="da-DK" sz="800" baseline="0">
              <a:solidFill>
                <a:srgbClr val="FFFFFF"/>
              </a:solidFill>
              <a:cs typeface="Arial" charset="0"/>
            </a:endParaRPr>
          </a:p>
          <a:p>
            <a:pPr eaLnBrk="1" hangingPunct="1">
              <a:defRPr/>
            </a:pPr>
            <a:r>
              <a:rPr lang="da-DK" sz="800" baseline="0">
                <a:solidFill>
                  <a:srgbClr val="FFFFFF"/>
                </a:solidFill>
                <a:cs typeface="Arial" charset="0"/>
              </a:rPr>
              <a:t>Klik i menulinjen, </a:t>
            </a:r>
          </a:p>
          <a:p>
            <a:pPr eaLnBrk="1" hangingPunct="1">
              <a:defRPr/>
            </a:pPr>
            <a:r>
              <a:rPr lang="da-DK" sz="800" baseline="0">
                <a:solidFill>
                  <a:srgbClr val="FFFFFF"/>
                </a:solidFill>
                <a:cs typeface="Arial" charset="0"/>
              </a:rPr>
              <a:t>vælg ”Indsæt” &gt; ”Sidehoved / Sidefod”.</a:t>
            </a:r>
          </a:p>
          <a:p>
            <a:pPr eaLnBrk="1" hangingPunct="1">
              <a:defRPr/>
            </a:pPr>
            <a:r>
              <a:rPr lang="da-DK" sz="800" baseline="0">
                <a:solidFill>
                  <a:srgbClr val="FFFFFF"/>
                </a:solidFill>
                <a:cs typeface="Arial" charset="0"/>
              </a:rPr>
              <a:t>Indføj ”Sted og dato” i feltet for dato og ”Enhedens navn” i Sidefo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/>
            </a:lvl1pPr>
          </a:lstStyle>
          <a:p>
            <a:r>
              <a:rPr lang="en-US" noProof="0" dirty="0"/>
              <a:t>Click to edit Master title style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2989" y="1374776"/>
            <a:ext cx="6577012" cy="1911349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a-DK" noProof="0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3"/>
          </p:nvPr>
        </p:nvSpPr>
        <p:spPr>
          <a:xfrm>
            <a:off x="1044000" y="3358800"/>
            <a:ext cx="3744000" cy="24876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23" name="Date Placeholder 3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E0EC332B-F42F-4726-827F-A38096808603}" type="datetimeFigureOut">
              <a:rPr lang="en-GB" smtClean="0">
                <a:solidFill>
                  <a:srgbClr val="000000"/>
                </a:solidFill>
              </a:rPr>
              <a:pPr/>
              <a:t>20/01/202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" name="Slide Number Placeholder 4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0F37937-AFC2-42F9-857A-BEF1196AD727}" type="slidenum">
              <a:rPr lang="en-GB" smtClean="0">
                <a:solidFill>
                  <a:srgbClr val="000000"/>
                </a:solidFill>
              </a:rPr>
              <a:pPr/>
              <a:t>‹nr.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" name="Footer Placeholder 4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26" name="Picture 24" descr="top_uk_58_02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87" t="2612" r="20320"/>
          <a:stretch/>
        </p:blipFill>
        <p:spPr bwMode="auto">
          <a:xfrm>
            <a:off x="4096735" y="10"/>
            <a:ext cx="5056790" cy="2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4" descr="top_uk_58_0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20"/>
          <a:stretch>
            <a:fillRect/>
          </a:stretch>
        </p:blipFill>
        <p:spPr bwMode="auto">
          <a:xfrm>
            <a:off x="0" y="-1588"/>
            <a:ext cx="6858000" cy="2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920908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7363" y="6166984"/>
            <a:ext cx="7023780" cy="153888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352987"/>
            <a:ext cx="8509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95202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749642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3831317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841098-4CAE-4F4B-8168-CCE246618300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218041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749642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749642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3831318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3831318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F1AA0-5D25-4BFD-9C6E-3731CBEC723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380425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1" y="1749642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7" y="1749642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749642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1" y="3831318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7" y="3831318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3831318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76DD6C-9B92-4543-BA15-6BEC4F657E2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659905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712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AC2FA73-B7F9-45BD-BAF8-9E6189C127D2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84672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3531909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3831317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 algn="r" defTabSz="877712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4CDC439-7D14-4C22-8D71-8E6CC508DE01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861177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68580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54" y="687229"/>
            <a:ext cx="3953755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54" y="1749631"/>
            <a:ext cx="3953755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4873626" y="137585"/>
            <a:ext cx="2200275" cy="135467"/>
          </a:xfrm>
        </p:spPr>
        <p:txBody>
          <a:bodyPr/>
          <a:lstStyle>
            <a:lvl1pPr algn="r" defTabSz="878745" eaLnBrk="1" hangingPunct="1">
              <a:spcBef>
                <a:spcPct val="0"/>
              </a:spcBef>
              <a:defRPr sz="600" b="0" dirty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712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B10EAA0-E449-4266-9055-41E5E61D6A90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092760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0" y="10"/>
            <a:ext cx="9144000" cy="6857999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 algn="r" defTabSz="877712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E09414-6CA4-4F8B-BF9C-C73AA5DCC7B9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203565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317502" y="412762"/>
            <a:ext cx="8509000" cy="5278967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71990" tIns="71990" rIns="71990" bIns="71990" anchor="ctr"/>
          <a:lstStyle/>
          <a:p>
            <a:pPr algn="ctr" defTabSz="1218959">
              <a:spcBef>
                <a:spcPct val="50000"/>
              </a:spcBef>
              <a:defRPr/>
            </a:pPr>
            <a:endParaRPr lang="en-GB" sz="2400" b="1" baseline="0" dirty="0">
              <a:solidFill>
                <a:srgbClr val="001965"/>
              </a:solidFill>
              <a:latin typeface="Verdana"/>
              <a:ea typeface="+mn-ea"/>
              <a:cs typeface="Arial" charset="0"/>
            </a:endParaRPr>
          </a:p>
        </p:txBody>
      </p:sp>
      <p:sp>
        <p:nvSpPr>
          <p:cNvPr id="3" name="Title 6"/>
          <p:cNvSpPr txBox="1">
            <a:spLocks/>
          </p:cNvSpPr>
          <p:nvPr userDrawn="1"/>
        </p:nvSpPr>
        <p:spPr bwMode="auto">
          <a:xfrm>
            <a:off x="319097" y="770467"/>
            <a:ext cx="8518525" cy="520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r>
              <a:rPr lang="en-GB" sz="2400" dirty="0"/>
              <a:t>Title</a:t>
            </a:r>
          </a:p>
        </p:txBody>
      </p:sp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2749551" y="3365503"/>
            <a:ext cx="3632200" cy="27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/>
            <a:r>
              <a:rPr lang="en-GB" sz="1200" baseline="0" dirty="0">
                <a:solidFill>
                  <a:srgbClr val="E64A0E"/>
                </a:solidFill>
                <a:ea typeface="+mn-ea"/>
                <a:cs typeface="Arial" charset="0"/>
              </a:rPr>
              <a:t>Keep all content in this area</a:t>
            </a:r>
          </a:p>
        </p:txBody>
      </p:sp>
      <p:sp>
        <p:nvSpPr>
          <p:cNvPr id="5" name="TextBox 16"/>
          <p:cNvSpPr txBox="1">
            <a:spLocks noChangeArrowheads="1"/>
          </p:cNvSpPr>
          <p:nvPr userDrawn="1"/>
        </p:nvSpPr>
        <p:spPr bwMode="auto">
          <a:xfrm>
            <a:off x="319097" y="1750492"/>
            <a:ext cx="8518525" cy="369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GB" baseline="0" dirty="0">
              <a:solidFill>
                <a:srgbClr val="001965"/>
              </a:solidFill>
              <a:ea typeface="+mn-ea"/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317502" y="1750496"/>
            <a:ext cx="8509000" cy="3941233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/>
          <a:lstStyle/>
          <a:p>
            <a:pPr marL="269825" indent="-269825" defTabSz="1218959">
              <a:spcBef>
                <a:spcPct val="5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en-GB" baseline="0" dirty="0">
                <a:solidFill>
                  <a:srgbClr val="001965"/>
                </a:solidFill>
                <a:latin typeface="Verdana"/>
                <a:ea typeface="+mn-ea"/>
                <a:cs typeface="Arial" charset="0"/>
              </a:rPr>
              <a:t>Content area</a:t>
            </a:r>
          </a:p>
        </p:txBody>
      </p:sp>
      <p:sp>
        <p:nvSpPr>
          <p:cNvPr id="7" name="TextBox 18"/>
          <p:cNvSpPr txBox="1">
            <a:spLocks noChangeArrowheads="1"/>
          </p:cNvSpPr>
          <p:nvPr userDrawn="1"/>
        </p:nvSpPr>
        <p:spPr bwMode="auto">
          <a:xfrm>
            <a:off x="317500" y="1286935"/>
            <a:ext cx="4572000" cy="27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1200" baseline="0" dirty="0">
                <a:solidFill>
                  <a:srgbClr val="E64A0E"/>
                </a:solidFill>
                <a:ea typeface="+mn-ea"/>
                <a:cs typeface="Arial" charset="0"/>
              </a:rPr>
              <a:t>Keep all titles, trompets and subtitles in this area</a:t>
            </a:r>
          </a:p>
        </p:txBody>
      </p:sp>
      <p:sp>
        <p:nvSpPr>
          <p:cNvPr id="8" name="TextBox 19"/>
          <p:cNvSpPr txBox="1">
            <a:spLocks noChangeArrowheads="1"/>
          </p:cNvSpPr>
          <p:nvPr userDrawn="1"/>
        </p:nvSpPr>
        <p:spPr bwMode="auto">
          <a:xfrm>
            <a:off x="4919664" y="440271"/>
            <a:ext cx="3910012" cy="27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GB" sz="1200" baseline="0" dirty="0">
                <a:solidFill>
                  <a:srgbClr val="E64A0E"/>
                </a:solidFill>
                <a:ea typeface="+mn-ea"/>
                <a:cs typeface="Arial" charset="0"/>
              </a:rPr>
              <a:t>Never move Footer, Date and No placeholders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dirty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745" eaLnBrk="1" hangingPunct="1">
              <a:spcBef>
                <a:spcPct val="0"/>
              </a:spcBef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712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3F08DF2-08E5-4258-AABE-0B58EE66DCBF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26158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 dirty="0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Date</a:t>
            </a:r>
            <a:endParaRPr lang="en-GB" noProof="0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50181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From pharmacology to clinical outcomes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398BE7-5B78-41C6-B602-72434BBFCFD2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16808" y="5972583"/>
            <a:ext cx="7623631" cy="885420"/>
          </a:xfrm>
        </p:spPr>
        <p:txBody>
          <a:bodyPr lIns="0" rIns="89986" bIns="89986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1pPr>
            <a:lvl2pPr marL="265064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536467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80787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072934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GB" sz="800" kern="1200" dirty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5pPr>
          </a:lstStyle>
          <a:p>
            <a:r>
              <a:rPr lang="en-GB" sz="800" dirty="0">
                <a:solidFill>
                  <a:srgbClr val="82786F"/>
                </a:solidFill>
              </a:rPr>
              <a:t>NOTE MAY GO HERE OR IN BOTTOM LEFT CORNER (WHEN WORDMARK IS EXCLUDED)</a:t>
            </a:r>
            <a:br>
              <a:rPr lang="en-GB" sz="800" dirty="0">
                <a:solidFill>
                  <a:srgbClr val="82786F"/>
                </a:solidFill>
              </a:rPr>
            </a:br>
            <a:r>
              <a:rPr lang="en-GB" sz="800" dirty="0">
                <a:solidFill>
                  <a:srgbClr val="82786F"/>
                </a:solidFill>
              </a:rPr>
              <a:t>SIZE PREFERABLY 8, LEFT ALIGNED</a:t>
            </a:r>
          </a:p>
          <a:p>
            <a:r>
              <a:rPr lang="en-GB" sz="800" dirty="0">
                <a:solidFill>
                  <a:srgbClr val="82786F"/>
                </a:solidFill>
              </a:rPr>
              <a:t>GRANITE GREY</a:t>
            </a:r>
          </a:p>
        </p:txBody>
      </p:sp>
    </p:spTree>
    <p:extLst>
      <p:ext uri="{BB962C8B-B14F-4D97-AF65-F5344CB8AC3E}">
        <p14:creationId xmlns:p14="http://schemas.microsoft.com/office/powerpoint/2010/main" val="586070406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87363" y="6472781"/>
            <a:ext cx="7023780" cy="26185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541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1"/>
          </p:nvPr>
        </p:nvSpPr>
        <p:spPr>
          <a:xfrm>
            <a:off x="486000" y="1435210"/>
            <a:ext cx="8229600" cy="3941233"/>
          </a:xfrm>
          <a:prstGeom prst="rect">
            <a:avLst/>
          </a:prstGeom>
        </p:spPr>
        <p:txBody>
          <a:bodyPr/>
          <a:lstStyle>
            <a:lvl4pPr marL="914243" indent="-230147">
              <a:defRPr/>
            </a:lvl4pPr>
            <a:lvl5pPr marL="1257080" indent="-226971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79433" y="6375400"/>
            <a:ext cx="6073775" cy="101600"/>
          </a:xfrm>
        </p:spPr>
        <p:txBody>
          <a:bodyPr/>
          <a:lstStyle>
            <a:lvl1pPr>
              <a:buFontTx/>
              <a:buNone/>
              <a:defRPr sz="500"/>
            </a:lvl1pPr>
            <a:lvl2pPr marL="93648" indent="0">
              <a:buFontTx/>
              <a:buNone/>
              <a:defRPr sz="500"/>
            </a:lvl2pPr>
            <a:lvl3pPr marL="399980" indent="0">
              <a:buFontTx/>
              <a:buNone/>
              <a:defRPr sz="500"/>
            </a:lvl3pPr>
            <a:lvl4pPr marL="684093" indent="0">
              <a:buFontTx/>
              <a:buNone/>
              <a:defRPr sz="500"/>
            </a:lvl4pPr>
            <a:lvl5pPr marL="1030109" indent="0">
              <a:buFontTx/>
              <a:buNone/>
              <a:defRPr sz="500"/>
            </a:lvl5pPr>
          </a:lstStyle>
          <a:p>
            <a:pPr lvl="0"/>
            <a:r>
              <a:rPr lang="en-US" dirty="0"/>
              <a:t>Click to edit reference</a:t>
            </a:r>
            <a:endParaRPr lang="da-DK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293E6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endParaRPr lang="en-GB">
              <a:solidFill>
                <a:srgbClr val="293E6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2F6A58-9F51-4459-9735-81DE88A23C1E}" type="slidenum">
              <a:rPr lang="en-GB">
                <a:solidFill>
                  <a:srgbClr val="293E6B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293E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67929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0" y="6401379"/>
            <a:ext cx="7797600" cy="230716"/>
          </a:xfrm>
        </p:spPr>
        <p:txBody>
          <a:bodyPr lIns="71990" rIns="71990" anchor="b"/>
          <a:lstStyle>
            <a:lvl1pPr marL="0" indent="0">
              <a:buNone/>
              <a:defRPr sz="800"/>
            </a:lvl1pPr>
            <a:lvl2pPr marL="265070" indent="0">
              <a:buNone/>
              <a:defRPr sz="800"/>
            </a:lvl2pPr>
            <a:lvl3pPr marL="536480" indent="0">
              <a:buNone/>
              <a:defRPr sz="800"/>
            </a:lvl3pPr>
            <a:lvl4pPr marL="807898" indent="0">
              <a:buNone/>
              <a:defRPr sz="800"/>
            </a:lvl4pPr>
            <a:lvl5pPr marL="1072961" indent="0">
              <a:buNone/>
              <a:defRPr sz="800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6748716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0" y="6401379"/>
            <a:ext cx="7797600" cy="230716"/>
          </a:xfrm>
        </p:spPr>
        <p:txBody>
          <a:bodyPr lIns="71991" rIns="71991" anchor="b"/>
          <a:lstStyle>
            <a:lvl1pPr marL="0" indent="0">
              <a:buNone/>
              <a:defRPr sz="800"/>
            </a:lvl1pPr>
            <a:lvl2pPr marL="265076" indent="0">
              <a:buNone/>
              <a:defRPr sz="800"/>
            </a:lvl2pPr>
            <a:lvl3pPr marL="536494" indent="0">
              <a:buNone/>
              <a:defRPr sz="800"/>
            </a:lvl3pPr>
            <a:lvl4pPr marL="807918" indent="0">
              <a:buNone/>
              <a:defRPr sz="800"/>
            </a:lvl4pPr>
            <a:lvl5pPr marL="1072988" indent="0">
              <a:buNone/>
              <a:defRPr sz="800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5044972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63532" y="6589651"/>
            <a:ext cx="8563675" cy="230716"/>
          </a:xfrm>
        </p:spPr>
        <p:txBody>
          <a:bodyPr lIns="71991" anchor="b"/>
          <a:lstStyle>
            <a:lvl1pPr marL="0" indent="0">
              <a:buNone/>
              <a:defRPr sz="700"/>
            </a:lvl1pPr>
            <a:lvl2pPr marL="265076" indent="0">
              <a:buNone/>
              <a:defRPr sz="800"/>
            </a:lvl2pPr>
            <a:lvl3pPr marL="536494" indent="0">
              <a:buNone/>
              <a:defRPr sz="800"/>
            </a:lvl3pPr>
            <a:lvl4pPr marL="807918" indent="0">
              <a:buNone/>
              <a:defRPr sz="800"/>
            </a:lvl4pPr>
            <a:lvl5pPr marL="1072988" indent="0">
              <a:buNone/>
              <a:defRPr sz="800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443228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_CoreD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365761"/>
            <a:ext cx="8510400" cy="521883"/>
          </a:xfrm>
        </p:spPr>
        <p:txBody>
          <a:bodyPr anchor="t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0" y="6401379"/>
            <a:ext cx="8522400" cy="230716"/>
          </a:xfrm>
        </p:spPr>
        <p:txBody>
          <a:bodyPr lIns="0" rIns="0" anchor="b">
            <a:noAutofit/>
          </a:bodyPr>
          <a:lstStyle>
            <a:lvl1pPr marL="0" indent="0">
              <a:buNone/>
              <a:defRPr sz="700">
                <a:solidFill>
                  <a:srgbClr val="82786F"/>
                </a:solidFill>
              </a:defRPr>
            </a:lvl1pPr>
            <a:lvl2pPr marL="265058" indent="0">
              <a:buNone/>
              <a:defRPr sz="800"/>
            </a:lvl2pPr>
            <a:lvl3pPr marL="536453" indent="0">
              <a:buNone/>
              <a:defRPr sz="800"/>
            </a:lvl3pPr>
            <a:lvl4pPr marL="807858" indent="0">
              <a:buNone/>
              <a:defRPr sz="800"/>
            </a:lvl4pPr>
            <a:lvl5pPr marL="1072907" indent="0">
              <a:buNone/>
              <a:defRPr sz="800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870016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63">
          <p15:clr>
            <a:srgbClr val="FBAE40"/>
          </p15:clr>
        </p15:guide>
        <p15:guide id="2" pos="5568">
          <p15:clr>
            <a:srgbClr val="FBAE40"/>
          </p15:clr>
        </p15:guide>
        <p15:guide id="3" pos="196">
          <p15:clr>
            <a:srgbClr val="FBAE40"/>
          </p15:clr>
        </p15:guide>
        <p15:guide id="4" orient="horz" pos="3132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47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082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2680" y="6232952"/>
            <a:ext cx="8484520" cy="123111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496320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5"/>
          <p:cNvSpPr>
            <a:spLocks noChangeArrowheads="1"/>
          </p:cNvSpPr>
          <p:nvPr/>
        </p:nvSpPr>
        <p:spPr bwMode="auto">
          <a:xfrm>
            <a:off x="0" y="0"/>
            <a:ext cx="1760538" cy="6858000"/>
          </a:xfrm>
          <a:prstGeom prst="rect">
            <a:avLst/>
          </a:prstGeom>
          <a:solidFill>
            <a:srgbClr val="DC006B"/>
          </a:solidFill>
          <a:ln>
            <a:noFill/>
          </a:ln>
          <a:extLst/>
        </p:spPr>
        <p:txBody>
          <a:bodyPr/>
          <a:lstStyle/>
          <a:p>
            <a:endParaRPr lang="nl-BE"/>
          </a:p>
        </p:txBody>
      </p:sp>
      <p:sp>
        <p:nvSpPr>
          <p:cNvPr id="112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3478" y="950282"/>
            <a:ext cx="6990522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het opmaakprofiel te bewerken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3478" y="2128808"/>
            <a:ext cx="6400800" cy="1752600"/>
          </a:xfrm>
        </p:spPr>
        <p:txBody>
          <a:bodyPr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nl-NL" noProof="0" dirty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28871447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5"/>
          <p:cNvSpPr>
            <a:spLocks noGrp="1"/>
          </p:cNvSpPr>
          <p:nvPr>
            <p:ph type="title"/>
          </p:nvPr>
        </p:nvSpPr>
        <p:spPr>
          <a:xfrm>
            <a:off x="287339" y="397227"/>
            <a:ext cx="7635875" cy="1005416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88000" y="2131200"/>
            <a:ext cx="8548025" cy="3122003"/>
          </a:xfrm>
        </p:spPr>
        <p:txBody>
          <a:bodyPr/>
          <a:lstStyle>
            <a:lvl1pPr>
              <a:lnSpc>
                <a:spcPct val="100000"/>
              </a:lnSpc>
              <a:defRPr sz="1800"/>
            </a:lvl1pPr>
            <a:lvl2pPr marL="539750" indent="-273050">
              <a:lnSpc>
                <a:spcPct val="100000"/>
              </a:lnSpc>
              <a:defRPr sz="1600"/>
            </a:lvl2pPr>
            <a:lvl3pPr marL="717550" indent="-177800">
              <a:lnSpc>
                <a:spcPct val="100000"/>
              </a:lnSpc>
              <a:defRPr sz="1400"/>
            </a:lvl3pPr>
            <a:lvl4pPr marL="893763" indent="-176213">
              <a:lnSpc>
                <a:spcPct val="100000"/>
              </a:lnSpc>
              <a:defRPr sz="1200"/>
            </a:lvl4pPr>
            <a:lvl5pPr marL="1079500" indent="-185738">
              <a:lnSpc>
                <a:spcPct val="100000"/>
              </a:lnSpc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34400" y="164637"/>
            <a:ext cx="304800" cy="812800"/>
          </a:xfrm>
          <a:prstGeom prst="rect">
            <a:avLst/>
          </a:prstGeom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 b="1">
                <a:solidFill>
                  <a:schemeClr val="accent5">
                    <a:lumMod val="90000"/>
                  </a:schemeClr>
                </a:solidFill>
                <a:latin typeface="Verdana" pitchFamily="-65" charset="0"/>
                <a:ea typeface="Arial" pitchFamily="-65" charset="0"/>
                <a:cs typeface="Arial" pitchFamily="-65" charset="0"/>
              </a:defRPr>
            </a:lvl1pPr>
          </a:lstStyle>
          <a:p>
            <a:pPr>
              <a:defRPr/>
            </a:pPr>
            <a:fld id="{12BF2E06-7F48-B343-AA3F-8936AFA74DE2}" type="slidenum">
              <a:rPr lang="en-GB" smtClean="0">
                <a:solidFill>
                  <a:srgbClr val="E64A0E">
                    <a:lumMod val="90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E64A0E">
                  <a:lumMod val="90000"/>
                </a:srgbClr>
              </a:solidFill>
            </a:endParaRP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xfrm>
            <a:off x="7035800" y="164637"/>
            <a:ext cx="1447800" cy="366184"/>
          </a:xfrm>
          <a:prstGeom prst="rect">
            <a:avLst/>
          </a:prstGeom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accent5">
                    <a:lumMod val="90000"/>
                  </a:schemeClr>
                </a:solidFill>
                <a:latin typeface="Verdana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E64A0E">
                    <a:lumMod val="90000"/>
                  </a:srgbClr>
                </a:solidFill>
              </a:rPr>
              <a:t>12 June 2015</a:t>
            </a:r>
            <a:endParaRPr lang="en-GB" dirty="0">
              <a:solidFill>
                <a:srgbClr val="E64A0E">
                  <a:lumMod val="9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5865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5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45F428-D708-47BC-BC8A-B596F553595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108627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sz="700"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Date of preparation: June 2014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z="700"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Slide No </a:t>
            </a:r>
            <a:fld id="{E7A50AFA-412D-4634-B533-5C71FD261E74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 sz="700"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 anchor="ctr" anchorCtr="0"/>
          <a:lstStyle>
            <a:lvl1pPr>
              <a:defRPr sz="2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190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4EA6488-E9C1-4DB5-A9A5-1FDC74FB28C2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675493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5"/>
          <p:cNvSpPr>
            <a:spLocks noChangeArrowheads="1"/>
          </p:cNvSpPr>
          <p:nvPr/>
        </p:nvSpPr>
        <p:spPr bwMode="auto">
          <a:xfrm>
            <a:off x="0" y="0"/>
            <a:ext cx="1760538" cy="6858000"/>
          </a:xfrm>
          <a:prstGeom prst="rect">
            <a:avLst/>
          </a:prstGeom>
          <a:solidFill>
            <a:srgbClr val="97BF0D"/>
          </a:solidFill>
          <a:ln>
            <a:noFill/>
          </a:ln>
          <a:extLst/>
        </p:spPr>
        <p:txBody>
          <a:bodyPr/>
          <a:lstStyle/>
          <a:p>
            <a:endParaRPr lang="nl-BE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3478" y="950282"/>
            <a:ext cx="6990522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de stijl te bewerken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3478" y="2128808"/>
            <a:ext cx="6400800" cy="1752600"/>
          </a:xfrm>
        </p:spPr>
        <p:txBody>
          <a:bodyPr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nl-NL" noProof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025596629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4EBE249-E9EF-4AA0-8FFC-876308DB62B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951338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E59D454-47F6-4FD4-98B4-C92FC3EB22D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0236496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19191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19191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6B1C02A-B483-4E6D-A322-BAC1BD5F1F9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8370988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F2C2D2A-8481-41BA-A544-7FDEF6B0139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07503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C1F1A4E-779F-4280-818D-64D9C2F6153E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9042856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BD2604C4-9BA4-49CA-9561-1D1B249F4D8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0210660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B62262D-A34E-4A67-95A6-F5C6E9F3F949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3849071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/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1pPr>
            <a:lvl2pPr marL="37931725" indent="-37474525"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2pPr>
            <a:lvl3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3pPr>
            <a:lvl4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4pPr>
            <a:lvl5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9pPr>
          </a:lstStyle>
          <a:p>
            <a:pPr algn="r" eaLnBrk="1" hangingPunct="1">
              <a:defRPr/>
            </a:pPr>
            <a:fld id="{D5643B6D-ED96-4A0D-B5C7-85C4ADC169FC}" type="slidenum">
              <a:rPr lang="nl-NL" sz="1000" baseline="0" smtClean="0"/>
              <a:pPr algn="r" eaLnBrk="1" hangingPunct="1">
                <a:defRPr/>
              </a:pPr>
              <a:t>‹nr.›</a:t>
            </a:fld>
            <a:endParaRPr lang="nl-NL" sz="1000" baseline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1432874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A3AC89E-FBDC-4618-BCB3-F01EE7E85A10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2173722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5"/>
          <p:cNvSpPr>
            <a:spLocks noChangeArrowheads="1"/>
          </p:cNvSpPr>
          <p:nvPr/>
        </p:nvSpPr>
        <p:spPr bwMode="auto">
          <a:xfrm>
            <a:off x="0" y="0"/>
            <a:ext cx="1760538" cy="6858000"/>
          </a:xfrm>
          <a:prstGeom prst="rect">
            <a:avLst/>
          </a:prstGeom>
          <a:solidFill>
            <a:srgbClr val="34B7C4"/>
          </a:solidFill>
          <a:ln>
            <a:noFill/>
          </a:ln>
          <a:extLst/>
        </p:spPr>
        <p:txBody>
          <a:bodyPr/>
          <a:lstStyle/>
          <a:p>
            <a:endParaRPr lang="nl-BE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3478" y="950282"/>
            <a:ext cx="6990522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het opmaakprofiel te bewerk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3478" y="2128808"/>
            <a:ext cx="6400800" cy="1752600"/>
          </a:xfrm>
        </p:spPr>
        <p:txBody>
          <a:bodyPr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nl-NL" noProof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9999946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726" y="480484"/>
            <a:ext cx="7432675" cy="1143000"/>
          </a:xfrm>
        </p:spPr>
        <p:txBody>
          <a:bodyPr/>
          <a:lstStyle>
            <a:lvl1pPr>
              <a:defRPr>
                <a:solidFill>
                  <a:srgbClr val="7BC518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20000" y="1440000"/>
            <a:ext cx="8229600" cy="415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2BD8EE-E297-4A2A-B5A1-F2A9B5C8E40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659325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0000" y="480000"/>
            <a:ext cx="8479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nl-NL"/>
              <a:t>Klik om het opmaakprofiel te bewerken</a:t>
            </a:r>
          </a:p>
        </p:txBody>
      </p:sp>
      <p:sp>
        <p:nvSpPr>
          <p:cNvPr id="4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334"/>
            <a:ext cx="8229600" cy="452755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0E438-E8BD-427C-95BE-2E636AC8BCF3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982978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6B1568-D82F-4E0E-B343-68ECE3623E2A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4129107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C6040E-5036-408E-B172-ECBBB6BFEA9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9784165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0836630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90CB7-93D5-4BDD-BCDF-78D52930A86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5851742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 txBox="1">
            <a:spLocks noChangeArrowheads="1"/>
          </p:cNvSpPr>
          <p:nvPr/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1pPr>
            <a:lvl2pPr marL="37931725" indent="-37474525"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2pPr>
            <a:lvl3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3pPr>
            <a:lvl4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4pPr>
            <a:lvl5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9pPr>
          </a:lstStyle>
          <a:p>
            <a:pPr algn="r" eaLnBrk="1" hangingPunct="1">
              <a:defRPr/>
            </a:pPr>
            <a:fld id="{F3370ACF-2D54-4923-88D7-288B9D0126EF}" type="slidenum">
              <a:rPr lang="nl-NL" sz="1000" baseline="0" smtClean="0"/>
              <a:pPr algn="r" eaLnBrk="1" hangingPunct="1">
                <a:defRPr/>
              </a:pPr>
              <a:t>‹nr.›</a:t>
            </a:fld>
            <a:endParaRPr lang="nl-NL" sz="1000" baseline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68313" y="6237288"/>
            <a:ext cx="2133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9590A13-AF07-491B-8467-FB8C816DC5A2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3878557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01F724-2759-4ECD-B5D4-F6CBF7DB822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0383086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68313" y="6237288"/>
            <a:ext cx="2133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B9E927B-7D69-48AF-9566-09A30532790C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869382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A55ABB-8F98-4941-A4CB-92F35EDC435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5605970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1A5A3-ACDB-489E-96EF-904B6782B31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179525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616EF01-EA20-4491-A67B-11B83800515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2117781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5"/>
          <p:cNvSpPr>
            <a:spLocks noChangeArrowheads="1"/>
          </p:cNvSpPr>
          <p:nvPr/>
        </p:nvSpPr>
        <p:spPr bwMode="auto">
          <a:xfrm>
            <a:off x="0" y="0"/>
            <a:ext cx="1760538" cy="6858000"/>
          </a:xfrm>
          <a:prstGeom prst="rect">
            <a:avLst/>
          </a:prstGeom>
          <a:solidFill>
            <a:srgbClr val="F6A924"/>
          </a:solidFill>
          <a:ln>
            <a:noFill/>
          </a:ln>
          <a:extLst/>
        </p:spPr>
        <p:txBody>
          <a:bodyPr/>
          <a:lstStyle/>
          <a:p>
            <a:endParaRPr lang="nl-BE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3478" y="950282"/>
            <a:ext cx="6990522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het opmaakprofiel te bewerke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3478" y="2128808"/>
            <a:ext cx="6400800" cy="1752600"/>
          </a:xfrm>
        </p:spPr>
        <p:txBody>
          <a:bodyPr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nl-NL" noProof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79109936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4A87F-A8A3-46AF-B118-69C5AC3A36A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369484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AEEA84-DF67-45DE-96B9-7DA9BECA0CEF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851357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9A5903-4D31-4ED1-91C8-70FD0EA11B3C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4609128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4E3032-4A1C-4251-BA7F-1B34A74906A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4105356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82CA3B-92F7-4AB5-96DC-6EB9E1BCF1B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3212076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68313" y="6237288"/>
            <a:ext cx="21336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32B973D-E506-4E75-ACA2-8B277365C2A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391835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D86295-166E-4C1F-B821-F26E5423925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2957698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EED182-F63C-4182-A453-C77EBE7A64B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0303091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8F0E2E-567C-4257-82F1-7E0EECB6603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528671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FC0C61E-0B77-42F4-97A3-AC7A061FB16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1475937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F2A2C-CD41-441F-8C01-3B99466CE823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946689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5"/>
          <p:cNvSpPr>
            <a:spLocks noChangeArrowheads="1"/>
          </p:cNvSpPr>
          <p:nvPr/>
        </p:nvSpPr>
        <p:spPr bwMode="auto">
          <a:xfrm>
            <a:off x="0" y="0"/>
            <a:ext cx="1760538" cy="68580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nl-BE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3478" y="950282"/>
            <a:ext cx="6990522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het opmaakprofiel te bewerken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53478" y="2128808"/>
            <a:ext cx="6400800" cy="1752600"/>
          </a:xfrm>
        </p:spPr>
        <p:txBody>
          <a:bodyPr/>
          <a:lstStyle>
            <a:lvl1pPr marL="0" indent="0" algn="l">
              <a:buFontTx/>
              <a:buNone/>
              <a:defRPr/>
            </a:lvl1pPr>
          </a:lstStyle>
          <a:p>
            <a:pPr lvl="0"/>
            <a:r>
              <a:rPr lang="nl-NL" noProof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9996896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F7185-E279-4F95-9D4F-70D0CA2F4593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95197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35171531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AECF78-B52B-4220-B97C-4B17D09FDB6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043296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A8293E-292F-465B-898D-08D6CAAB5A0A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35882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 txBox="1">
            <a:spLocks noChangeArrowheads="1"/>
          </p:cNvSpPr>
          <p:nvPr/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1pPr>
            <a:lvl2pPr marL="37931725" indent="-37474525"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2pPr>
            <a:lvl3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3pPr>
            <a:lvl4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4pPr>
            <a:lvl5pPr eaLnBrk="0" hangingPunct="0"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  <a:ea typeface="Geneva" charset="-128"/>
              </a:defRPr>
            </a:lvl9pPr>
          </a:lstStyle>
          <a:p>
            <a:pPr algn="r" eaLnBrk="1" hangingPunct="1">
              <a:defRPr/>
            </a:pPr>
            <a:fld id="{3EDD0910-7836-435A-88A3-0C2F9ABE3AD6}" type="slidenum">
              <a:rPr lang="nl-NL" sz="1000" baseline="0" smtClean="0"/>
              <a:pPr algn="r" eaLnBrk="1" hangingPunct="1">
                <a:defRPr/>
              </a:pPr>
              <a:t>‹nr.›</a:t>
            </a:fld>
            <a:endParaRPr lang="nl-NL" sz="1000" baseline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5247113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0F7E26-EB19-400A-8FD9-22D7D46A319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395106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E92DC2-6139-499E-B0F7-DE3D137E173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690160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14A88E-05A5-4926-A73C-4AA328B6154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4332647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19191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19191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5FBB99-6128-4117-B987-F1A790FA15A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2849199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5A4C79-8BD7-4700-AF22-B0006EFC77B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86541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CBF633D-1F0E-4E2C-A18E-6D68D1325D6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581689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9" descr="CD_Stacked_BIG®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6144684"/>
            <a:ext cx="608012" cy="237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773239"/>
            <a:ext cx="3379788" cy="2019300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4033839"/>
            <a:ext cx="3379788" cy="914400"/>
          </a:xfrm>
        </p:spPr>
        <p:txBody>
          <a:bodyPr/>
          <a:lstStyle>
            <a:lvl1pPr marL="0" indent="0" algn="r">
              <a:buFontTx/>
              <a:buNone/>
              <a:defRPr sz="1500"/>
            </a:lvl1pPr>
          </a:lstStyle>
          <a:p>
            <a:r>
              <a:rPr lang="en-GB"/>
              <a:t>Write date, location and Your name here</a:t>
            </a:r>
          </a:p>
        </p:txBody>
      </p:sp>
      <p:sp>
        <p:nvSpPr>
          <p:cNvPr id="6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395288" y="0"/>
            <a:ext cx="6519862" cy="620184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Presentation title</a:t>
            </a: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dt" sz="half" idx="11"/>
          </p:nvPr>
        </p:nvSpPr>
        <p:spPr>
          <a:xfrm>
            <a:off x="6913563" y="0"/>
            <a:ext cx="1751012" cy="620184"/>
          </a:xfrm>
        </p:spPr>
        <p:txBody>
          <a:bodyPr anchor="b"/>
          <a:lstStyle>
            <a:lvl1pPr>
              <a:defRPr sz="9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E64A0E"/>
                </a:solidFill>
              </a:rPr>
              <a:t>Date</a:t>
            </a:r>
            <a:endParaRPr lang="en-GB">
              <a:solidFill>
                <a:srgbClr val="E64A0E"/>
              </a:solidFill>
            </a:endParaRPr>
          </a:p>
        </p:txBody>
      </p:sp>
      <p:pic>
        <p:nvPicPr>
          <p:cNvPr id="8" name="Picture 46" descr="NN_m_2c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226" y="6021289"/>
            <a:ext cx="863774" cy="83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29467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080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76947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625601"/>
            <a:ext cx="4016375" cy="372903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7" y="1625601"/>
            <a:ext cx="4017963" cy="372903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9817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5874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01805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76679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5242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5EF799F-2DE0-4C63-BBC9-98641B5B451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2396121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28936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7534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90" y="469900"/>
            <a:ext cx="2046287" cy="48847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0" y="469900"/>
            <a:ext cx="5989638" cy="48847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56586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25" y="228600"/>
            <a:ext cx="8313738" cy="949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5926" y="1270000"/>
            <a:ext cx="4079875" cy="43926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2" y="1270000"/>
            <a:ext cx="4081463" cy="4392613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27030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25" y="228600"/>
            <a:ext cx="8313738" cy="949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15925" y="1270000"/>
            <a:ext cx="8313738" cy="4392613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407028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925" y="228600"/>
            <a:ext cx="8313738" cy="949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5925" y="1270000"/>
            <a:ext cx="8313738" cy="4392613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8468467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0" y="6206068"/>
            <a:ext cx="7537450" cy="268817"/>
          </a:xfrm>
        </p:spPr>
        <p:txBody>
          <a:bodyPr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endParaRPr lang="en-GB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1965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69D05E2-0E73-4641-BD79-67CECCE6D5DF}" type="slidenum">
              <a:rPr lang="en-GB" sz="2400" b="1" baseline="0">
                <a:ea typeface="MS PGothic" pitchFamily="34" charset="-128"/>
              </a:rPr>
              <a:pPr>
                <a:defRPr/>
              </a:pPr>
              <a:t>‹nr.›</a:t>
            </a:fld>
            <a:endParaRPr lang="en-GB" sz="2400" b="1" baseline="0" dirty="0">
              <a:ea typeface="MS PGothic" pitchFamily="34" charset="-128"/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2"/>
          </p:nvPr>
        </p:nvSpPr>
        <p:spPr>
          <a:xfrm>
            <a:off x="4173538" y="137584"/>
            <a:ext cx="2900362" cy="135467"/>
          </a:xfrm>
        </p:spPr>
        <p:txBody>
          <a:bodyPr/>
          <a:lstStyle>
            <a:lvl1pPr>
              <a:defRPr>
                <a:solidFill>
                  <a:srgbClr val="001965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3"/>
          </p:nvPr>
        </p:nvSpPr>
        <p:spPr>
          <a:xfrm>
            <a:off x="7186614" y="137584"/>
            <a:ext cx="1201737" cy="135467"/>
          </a:xfrm>
        </p:spPr>
        <p:txBody>
          <a:bodyPr/>
          <a:lstStyle>
            <a:lvl1pPr>
              <a:defRPr>
                <a:solidFill>
                  <a:srgbClr val="001965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7135353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6B31B1F-EBCB-49C1-BC9C-EB8B741B3A85}" type="slidenum">
              <a:rPr lang="en-GB" altLang="en-US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pPr/>
              <a:t>‹nr.›</a:t>
            </a:fld>
            <a:endParaRPr lang="en-GB" altLang="en-US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9524629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6301326"/>
            <a:ext cx="8509000" cy="39158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76" indent="0">
              <a:buNone/>
              <a:defRPr sz="900"/>
            </a:lvl2pPr>
            <a:lvl3pPr marL="536494" indent="0">
              <a:buNone/>
              <a:defRPr sz="900"/>
            </a:lvl3pPr>
            <a:lvl4pPr marL="807918" indent="0">
              <a:buNone/>
              <a:defRPr sz="900"/>
            </a:lvl4pPr>
            <a:lvl5pPr marL="1072988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209897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baseline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pPr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latin typeface="Verdana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373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C72D1A-D58F-4ECF-A217-1347ADEA6269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29507308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1209112"/>
            <a:ext cx="85104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9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5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5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9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baseline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pPr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latin typeface="Verdana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7476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7500" y="6206068"/>
            <a:ext cx="7537450" cy="268817"/>
          </a:xfrm>
        </p:spPr>
        <p:txBody>
          <a:bodyPr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endParaRPr lang="en-GB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15350" y="139700"/>
            <a:ext cx="311150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1F82FC-85AC-4043-9665-8EAE5FECC457}" type="slidenum">
              <a: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pPr>
                <a:defRPr/>
              </a:pPr>
              <a:t>‹nr.›</a:t>
            </a:fld>
            <a:endParaRPr lang="en-GB" sz="2400" b="1" baseline="0" dirty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2"/>
          </p:nvPr>
        </p:nvSpPr>
        <p:spPr>
          <a:xfrm>
            <a:off x="4173538" y="137584"/>
            <a:ext cx="2900362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3"/>
          </p:nvPr>
        </p:nvSpPr>
        <p:spPr>
          <a:xfrm>
            <a:off x="7186614" y="137584"/>
            <a:ext cx="1201737" cy="13546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82339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750485"/>
            <a:ext cx="35424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2" y="4033950"/>
            <a:ext cx="3543319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802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34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514567"/>
            <a:ext cx="8510400" cy="1715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43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1209110"/>
            <a:ext cx="85104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843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2" y="687227"/>
            <a:ext cx="6692499" cy="5006607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16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40968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749631"/>
            <a:ext cx="40968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75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3831306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18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5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749631"/>
            <a:ext cx="2623250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2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3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6813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3F22CC4-949E-4EC0-ABD5-EE1A11E6EAEA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9943489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38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75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8964" y="1749631"/>
            <a:ext cx="188823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93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749631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749631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3831307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3831307"/>
            <a:ext cx="40968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274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0" y="1749631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5" y="1749631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749631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0" y="3831307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5" y="3831307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3831307"/>
            <a:ext cx="2623250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6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27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4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3531909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3831306"/>
            <a:ext cx="8510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71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749632"/>
            <a:ext cx="9144000" cy="3941051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53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68580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46" y="687227"/>
            <a:ext cx="3953755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46" y="1749631"/>
            <a:ext cx="3953755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73445" y="138543"/>
            <a:ext cx="219987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4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749632"/>
            <a:ext cx="8510400" cy="3941051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49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749632"/>
            <a:ext cx="4093768" cy="3941051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749631"/>
            <a:ext cx="40968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76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2" y="1749631"/>
            <a:ext cx="5564631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273" y="1749632"/>
            <a:ext cx="2624927" cy="3941051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88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d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179.xml"/><Relationship Id="rId7" Type="http://schemas.openxmlformats.org/officeDocument/2006/relationships/theme" Target="../theme/theme10.xml"/><Relationship Id="rId12" Type="http://schemas.openxmlformats.org/officeDocument/2006/relationships/image" Target="../media/image16.jpeg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81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180.xml"/><Relationship Id="rId9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pd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d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.pd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d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8.jpe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9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Relationship Id="rId30" Type="http://schemas.openxmlformats.org/officeDocument/2006/relationships/slideLayout" Target="../slideLayouts/slideLayout11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14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image" Target="../media/image9.jpe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9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34" Type="http://schemas.openxmlformats.org/officeDocument/2006/relationships/slideLayout" Target="../slideLayouts/slideLayout165.xml"/><Relationship Id="rId42" Type="http://schemas.openxmlformats.org/officeDocument/2006/relationships/slideLayout" Target="../slideLayouts/slideLayout173.xml"/><Relationship Id="rId47" Type="http://schemas.openxmlformats.org/officeDocument/2006/relationships/vmlDrawing" Target="../drawings/vmlDrawing5.vml"/><Relationship Id="rId50" Type="http://schemas.openxmlformats.org/officeDocument/2006/relationships/image" Target="../media/image4.emf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38" Type="http://schemas.openxmlformats.org/officeDocument/2006/relationships/slideLayout" Target="../slideLayouts/slideLayout169.xml"/><Relationship Id="rId46" Type="http://schemas.openxmlformats.org/officeDocument/2006/relationships/theme" Target="../theme/theme9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0.xml"/><Relationship Id="rId41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openxmlformats.org/officeDocument/2006/relationships/slideLayout" Target="../slideLayouts/slideLayout168.xml"/><Relationship Id="rId40" Type="http://schemas.openxmlformats.org/officeDocument/2006/relationships/slideLayout" Target="../slideLayouts/slideLayout171.xml"/><Relationship Id="rId45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slideLayout" Target="../slideLayouts/slideLayout167.xml"/><Relationship Id="rId49" Type="http://schemas.openxmlformats.org/officeDocument/2006/relationships/oleObject" Target="../embeddings/oleObject5.bin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4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slideLayout" Target="../slideLayouts/slideLayout166.xml"/><Relationship Id="rId43" Type="http://schemas.openxmlformats.org/officeDocument/2006/relationships/slideLayout" Target="../slideLayouts/slideLayout174.xml"/><Relationship Id="rId48" Type="http://schemas.openxmlformats.org/officeDocument/2006/relationships/tags" Target="../tags/tag5.xml"/><Relationship Id="rId8" Type="http://schemas.openxmlformats.org/officeDocument/2006/relationships/slideLayout" Target="../slideLayouts/slideLayout1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19"/>
              <a:stretch>
                <a:fillRect/>
              </a:stretch>
            </p:blipFill>
          </mc:Choice>
          <mc:Fallback>
            <p:blipFill>
              <a:blip r:embed="rId20"/>
              <a:stretch>
                <a:fillRect/>
              </a:stretch>
            </p:blipFill>
          </mc:Fallback>
        </mc:AlternateContent>
        <p:spPr>
          <a:xfrm>
            <a:off x="0" y="6100109"/>
            <a:ext cx="9144000" cy="51435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0725" y="481013"/>
            <a:ext cx="847883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aseline="0" smtClean="0"/>
            </a:lvl1pPr>
          </a:lstStyle>
          <a:p>
            <a:pPr>
              <a:defRPr/>
            </a:pPr>
            <a:fld id="{AE0C081D-91E3-4C07-9202-34C69AD4B9D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29" name="Tijdelijke aanduiding voor tekst 6"/>
          <p:cNvSpPr>
            <a:spLocks noGrp="1"/>
          </p:cNvSpPr>
          <p:nvPr>
            <p:ph type="body" idx="1"/>
          </p:nvPr>
        </p:nvSpPr>
        <p:spPr bwMode="auto">
          <a:xfrm>
            <a:off x="720725" y="1439863"/>
            <a:ext cx="8001000" cy="452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dirty="0"/>
              <a:t>Klik om de tekststijl van het model te bewerken</a:t>
            </a:r>
          </a:p>
          <a:p>
            <a:pPr lvl="1"/>
            <a:r>
              <a:rPr lang="nl-BE" dirty="0"/>
              <a:t>Tweede niveau</a:t>
            </a:r>
          </a:p>
          <a:p>
            <a:pPr lvl="2"/>
            <a:r>
              <a:rPr lang="nl-BE" dirty="0"/>
              <a:t>Derde niveau</a:t>
            </a:r>
          </a:p>
          <a:p>
            <a:pPr lvl="3"/>
            <a:r>
              <a:rPr lang="nl-BE" dirty="0"/>
              <a:t>Vierde niveau</a:t>
            </a:r>
          </a:p>
          <a:p>
            <a:pPr lvl="4"/>
            <a:r>
              <a:rPr lang="nl-BE" dirty="0"/>
              <a:t>Vijfde niveau</a:t>
            </a:r>
            <a:endParaRPr lang="nl-NL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938" r:id="rId1"/>
    <p:sldLayoutId id="2147487939" r:id="rId2"/>
    <p:sldLayoutId id="2147487914" r:id="rId3"/>
    <p:sldLayoutId id="2147487940" r:id="rId4"/>
    <p:sldLayoutId id="2147487941" r:id="rId5"/>
    <p:sldLayoutId id="2147487942" r:id="rId6"/>
    <p:sldLayoutId id="2147487943" r:id="rId7"/>
    <p:sldLayoutId id="2147487944" r:id="rId8"/>
    <p:sldLayoutId id="2147487945" r:id="rId9"/>
    <p:sldLayoutId id="2147487946" r:id="rId10"/>
    <p:sldLayoutId id="2147487947" r:id="rId11"/>
    <p:sldLayoutId id="2147487948" r:id="rId12"/>
    <p:sldLayoutId id="2147487970" r:id="rId13"/>
    <p:sldLayoutId id="2147487992" r:id="rId14"/>
    <p:sldLayoutId id="2147487993" r:id="rId15"/>
    <p:sldLayoutId id="2147488046" r:id="rId16"/>
    <p:sldLayoutId id="2147488114" r:id="rId17"/>
  </p:sldLayoutIdLst>
  <p:transition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baseline="0">
          <a:solidFill>
            <a:srgbClr val="97BF0D"/>
          </a:solidFill>
          <a:latin typeface="+mj-lt"/>
          <a:ea typeface="Geneva" charset="-128"/>
          <a:cs typeface="Geneva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Verdana" pitchFamily="34" charset="0"/>
          <a:ea typeface="Geneva" charset="-128"/>
          <a:cs typeface="Geneva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Verdana" pitchFamily="34" charset="0"/>
          <a:ea typeface="Geneva" charset="-128"/>
          <a:cs typeface="Geneva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Verdana" pitchFamily="34" charset="0"/>
          <a:ea typeface="Geneva" charset="-128"/>
          <a:cs typeface="Geneva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Verdana" pitchFamily="34" charset="0"/>
          <a:ea typeface="Geneva" charset="-128"/>
          <a:cs typeface="Geneva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250825" indent="-250825" algn="l" rtl="0" eaLnBrk="1" fontAlgn="base" hangingPunct="1">
        <a:spcBef>
          <a:spcPts val="800"/>
        </a:spcBef>
        <a:spcAft>
          <a:spcPts val="200"/>
        </a:spcAft>
        <a:buClr>
          <a:srgbClr val="404040"/>
        </a:buClr>
        <a:buSzPct val="50000"/>
        <a:buBlip>
          <a:blip r:embed="rId21"/>
        </a:buBlip>
        <a:defRPr sz="2000">
          <a:solidFill>
            <a:srgbClr val="333333"/>
          </a:solidFill>
          <a:latin typeface="+mn-lt"/>
          <a:ea typeface="Geneva" charset="-128"/>
          <a:cs typeface="Geneva" charset="-128"/>
        </a:defRPr>
      </a:lvl1pPr>
      <a:lvl2pPr marL="503238" indent="-215900" algn="l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50000"/>
        <a:buBlip>
          <a:blip r:embed="rId21"/>
        </a:buBlip>
        <a:defRPr sz="1600">
          <a:solidFill>
            <a:srgbClr val="333333"/>
          </a:solidFill>
          <a:latin typeface="+mn-lt"/>
          <a:ea typeface="Geneva" charset="-128"/>
        </a:defRPr>
      </a:lvl2pPr>
      <a:lvl3pPr marL="719138" indent="-179388" algn="l" rtl="0" eaLnBrk="1" fontAlgn="base" hangingPunct="1">
        <a:spcBef>
          <a:spcPts val="400"/>
        </a:spcBef>
        <a:spcAft>
          <a:spcPct val="0"/>
        </a:spcAft>
        <a:buSzPct val="50000"/>
        <a:buBlip>
          <a:blip r:embed="rId21"/>
        </a:buBlip>
        <a:defRPr sz="1400">
          <a:solidFill>
            <a:srgbClr val="333333"/>
          </a:solidFill>
          <a:latin typeface="+mn-lt"/>
          <a:ea typeface="Geneva" charset="-128"/>
        </a:defRPr>
      </a:lvl3pPr>
      <a:lvl4pPr marL="935038" indent="-179388" algn="l" rtl="0" eaLnBrk="1" fontAlgn="base" hangingPunct="1">
        <a:spcBef>
          <a:spcPts val="400"/>
        </a:spcBef>
        <a:spcAft>
          <a:spcPct val="0"/>
        </a:spcAft>
        <a:buSzPct val="50000"/>
        <a:buBlip>
          <a:blip r:embed="rId21"/>
        </a:buBlip>
        <a:defRPr sz="1200">
          <a:solidFill>
            <a:srgbClr val="333333"/>
          </a:solidFill>
          <a:latin typeface="+mn-lt"/>
          <a:ea typeface="Geneva" charset="-128"/>
        </a:defRPr>
      </a:lvl4pPr>
      <a:lvl5pPr marL="1150938" indent="-179388" algn="l" rtl="0" eaLnBrk="1" fontAlgn="base" hangingPunct="1">
        <a:spcBef>
          <a:spcPts val="400"/>
        </a:spcBef>
        <a:spcAft>
          <a:spcPct val="0"/>
        </a:spcAft>
        <a:buSzPct val="50000"/>
        <a:buBlip>
          <a:blip r:embed="rId21"/>
        </a:buBlip>
        <a:defRPr sz="1000">
          <a:solidFill>
            <a:srgbClr val="333333"/>
          </a:solidFill>
          <a:latin typeface="+mn-lt"/>
          <a:ea typeface="Geneva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SzPct val="50000"/>
        <a:buBlip>
          <a:blip r:embed="rId21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SzPct val="50000"/>
        <a:buBlip>
          <a:blip r:embed="rId21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SzPct val="50000"/>
        <a:buBlip>
          <a:blip r:embed="rId21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SzPct val="50000"/>
        <a:buBlip>
          <a:blip r:embed="rId21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B01E8EF-57E8-4F85-90EB-163CEE512F88}" type="slidenum">
              <a:rPr lang="en-GB" baseline="0" smtClean="0">
                <a:solidFill>
                  <a:srgbClr val="82786F"/>
                </a:solidFill>
                <a:latin typeface="Verdana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latin typeface="Verdana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749630"/>
            <a:ext cx="8510400" cy="3941053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GB" baseline="0">
                <a:solidFill>
                  <a:srgbClr val="82786F"/>
                </a:solidFill>
                <a:latin typeface="Verdana"/>
                <a:ea typeface="+mn-ea"/>
              </a:rPr>
              <a:t>Information package</a:t>
            </a:r>
            <a:endParaRPr lang="en-GB" baseline="0" dirty="0">
              <a:solidFill>
                <a:srgbClr val="82786F"/>
              </a:solidFill>
              <a:latin typeface="Verdana"/>
              <a:ea typeface="+mn-ea"/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baseline="0">
                <a:solidFill>
                  <a:srgbClr val="009FDA"/>
                </a:solidFill>
                <a:latin typeface="Verdana"/>
                <a:ea typeface="+mn-ea"/>
              </a:rPr>
              <a:t>DIABETES</a:t>
            </a:r>
            <a:endParaRPr lang="en-GB" baseline="0" dirty="0">
              <a:solidFill>
                <a:srgbClr val="82786F"/>
              </a:solidFill>
              <a:latin typeface="Verdana"/>
              <a:ea typeface="+mn-ea"/>
            </a:endParaRPr>
          </a:p>
        </p:txBody>
      </p:sp>
      <p:pic>
        <p:nvPicPr>
          <p:cNvPr id="16" name="Picture 11" descr="NN_m_2c_RGB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6968" y="5714737"/>
            <a:ext cx="800022" cy="889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3" descr="NN_m_2c_RGB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7823" y="5714738"/>
            <a:ext cx="810096" cy="8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0336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16" r:id="rId1"/>
    <p:sldLayoutId id="2147488117" r:id="rId2"/>
    <p:sldLayoutId id="2147488118" r:id="rId3"/>
    <p:sldLayoutId id="2147488119" r:id="rId4"/>
    <p:sldLayoutId id="2147488120" r:id="rId5"/>
    <p:sldLayoutId id="2147488121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defTabSz="91440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defTabSz="914400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defTabSz="91440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13"/>
              <a:stretch>
                <a:fillRect/>
              </a:stretch>
            </p:blipFill>
          </mc:Choice>
          <mc:Fallback>
            <p:blipFill>
              <a:blip r:embed="rId14"/>
              <a:stretch>
                <a:fillRect/>
              </a:stretch>
            </p:blipFill>
          </mc:Fallback>
        </mc:AlternateContent>
        <p:spPr>
          <a:xfrm>
            <a:off x="0" y="6100109"/>
            <a:ext cx="9144000" cy="51435"/>
          </a:xfrm>
          <a:prstGeom prst="rect">
            <a:avLst/>
          </a:prstGeom>
        </p:spPr>
      </p:pic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0725" y="481013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0725" y="1439863"/>
            <a:ext cx="8229600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de opmaakprofielen van de </a:t>
            </a:r>
            <a:r>
              <a:rPr lang="nl-NL" dirty="0" err="1"/>
              <a:t>modeltekst</a:t>
            </a:r>
            <a:r>
              <a:rPr lang="nl-NL" dirty="0"/>
              <a:t>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aseline="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E6D88FF-6DBC-44C4-A746-A0D2BBC549C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949" r:id="rId1"/>
    <p:sldLayoutId id="2147487950" r:id="rId2"/>
    <p:sldLayoutId id="2147487951" r:id="rId3"/>
    <p:sldLayoutId id="2147487952" r:id="rId4"/>
    <p:sldLayoutId id="2147487953" r:id="rId5"/>
    <p:sldLayoutId id="2147487954" r:id="rId6"/>
    <p:sldLayoutId id="2147487955" r:id="rId7"/>
    <p:sldLayoutId id="2147487956" r:id="rId8"/>
    <p:sldLayoutId id="2147487957" r:id="rId9"/>
    <p:sldLayoutId id="2147487958" r:id="rId10"/>
    <p:sldLayoutId id="2147487959" r:id="rId11"/>
  </p:sldLayoutIdLst>
  <p:transition>
    <p:fade/>
  </p:transition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baseline="0">
          <a:solidFill>
            <a:srgbClr val="DC006B"/>
          </a:solidFill>
          <a:latin typeface="+mj-lt"/>
          <a:ea typeface="Geneva" charset="-128"/>
          <a:cs typeface="Geneva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250825" indent="-250825" algn="l" rtl="0" eaLnBrk="0" fontAlgn="base" hangingPunct="0">
        <a:spcBef>
          <a:spcPts val="800"/>
        </a:spcBef>
        <a:spcAft>
          <a:spcPts val="200"/>
        </a:spcAft>
        <a:buSzPct val="50000"/>
        <a:buBlip>
          <a:blip r:embed="rId15"/>
        </a:buBlip>
        <a:defRPr sz="2000">
          <a:solidFill>
            <a:srgbClr val="333333"/>
          </a:solidFill>
          <a:latin typeface="+mn-lt"/>
          <a:ea typeface="Geneva" charset="-128"/>
          <a:cs typeface="Geneva" charset="-128"/>
        </a:defRPr>
      </a:lvl1pPr>
      <a:lvl2pPr marL="503238" indent="-215900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600">
          <a:solidFill>
            <a:srgbClr val="333333"/>
          </a:solidFill>
          <a:latin typeface="+mn-lt"/>
          <a:ea typeface="Geneva" charset="-128"/>
        </a:defRPr>
      </a:lvl2pPr>
      <a:lvl3pPr marL="7191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400">
          <a:solidFill>
            <a:srgbClr val="333333"/>
          </a:solidFill>
          <a:latin typeface="+mn-lt"/>
          <a:ea typeface="Geneva" charset="-128"/>
        </a:defRPr>
      </a:lvl3pPr>
      <a:lvl4pPr marL="9350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200">
          <a:solidFill>
            <a:srgbClr val="333333"/>
          </a:solidFill>
          <a:latin typeface="+mn-lt"/>
          <a:ea typeface="Geneva" charset="-128"/>
        </a:defRPr>
      </a:lvl4pPr>
      <a:lvl5pPr marL="11509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000">
          <a:solidFill>
            <a:srgbClr val="333333"/>
          </a:solidFill>
          <a:latin typeface="+mn-lt"/>
          <a:ea typeface="Geneva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13"/>
              <a:stretch>
                <a:fillRect/>
              </a:stretch>
            </p:blipFill>
          </mc:Choice>
          <mc:Fallback>
            <p:blipFill>
              <a:blip r:embed="rId14"/>
              <a:stretch>
                <a:fillRect/>
              </a:stretch>
            </p:blipFill>
          </mc:Fallback>
        </mc:AlternateContent>
        <p:spPr>
          <a:xfrm>
            <a:off x="0" y="6100109"/>
            <a:ext cx="9144000" cy="51435"/>
          </a:xfrm>
          <a:prstGeom prst="rect">
            <a:avLst/>
          </a:prstGeom>
        </p:spPr>
      </p:pic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aseline="0" smtClean="0"/>
            </a:lvl1pPr>
          </a:lstStyle>
          <a:p>
            <a:pPr>
              <a:defRPr/>
            </a:pPr>
            <a:fld id="{C8E2C6D5-7E0B-4C04-B7A4-F8B4F0E73B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3076" name="Tijdelijke aanduiding voor titel 6"/>
          <p:cNvSpPr>
            <a:spLocks noGrp="1"/>
          </p:cNvSpPr>
          <p:nvPr>
            <p:ph type="title"/>
          </p:nvPr>
        </p:nvSpPr>
        <p:spPr bwMode="auto">
          <a:xfrm>
            <a:off x="720725" y="481013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dirty="0"/>
              <a:t>Titelstijl van model bewerken</a:t>
            </a:r>
            <a:endParaRPr lang="nl-NL" dirty="0"/>
          </a:p>
        </p:txBody>
      </p:sp>
      <p:sp>
        <p:nvSpPr>
          <p:cNvPr id="3077" name="Tijdelijke aanduiding voor tekst 9"/>
          <p:cNvSpPr>
            <a:spLocks noGrp="1"/>
          </p:cNvSpPr>
          <p:nvPr>
            <p:ph type="body" idx="1"/>
          </p:nvPr>
        </p:nvSpPr>
        <p:spPr bwMode="auto">
          <a:xfrm>
            <a:off x="720725" y="1439863"/>
            <a:ext cx="8229600" cy="452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/>
              <a:t>Klik om de tekststijl van het model te bewerken</a:t>
            </a:r>
          </a:p>
          <a:p>
            <a:pPr lvl="1"/>
            <a:r>
              <a:rPr lang="nl-BE"/>
              <a:t>Tweede niveau</a:t>
            </a:r>
          </a:p>
          <a:p>
            <a:pPr lvl="2"/>
            <a:r>
              <a:rPr lang="nl-BE"/>
              <a:t>Derde niveau</a:t>
            </a:r>
          </a:p>
          <a:p>
            <a:pPr lvl="3"/>
            <a:r>
              <a:rPr lang="nl-BE"/>
              <a:t>Vierde niveau</a:t>
            </a:r>
          </a:p>
          <a:p>
            <a:pPr lvl="4"/>
            <a:r>
              <a:rPr lang="nl-BE"/>
              <a:t>Vijfde niveau</a:t>
            </a:r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960" r:id="rId1"/>
    <p:sldLayoutId id="2147487915" r:id="rId2"/>
    <p:sldLayoutId id="2147487916" r:id="rId3"/>
    <p:sldLayoutId id="2147487917" r:id="rId4"/>
    <p:sldLayoutId id="2147487961" r:id="rId5"/>
    <p:sldLayoutId id="2147487918" r:id="rId6"/>
    <p:sldLayoutId id="2147487962" r:id="rId7"/>
    <p:sldLayoutId id="2147487919" r:id="rId8"/>
    <p:sldLayoutId id="2147487963" r:id="rId9"/>
    <p:sldLayoutId id="2147487920" r:id="rId10"/>
    <p:sldLayoutId id="2147487921" r:id="rId11"/>
  </p:sldLayoutIdLst>
  <p:transition>
    <p:fade/>
  </p:transition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baseline="0">
          <a:solidFill>
            <a:srgbClr val="34C1C4"/>
          </a:solidFill>
          <a:latin typeface="+mj-lt"/>
          <a:ea typeface="Geneva" charset="-128"/>
          <a:cs typeface="Geneva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250825" indent="-250825" algn="l" rtl="0" eaLnBrk="0" fontAlgn="base" hangingPunct="0">
        <a:spcBef>
          <a:spcPts val="800"/>
        </a:spcBef>
        <a:spcAft>
          <a:spcPts val="200"/>
        </a:spcAft>
        <a:buSzPct val="50000"/>
        <a:buBlip>
          <a:blip r:embed="rId15"/>
        </a:buBlip>
        <a:defRPr sz="2000">
          <a:solidFill>
            <a:srgbClr val="333333"/>
          </a:solidFill>
          <a:latin typeface="+mn-lt"/>
          <a:ea typeface="Geneva" charset="-128"/>
          <a:cs typeface="Geneva" charset="-128"/>
        </a:defRPr>
      </a:lvl1pPr>
      <a:lvl2pPr marL="503238" indent="-215900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600">
          <a:solidFill>
            <a:srgbClr val="333333"/>
          </a:solidFill>
          <a:latin typeface="+mn-lt"/>
          <a:ea typeface="Geneva" charset="-128"/>
        </a:defRPr>
      </a:lvl2pPr>
      <a:lvl3pPr marL="7191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400">
          <a:solidFill>
            <a:srgbClr val="333333"/>
          </a:solidFill>
          <a:latin typeface="+mn-lt"/>
          <a:ea typeface="Geneva" charset="-128"/>
        </a:defRPr>
      </a:lvl3pPr>
      <a:lvl4pPr marL="9350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200">
          <a:solidFill>
            <a:srgbClr val="333333"/>
          </a:solidFill>
          <a:latin typeface="+mn-lt"/>
          <a:ea typeface="Geneva" charset="-128"/>
        </a:defRPr>
      </a:lvl4pPr>
      <a:lvl5pPr marL="11509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000">
          <a:solidFill>
            <a:srgbClr val="333333"/>
          </a:solidFill>
          <a:latin typeface="+mn-lt"/>
          <a:ea typeface="Geneva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13"/>
              <a:stretch>
                <a:fillRect/>
              </a:stretch>
            </p:blipFill>
          </mc:Choice>
          <mc:Fallback>
            <p:blipFill>
              <a:blip r:embed="rId14"/>
              <a:stretch>
                <a:fillRect/>
              </a:stretch>
            </p:blipFill>
          </mc:Fallback>
        </mc:AlternateContent>
        <p:spPr>
          <a:xfrm>
            <a:off x="0" y="6100109"/>
            <a:ext cx="9144000" cy="51435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0725" y="481013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0725" y="1439863"/>
            <a:ext cx="8229600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de opmaakprofielen van de modeltekst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aseline="0" smtClean="0"/>
            </a:lvl1pPr>
          </a:lstStyle>
          <a:p>
            <a:pPr>
              <a:defRPr/>
            </a:pPr>
            <a:fld id="{0004C12B-3025-4A73-89F9-408AEBD8A2B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964" r:id="rId1"/>
    <p:sldLayoutId id="2147487922" r:id="rId2"/>
    <p:sldLayoutId id="2147487923" r:id="rId3"/>
    <p:sldLayoutId id="2147487924" r:id="rId4"/>
    <p:sldLayoutId id="2147487925" r:id="rId5"/>
    <p:sldLayoutId id="2147487926" r:id="rId6"/>
    <p:sldLayoutId id="2147487965" r:id="rId7"/>
    <p:sldLayoutId id="2147487927" r:id="rId8"/>
    <p:sldLayoutId id="2147487928" r:id="rId9"/>
    <p:sldLayoutId id="2147487929" r:id="rId10"/>
    <p:sldLayoutId id="2147487930" r:id="rId11"/>
  </p:sldLayoutIdLst>
  <p:transition>
    <p:fade/>
  </p:transition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baseline="0">
          <a:solidFill>
            <a:srgbClr val="F6A924"/>
          </a:solidFill>
          <a:latin typeface="+mj-lt"/>
          <a:ea typeface="Geneva" charset="-128"/>
          <a:cs typeface="Geneva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250825" indent="-250825" algn="l" rtl="0" eaLnBrk="0" fontAlgn="base" hangingPunct="0">
        <a:spcBef>
          <a:spcPts val="800"/>
        </a:spcBef>
        <a:spcAft>
          <a:spcPts val="200"/>
        </a:spcAft>
        <a:buSzPct val="50000"/>
        <a:buBlip>
          <a:blip r:embed="rId15"/>
        </a:buBlip>
        <a:defRPr sz="2000">
          <a:solidFill>
            <a:srgbClr val="333333"/>
          </a:solidFill>
          <a:latin typeface="+mn-lt"/>
          <a:ea typeface="Geneva" charset="-128"/>
          <a:cs typeface="Geneva" charset="-128"/>
        </a:defRPr>
      </a:lvl1pPr>
      <a:lvl2pPr marL="503238" indent="-215900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600">
          <a:solidFill>
            <a:srgbClr val="333333"/>
          </a:solidFill>
          <a:latin typeface="+mn-lt"/>
          <a:ea typeface="Geneva" charset="-128"/>
        </a:defRPr>
      </a:lvl2pPr>
      <a:lvl3pPr marL="7191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400">
          <a:solidFill>
            <a:srgbClr val="333333"/>
          </a:solidFill>
          <a:latin typeface="+mn-lt"/>
          <a:ea typeface="Geneva" charset="-128"/>
        </a:defRPr>
      </a:lvl3pPr>
      <a:lvl4pPr marL="9350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200">
          <a:solidFill>
            <a:srgbClr val="333333"/>
          </a:solidFill>
          <a:latin typeface="+mn-lt"/>
          <a:ea typeface="Geneva" charset="-128"/>
        </a:defRPr>
      </a:lvl4pPr>
      <a:lvl5pPr marL="11509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000">
          <a:solidFill>
            <a:srgbClr val="333333"/>
          </a:solidFill>
          <a:latin typeface="+mn-lt"/>
          <a:ea typeface="Geneva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13"/>
              <a:stretch>
                <a:fillRect/>
              </a:stretch>
            </p:blipFill>
          </mc:Choice>
          <mc:Fallback>
            <p:blipFill>
              <a:blip r:embed="rId14"/>
              <a:stretch>
                <a:fillRect/>
              </a:stretch>
            </p:blipFill>
          </mc:Fallback>
        </mc:AlternateContent>
        <p:spPr>
          <a:xfrm>
            <a:off x="0" y="6100109"/>
            <a:ext cx="9144000" cy="51435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0725" y="481013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0725" y="1439863"/>
            <a:ext cx="8229600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de opmaakprofielen van de modeltekst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407150"/>
            <a:ext cx="213360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aseline="0" smtClean="0"/>
            </a:lvl1pPr>
          </a:lstStyle>
          <a:p>
            <a:pPr>
              <a:defRPr/>
            </a:pPr>
            <a:fld id="{52441C8C-57C5-453B-960D-AA1CF79DF23C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966" r:id="rId1"/>
    <p:sldLayoutId id="2147487931" r:id="rId2"/>
    <p:sldLayoutId id="2147487967" r:id="rId3"/>
    <p:sldLayoutId id="2147487932" r:id="rId4"/>
    <p:sldLayoutId id="2147487933" r:id="rId5"/>
    <p:sldLayoutId id="2147487968" r:id="rId6"/>
    <p:sldLayoutId id="2147487934" r:id="rId7"/>
    <p:sldLayoutId id="2147487935" r:id="rId8"/>
    <p:sldLayoutId id="2147487936" r:id="rId9"/>
    <p:sldLayoutId id="2147487937" r:id="rId10"/>
    <p:sldLayoutId id="2147487969" r:id="rId11"/>
  </p:sldLayoutIdLst>
  <p:transition>
    <p:fade/>
  </p:transition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baseline="0">
          <a:solidFill>
            <a:srgbClr val="60237B"/>
          </a:solidFill>
          <a:latin typeface="+mj-lt"/>
          <a:ea typeface="Geneva" charset="-128"/>
          <a:cs typeface="Geneva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  <a:ea typeface="Geneva" charset="-128"/>
          <a:cs typeface="Geneva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250825" indent="-250825" algn="l" rtl="0" eaLnBrk="0" fontAlgn="base" hangingPunct="0">
        <a:spcBef>
          <a:spcPts val="800"/>
        </a:spcBef>
        <a:spcAft>
          <a:spcPts val="200"/>
        </a:spcAft>
        <a:buSzPct val="50000"/>
        <a:buBlip>
          <a:blip r:embed="rId15"/>
        </a:buBlip>
        <a:defRPr sz="2000">
          <a:solidFill>
            <a:srgbClr val="333333"/>
          </a:solidFill>
          <a:latin typeface="+mn-lt"/>
          <a:ea typeface="Geneva" charset="-128"/>
          <a:cs typeface="Geneva" charset="-128"/>
        </a:defRPr>
      </a:lvl1pPr>
      <a:lvl2pPr marL="503238" indent="-215900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600">
          <a:solidFill>
            <a:srgbClr val="333333"/>
          </a:solidFill>
          <a:latin typeface="+mn-lt"/>
          <a:ea typeface="Geneva" charset="-128"/>
        </a:defRPr>
      </a:lvl2pPr>
      <a:lvl3pPr marL="7191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400">
          <a:solidFill>
            <a:srgbClr val="333333"/>
          </a:solidFill>
          <a:latin typeface="+mn-lt"/>
          <a:ea typeface="Geneva" charset="-128"/>
        </a:defRPr>
      </a:lvl3pPr>
      <a:lvl4pPr marL="9350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200">
          <a:solidFill>
            <a:srgbClr val="333333"/>
          </a:solidFill>
          <a:latin typeface="+mn-lt"/>
          <a:ea typeface="Geneva" charset="-128"/>
        </a:defRPr>
      </a:lvl4pPr>
      <a:lvl5pPr marL="1150938" indent="-179388" algn="l" rtl="0" eaLnBrk="0" fontAlgn="base" hangingPunct="0">
        <a:spcBef>
          <a:spcPts val="400"/>
        </a:spcBef>
        <a:spcAft>
          <a:spcPct val="0"/>
        </a:spcAft>
        <a:buSzPct val="50000"/>
        <a:buBlip>
          <a:blip r:embed="rId15"/>
        </a:buBlip>
        <a:defRPr sz="1000">
          <a:solidFill>
            <a:srgbClr val="333333"/>
          </a:solidFill>
          <a:latin typeface="+mn-lt"/>
          <a:ea typeface="Geneva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SzPct val="50000"/>
        <a:buBlip>
          <a:blip r:embed="rId15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6" descr="NN_m_2c_RGB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226" y="6021289"/>
            <a:ext cx="863774" cy="83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Freeform 36"/>
          <p:cNvSpPr>
            <a:spLocks/>
          </p:cNvSpPr>
          <p:nvPr/>
        </p:nvSpPr>
        <p:spPr bwMode="auto">
          <a:xfrm>
            <a:off x="0" y="1460500"/>
            <a:ext cx="8832850" cy="4049184"/>
          </a:xfrm>
          <a:custGeom>
            <a:avLst/>
            <a:gdLst>
              <a:gd name="T0" fmla="*/ 2147483647 w 12019"/>
              <a:gd name="T1" fmla="*/ 0 h 5685"/>
              <a:gd name="T2" fmla="*/ 2147483647 w 12019"/>
              <a:gd name="T3" fmla="*/ 2147483647 h 5685"/>
              <a:gd name="T4" fmla="*/ 2147483647 w 12019"/>
              <a:gd name="T5" fmla="*/ 2147483647 h 5685"/>
              <a:gd name="T6" fmla="*/ 2147483647 w 12019"/>
              <a:gd name="T7" fmla="*/ 2147483647 h 5685"/>
              <a:gd name="T8" fmla="*/ 2147483647 w 12019"/>
              <a:gd name="T9" fmla="*/ 2147483647 h 5685"/>
              <a:gd name="T10" fmla="*/ 2147483647 w 12019"/>
              <a:gd name="T11" fmla="*/ 2147483647 h 5685"/>
              <a:gd name="T12" fmla="*/ 2147483647 w 12019"/>
              <a:gd name="T13" fmla="*/ 2147483647 h 5685"/>
              <a:gd name="T14" fmla="*/ 0 w 12019"/>
              <a:gd name="T15" fmla="*/ 2147483647 h 5685"/>
              <a:gd name="T16" fmla="*/ 0 w 12019"/>
              <a:gd name="T17" fmla="*/ 0 h 5685"/>
              <a:gd name="T18" fmla="*/ 2147483647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1" y="285751"/>
            <a:ext cx="8188325" cy="80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356785"/>
            <a:ext cx="8186738" cy="443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9900" y="1"/>
            <a:ext cx="5843588" cy="472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DB2A4"/>
                </a:solidFill>
                <a:ea typeface="ＭＳ Ｐゴシック" pitchFamily="-84" charset="-128"/>
              </a:defRPr>
            </a:lvl1pPr>
          </a:lstStyle>
          <a:p>
            <a:pPr>
              <a:defRPr/>
            </a:pPr>
            <a:r>
              <a:rPr lang="en-GB" baseline="0">
                <a:latin typeface="Verdana" pitchFamily="34" charset="0"/>
              </a:rPr>
              <a:t>Presentation title</a:t>
            </a:r>
          </a:p>
        </p:txBody>
      </p:sp>
      <p:sp>
        <p:nvSpPr>
          <p:cNvPr id="110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99200" y="1"/>
            <a:ext cx="1460500" cy="472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DB2A4"/>
                </a:solidFill>
                <a:ea typeface="ＭＳ Ｐゴシック" pitchFamily="-84" charset="-128"/>
              </a:defRPr>
            </a:lvl1pPr>
          </a:lstStyle>
          <a:p>
            <a:pPr>
              <a:defRPr/>
            </a:pPr>
            <a:r>
              <a:rPr lang="en-US" baseline="0">
                <a:latin typeface="Verdana" pitchFamily="34" charset="0"/>
              </a:rPr>
              <a:t>Date</a:t>
            </a:r>
            <a:endParaRPr lang="en-GB" baseline="0">
              <a:latin typeface="Verdana" pitchFamily="34" charset="0"/>
            </a:endParaRPr>
          </a:p>
        </p:txBody>
      </p:sp>
      <p:pic>
        <p:nvPicPr>
          <p:cNvPr id="1032" name="Picture 82" descr="CD_Stacked_BIG®_RGB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6144684"/>
            <a:ext cx="608012" cy="237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020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72" r:id="rId1"/>
    <p:sldLayoutId id="2147487973" r:id="rId2"/>
    <p:sldLayoutId id="2147487974" r:id="rId3"/>
    <p:sldLayoutId id="2147487975" r:id="rId4"/>
    <p:sldLayoutId id="2147487976" r:id="rId5"/>
    <p:sldLayoutId id="2147487977" r:id="rId6"/>
    <p:sldLayoutId id="2147487978" r:id="rId7"/>
    <p:sldLayoutId id="2147487979" r:id="rId8"/>
    <p:sldLayoutId id="2147487980" r:id="rId9"/>
    <p:sldLayoutId id="2147487981" r:id="rId10"/>
    <p:sldLayoutId id="2147487982" r:id="rId11"/>
    <p:sldLayoutId id="2147487983" r:id="rId12"/>
    <p:sldLayoutId id="2147487984" r:id="rId13"/>
    <p:sldLayoutId id="2147487985" r:id="rId14"/>
    <p:sldLayoutId id="2147487986" r:id="rId15"/>
    <p:sldLayoutId id="2147487987" r:id="rId16"/>
    <p:sldLayoutId id="2147487988" r:id="rId17"/>
    <p:sldLayoutId id="2147487989" r:id="rId18"/>
    <p:sldLayoutId id="2147487990" r:id="rId19"/>
    <p:sldLayoutId id="2147487991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+mj-lt"/>
          <a:ea typeface="MS PGothic" pitchFamily="34" charset="-128"/>
          <a:cs typeface="ＭＳ Ｐゴシック" pitchFamily="-112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9pPr>
    </p:titleStyle>
    <p:bodyStyle>
      <a:lvl1pPr marL="263525" indent="-2635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accent2"/>
          </a:solidFill>
          <a:latin typeface="+mn-lt"/>
          <a:ea typeface="MS PGothic" pitchFamily="34" charset="-128"/>
          <a:cs typeface="ＭＳ Ｐゴシック" pitchFamily="-112" charset="-128"/>
        </a:defRPr>
      </a:lvl1pPr>
      <a:lvl2pPr marL="803275" indent="-2635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accent2"/>
          </a:solidFill>
          <a:latin typeface="+mn-lt"/>
          <a:ea typeface="MS PGothic" pitchFamily="34" charset="-128"/>
        </a:defRPr>
      </a:lvl2pPr>
      <a:lvl3pPr marL="1344613" indent="-2682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chemeClr val="accent2"/>
          </a:solidFill>
          <a:latin typeface="+mn-lt"/>
          <a:ea typeface="MS PGothic" pitchFamily="34" charset="-128"/>
        </a:defRPr>
      </a:lvl3pPr>
      <a:lvl4pPr marL="1884363" indent="-263525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600">
          <a:solidFill>
            <a:schemeClr val="accent2"/>
          </a:solidFill>
          <a:latin typeface="+mn-lt"/>
          <a:ea typeface="MS PGothic" pitchFamily="34" charset="-128"/>
        </a:defRPr>
      </a:lvl4pPr>
      <a:lvl5pPr marL="2424113" indent="-2778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  <a:ea typeface="MS PGothic" pitchFamily="34" charset="-128"/>
        </a:defRPr>
      </a:lvl5pPr>
      <a:lvl6pPr marL="28813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6pPr>
      <a:lvl7pPr marL="33385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7pPr>
      <a:lvl8pPr marL="37957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8pPr>
      <a:lvl9pPr marL="42529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40067"/>
            <a:ext cx="31237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B01E8EF-57E8-4F85-90EB-163CEE512F88}" type="slidenum">
              <a:rPr lang="en-GB" baseline="0" smtClean="0">
                <a:solidFill>
                  <a:srgbClr val="82786F"/>
                </a:solidFill>
                <a:latin typeface="Verdana"/>
                <a:ea typeface="MS PGothic" pitchFamily="34" charset="-128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latin typeface="Verdana"/>
              <a:ea typeface="MS PGothic" pitchFamily="34" charset="-128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749630"/>
            <a:ext cx="8510400" cy="3941053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687227"/>
            <a:ext cx="8510400" cy="5218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38543"/>
            <a:ext cx="2900363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GB" baseline="0">
                <a:solidFill>
                  <a:srgbClr val="82786F"/>
                </a:solidFill>
                <a:latin typeface="Verdana"/>
                <a:ea typeface="MS PGothic" pitchFamily="34" charset="-128"/>
              </a:rPr>
              <a:t>Presentation title</a:t>
            </a:r>
            <a:endParaRPr lang="en-GB" baseline="0" dirty="0">
              <a:solidFill>
                <a:srgbClr val="82786F"/>
              </a:solidFill>
              <a:latin typeface="Verdana"/>
              <a:ea typeface="MS PGothic" pitchFamily="34" charset="-128"/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38543"/>
            <a:ext cx="1201738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baseline="0">
                <a:solidFill>
                  <a:srgbClr val="82786F"/>
                </a:solidFill>
                <a:latin typeface="Verdana"/>
                <a:ea typeface="MS PGothic" pitchFamily="34" charset="-128"/>
              </a:rPr>
              <a:t>Date</a:t>
            </a:r>
            <a:endParaRPr lang="en-GB" baseline="0" dirty="0">
              <a:solidFill>
                <a:srgbClr val="82786F"/>
              </a:solidFill>
              <a:latin typeface="Verdana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154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95" r:id="rId1"/>
    <p:sldLayoutId id="2147487996" r:id="rId2"/>
    <p:sldLayoutId id="2147487997" r:id="rId3"/>
    <p:sldLayoutId id="2147487998" r:id="rId4"/>
    <p:sldLayoutId id="2147487999" r:id="rId5"/>
    <p:sldLayoutId id="2147488000" r:id="rId6"/>
    <p:sldLayoutId id="2147488001" r:id="rId7"/>
    <p:sldLayoutId id="2147488002" r:id="rId8"/>
    <p:sldLayoutId id="2147488003" r:id="rId9"/>
    <p:sldLayoutId id="2147488004" r:id="rId10"/>
    <p:sldLayoutId id="2147488005" r:id="rId11"/>
    <p:sldLayoutId id="2147488006" r:id="rId12"/>
    <p:sldLayoutId id="2147488007" r:id="rId13"/>
    <p:sldLayoutId id="2147488008" r:id="rId14"/>
    <p:sldLayoutId id="2147488009" r:id="rId15"/>
    <p:sldLayoutId id="2147488010" r:id="rId16"/>
    <p:sldLayoutId id="2147488011" r:id="rId17"/>
    <p:sldLayoutId id="2147488012" r:id="rId18"/>
    <p:sldLayoutId id="2147488013" r:id="rId19"/>
    <p:sldLayoutId id="2147488014" r:id="rId20"/>
    <p:sldLayoutId id="2147488015" r:id="rId21"/>
    <p:sldLayoutId id="2147488016" r:id="rId22"/>
    <p:sldLayoutId id="2147488017" r:id="rId23"/>
    <p:sldLayoutId id="2147488018" r:id="rId24"/>
    <p:sldLayoutId id="2147488019" r:id="rId25"/>
    <p:sldLayoutId id="2147488020" r:id="rId26"/>
    <p:sldLayoutId id="2147488021" r:id="rId27"/>
    <p:sldLayoutId id="2147488022" r:id="rId28"/>
    <p:sldLayoutId id="2147488023" r:id="rId29"/>
    <p:sldLayoutId id="2147488024" r:id="rId3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defTabSz="91440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defTabSz="914400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defTabSz="91440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6" descr="NN_m_2c_RGB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226" y="6021289"/>
            <a:ext cx="863774" cy="83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Freeform 36"/>
          <p:cNvSpPr>
            <a:spLocks/>
          </p:cNvSpPr>
          <p:nvPr/>
        </p:nvSpPr>
        <p:spPr bwMode="auto">
          <a:xfrm>
            <a:off x="0" y="1460500"/>
            <a:ext cx="8832850" cy="4049184"/>
          </a:xfrm>
          <a:custGeom>
            <a:avLst/>
            <a:gdLst>
              <a:gd name="T0" fmla="*/ 2147483647 w 12019"/>
              <a:gd name="T1" fmla="*/ 0 h 5685"/>
              <a:gd name="T2" fmla="*/ 2147483647 w 12019"/>
              <a:gd name="T3" fmla="*/ 2147483647 h 5685"/>
              <a:gd name="T4" fmla="*/ 2147483647 w 12019"/>
              <a:gd name="T5" fmla="*/ 2147483647 h 5685"/>
              <a:gd name="T6" fmla="*/ 2147483647 w 12019"/>
              <a:gd name="T7" fmla="*/ 2147483647 h 5685"/>
              <a:gd name="T8" fmla="*/ 2147483647 w 12019"/>
              <a:gd name="T9" fmla="*/ 2147483647 h 5685"/>
              <a:gd name="T10" fmla="*/ 2147483647 w 12019"/>
              <a:gd name="T11" fmla="*/ 2147483647 h 5685"/>
              <a:gd name="T12" fmla="*/ 2147483647 w 12019"/>
              <a:gd name="T13" fmla="*/ 2147483647 h 5685"/>
              <a:gd name="T14" fmla="*/ 0 w 12019"/>
              <a:gd name="T15" fmla="*/ 2147483647 h 5685"/>
              <a:gd name="T16" fmla="*/ 0 w 12019"/>
              <a:gd name="T17" fmla="*/ 0 h 5685"/>
              <a:gd name="T18" fmla="*/ 2147483647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1" y="285751"/>
            <a:ext cx="8188325" cy="80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356785"/>
            <a:ext cx="8186738" cy="443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9900" y="1"/>
            <a:ext cx="5843588" cy="472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DB2A4"/>
                </a:solidFill>
                <a:ea typeface="ＭＳ Ｐゴシック" pitchFamily="-84" charset="-128"/>
              </a:defRPr>
            </a:lvl1pPr>
          </a:lstStyle>
          <a:p>
            <a:pPr>
              <a:defRPr/>
            </a:pPr>
            <a:r>
              <a:rPr lang="en-GB" baseline="0">
                <a:latin typeface="Verdana" pitchFamily="34" charset="0"/>
              </a:rPr>
              <a:t>Presentation title</a:t>
            </a:r>
          </a:p>
        </p:txBody>
      </p:sp>
      <p:sp>
        <p:nvSpPr>
          <p:cNvPr id="110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99200" y="1"/>
            <a:ext cx="1460500" cy="472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DB2A4"/>
                </a:solidFill>
                <a:ea typeface="ＭＳ Ｐゴシック" pitchFamily="-84" charset="-128"/>
              </a:defRPr>
            </a:lvl1pPr>
          </a:lstStyle>
          <a:p>
            <a:pPr>
              <a:defRPr/>
            </a:pPr>
            <a:r>
              <a:rPr lang="en-US" baseline="0">
                <a:latin typeface="Verdana" pitchFamily="34" charset="0"/>
              </a:rPr>
              <a:t>Date</a:t>
            </a:r>
            <a:endParaRPr lang="en-GB" baseline="0">
              <a:latin typeface="Verdana" pitchFamily="34" charset="0"/>
            </a:endParaRPr>
          </a:p>
        </p:txBody>
      </p:sp>
      <p:pic>
        <p:nvPicPr>
          <p:cNvPr id="1032" name="Picture 82" descr="CD_Stacked_BIG®_RGB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6144684"/>
            <a:ext cx="608012" cy="237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2551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26" r:id="rId1"/>
    <p:sldLayoutId id="2147488027" r:id="rId2"/>
    <p:sldLayoutId id="2147488028" r:id="rId3"/>
    <p:sldLayoutId id="2147488029" r:id="rId4"/>
    <p:sldLayoutId id="2147488030" r:id="rId5"/>
    <p:sldLayoutId id="2147488031" r:id="rId6"/>
    <p:sldLayoutId id="2147488032" r:id="rId7"/>
    <p:sldLayoutId id="2147488033" r:id="rId8"/>
    <p:sldLayoutId id="2147488034" r:id="rId9"/>
    <p:sldLayoutId id="2147488035" r:id="rId10"/>
    <p:sldLayoutId id="2147488036" r:id="rId11"/>
    <p:sldLayoutId id="2147488037" r:id="rId12"/>
    <p:sldLayoutId id="2147488038" r:id="rId13"/>
    <p:sldLayoutId id="2147488039" r:id="rId14"/>
    <p:sldLayoutId id="2147488040" r:id="rId15"/>
    <p:sldLayoutId id="2147488041" r:id="rId16"/>
    <p:sldLayoutId id="2147488042" r:id="rId17"/>
    <p:sldLayoutId id="2147488043" r:id="rId18"/>
    <p:sldLayoutId id="2147488044" r:id="rId19"/>
    <p:sldLayoutId id="2147488045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+mj-lt"/>
          <a:ea typeface="MS PGothic" pitchFamily="34" charset="-128"/>
          <a:cs typeface="ＭＳ Ｐゴシック" pitchFamily="-112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  <a:ea typeface="MS PGothic" pitchFamily="34" charset="-128"/>
          <a:cs typeface="ＭＳ Ｐゴシック" pitchFamily="-112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1965"/>
          </a:solidFill>
          <a:latin typeface="Verdana" pitchFamily="34" charset="0"/>
        </a:defRPr>
      </a:lvl9pPr>
    </p:titleStyle>
    <p:bodyStyle>
      <a:lvl1pPr marL="263525" indent="-2635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accent2"/>
          </a:solidFill>
          <a:latin typeface="+mn-lt"/>
          <a:ea typeface="MS PGothic" pitchFamily="34" charset="-128"/>
          <a:cs typeface="ＭＳ Ｐゴシック" pitchFamily="-112" charset="-128"/>
        </a:defRPr>
      </a:lvl1pPr>
      <a:lvl2pPr marL="803275" indent="-26352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accent2"/>
          </a:solidFill>
          <a:latin typeface="+mn-lt"/>
          <a:ea typeface="MS PGothic" pitchFamily="34" charset="-128"/>
        </a:defRPr>
      </a:lvl2pPr>
      <a:lvl3pPr marL="1344613" indent="-2682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chemeClr val="accent2"/>
          </a:solidFill>
          <a:latin typeface="+mn-lt"/>
          <a:ea typeface="MS PGothic" pitchFamily="34" charset="-128"/>
        </a:defRPr>
      </a:lvl3pPr>
      <a:lvl4pPr marL="1884363" indent="-263525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600">
          <a:solidFill>
            <a:schemeClr val="accent2"/>
          </a:solidFill>
          <a:latin typeface="+mn-lt"/>
          <a:ea typeface="MS PGothic" pitchFamily="34" charset="-128"/>
        </a:defRPr>
      </a:lvl4pPr>
      <a:lvl5pPr marL="2424113" indent="-2778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  <a:ea typeface="MS PGothic" pitchFamily="34" charset="-128"/>
        </a:defRPr>
      </a:lvl5pPr>
      <a:lvl6pPr marL="28813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6pPr>
      <a:lvl7pPr marL="33385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7pPr>
      <a:lvl8pPr marL="37957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8pPr>
      <a:lvl9pPr marL="4252913" indent="-277813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8"/>
            </p:custDataLst>
            <p:extLst/>
          </p:nvPr>
        </p:nvGraphicFramePr>
        <p:xfrm>
          <a:off x="1590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90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1" y="139701"/>
            <a:ext cx="311150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34" eaLnBrk="1" fontAlgn="auto" hangingPunct="1">
              <a:spcBef>
                <a:spcPts val="0"/>
              </a:spcBef>
              <a:spcAft>
                <a:spcPts val="0"/>
              </a:spcAft>
              <a:defRPr sz="600" b="0" smtClean="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1398BE7-5B78-41C6-B602-72434BBFCFD2}" type="slidenum">
              <a:rPr lang="en-GB" baseline="0">
                <a:solidFill>
                  <a:srgbClr val="82786F"/>
                </a:solidFill>
                <a:ea typeface="+mn-ea"/>
              </a:rPr>
              <a:pPr>
                <a:defRPr/>
              </a:pPr>
              <a:t>‹nr.›</a:t>
            </a:fld>
            <a:endParaRPr lang="en-GB" baseline="0" dirty="0">
              <a:solidFill>
                <a:srgbClr val="82786F"/>
              </a:solidFill>
              <a:ea typeface="+mn-ea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2" y="1750494"/>
            <a:ext cx="8509000" cy="3941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596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687919"/>
            <a:ext cx="85090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540" y="137585"/>
            <a:ext cx="2900362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767" eaLnBrk="1" fontAlgn="auto" hangingPunct="1">
              <a:spcBef>
                <a:spcPct val="0"/>
              </a:spcBef>
              <a:spcAft>
                <a:spcPts val="0"/>
              </a:spcAft>
              <a:defRPr sz="600" b="0" dirty="0" smtClean="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baseline="0">
                <a:solidFill>
                  <a:srgbClr val="82786F"/>
                </a:solidFill>
                <a:ea typeface="+mn-ea"/>
              </a:rPr>
              <a:t>Clinical trial design and results templat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6614" y="137585"/>
            <a:ext cx="120173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767" eaLnBrk="1" fontAlgn="auto" hangingPunct="1">
              <a:spcBef>
                <a:spcPct val="0"/>
              </a:spcBef>
              <a:spcAft>
                <a:spcPts val="0"/>
              </a:spcAft>
              <a:defRPr sz="600" b="0" smtClean="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baseline="0" dirty="0">
                <a:solidFill>
                  <a:srgbClr val="82786F"/>
                </a:solidFill>
                <a:ea typeface="+mn-ea"/>
              </a:rPr>
              <a:t>Date</a:t>
            </a:r>
            <a:endParaRPr lang="en-GB" baseline="0" dirty="0">
              <a:solidFill>
                <a:srgbClr val="82786F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27640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48" r:id="rId1"/>
    <p:sldLayoutId id="2147488049" r:id="rId2"/>
    <p:sldLayoutId id="2147488050" r:id="rId3"/>
    <p:sldLayoutId id="2147488051" r:id="rId4"/>
    <p:sldLayoutId id="2147488052" r:id="rId5"/>
    <p:sldLayoutId id="2147488053" r:id="rId6"/>
    <p:sldLayoutId id="2147488054" r:id="rId7"/>
    <p:sldLayoutId id="2147488055" r:id="rId8"/>
    <p:sldLayoutId id="2147488056" r:id="rId9"/>
    <p:sldLayoutId id="2147488057" r:id="rId10"/>
    <p:sldLayoutId id="2147488058" r:id="rId11"/>
    <p:sldLayoutId id="2147488059" r:id="rId12"/>
    <p:sldLayoutId id="2147488060" r:id="rId13"/>
    <p:sldLayoutId id="2147488061" r:id="rId14"/>
    <p:sldLayoutId id="2147488062" r:id="rId15"/>
    <p:sldLayoutId id="2147488063" r:id="rId16"/>
    <p:sldLayoutId id="2147488064" r:id="rId17"/>
    <p:sldLayoutId id="2147488065" r:id="rId18"/>
    <p:sldLayoutId id="2147488066" r:id="rId19"/>
    <p:sldLayoutId id="2147488067" r:id="rId20"/>
    <p:sldLayoutId id="2147488068" r:id="rId21"/>
    <p:sldLayoutId id="2147488069" r:id="rId22"/>
    <p:sldLayoutId id="2147488070" r:id="rId23"/>
    <p:sldLayoutId id="2147488071" r:id="rId24"/>
    <p:sldLayoutId id="2147488072" r:id="rId25"/>
    <p:sldLayoutId id="2147488073" r:id="rId26"/>
    <p:sldLayoutId id="2147488074" r:id="rId27"/>
    <p:sldLayoutId id="2147488075" r:id="rId28"/>
    <p:sldLayoutId id="2147488076" r:id="rId29"/>
    <p:sldLayoutId id="2147488077" r:id="rId30"/>
    <p:sldLayoutId id="2147488083" r:id="rId31"/>
    <p:sldLayoutId id="2147488086" r:id="rId32"/>
    <p:sldLayoutId id="2147488087" r:id="rId33"/>
    <p:sldLayoutId id="2147488088" r:id="rId34"/>
    <p:sldLayoutId id="2147488089" r:id="rId35"/>
    <p:sldLayoutId id="2147488091" r:id="rId36"/>
    <p:sldLayoutId id="2147488100" r:id="rId37"/>
    <p:sldLayoutId id="2147488101" r:id="rId38"/>
    <p:sldLayoutId id="2147488102" r:id="rId39"/>
    <p:sldLayoutId id="2147488103" r:id="rId40"/>
    <p:sldLayoutId id="2147488109" r:id="rId41"/>
    <p:sldLayoutId id="2147488110" r:id="rId42"/>
    <p:sldLayoutId id="2147488111" r:id="rId43"/>
    <p:sldLayoutId id="2147488112" r:id="rId44"/>
    <p:sldLayoutId id="2147488113" r:id="rId45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118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243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362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484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070" indent="-26507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480" indent="-271421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7898" indent="-271421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670" indent="-177769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080" indent="-184118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159" indent="-228558" algn="l" defTabSz="91424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2" indent="-228558" algn="l" defTabSz="91424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2" indent="-228558" algn="l" defTabSz="91424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1" indent="-228558" algn="l" defTabSz="91424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8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3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4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1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9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0" algn="l" defTabSz="91424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7.vml"/><Relationship Id="rId6" Type="http://schemas.openxmlformats.org/officeDocument/2006/relationships/slide" Target="slide2.xml"/><Relationship Id="rId5" Type="http://schemas.openxmlformats.org/officeDocument/2006/relationships/image" Target="../media/image42.emf"/><Relationship Id="rId4" Type="http://schemas.openxmlformats.org/officeDocument/2006/relationships/oleObject" Target="../embeddings/oleObject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8.vml"/><Relationship Id="rId6" Type="http://schemas.openxmlformats.org/officeDocument/2006/relationships/slide" Target="slide2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46.png"/><Relationship Id="rId21" Type="http://schemas.openxmlformats.org/officeDocument/2006/relationships/image" Target="../media/image63.png"/><Relationship Id="rId7" Type="http://schemas.openxmlformats.org/officeDocument/2006/relationships/image" Target="../media/image50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11" Type="http://schemas.openxmlformats.org/officeDocument/2006/relationships/image" Target="../media/image53.png"/><Relationship Id="rId5" Type="http://schemas.openxmlformats.org/officeDocument/2006/relationships/image" Target="../media/image48.png"/><Relationship Id="rId15" Type="http://schemas.openxmlformats.org/officeDocument/2006/relationships/image" Target="../media/image57.png"/><Relationship Id="rId10" Type="http://schemas.openxmlformats.org/officeDocument/2006/relationships/image" Target="../media/image2.jpeg"/><Relationship Id="rId19" Type="http://schemas.openxmlformats.org/officeDocument/2006/relationships/image" Target="../media/image61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8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0.emf"/><Relationship Id="rId5" Type="http://schemas.openxmlformats.org/officeDocument/2006/relationships/image" Target="../media/image69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tarcia.com/media/press-releases.html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5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7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178.xml"/><Relationship Id="rId7" Type="http://schemas.openxmlformats.org/officeDocument/2006/relationships/hyperlink" Target="http://www.accessdata.fda.gov/scripts/cder/iig/index.cfm" TargetMode="Externa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3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7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76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7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57.xml"/><Relationship Id="rId1" Type="http://schemas.openxmlformats.org/officeDocument/2006/relationships/tags" Target="../tags/tag8.xml"/><Relationship Id="rId4" Type="http://schemas.openxmlformats.org/officeDocument/2006/relationships/chart" Target="../charts/chart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5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tif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84.tiff"/><Relationship Id="rId4" Type="http://schemas.openxmlformats.org/officeDocument/2006/relationships/image" Target="../media/image83.tif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6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6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sz="2800" dirty="0"/>
              <a:t>Update farmacologie diabetes mellitus type 2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2605299" y="5454127"/>
            <a:ext cx="6400800" cy="1191996"/>
          </a:xfrm>
        </p:spPr>
        <p:txBody>
          <a:bodyPr/>
          <a:lstStyle/>
          <a:p>
            <a:pPr algn="r"/>
            <a:r>
              <a:rPr lang="nl-BE" dirty="0"/>
              <a:t>Kim Bernaerts</a:t>
            </a:r>
          </a:p>
          <a:p>
            <a:pPr algn="r"/>
            <a:r>
              <a:rPr lang="nl-BE" dirty="0"/>
              <a:t>endocrinoloog ZNA Middelheim</a:t>
            </a:r>
          </a:p>
          <a:p>
            <a:pPr algn="r"/>
            <a:r>
              <a:rPr lang="nl-BE" dirty="0"/>
              <a:t>27/09/2018</a:t>
            </a:r>
          </a:p>
        </p:txBody>
      </p:sp>
    </p:spTree>
    <p:extLst>
      <p:ext uri="{BB962C8B-B14F-4D97-AF65-F5344CB8AC3E}">
        <p14:creationId xmlns:p14="http://schemas.microsoft.com/office/powerpoint/2010/main" val="242304833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Multifactoriële aanpak</a:t>
            </a:r>
          </a:p>
        </p:txBody>
      </p:sp>
      <p:pic>
        <p:nvPicPr>
          <p:cNvPr id="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9360" y="1466113"/>
            <a:ext cx="8229600" cy="3281230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8609669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"/>
          <p:cNvSpPr>
            <a:spLocks noGrp="1"/>
          </p:cNvSpPr>
          <p:nvPr>
            <p:ph type="title" idx="4294967295"/>
          </p:nvPr>
        </p:nvSpPr>
        <p:spPr>
          <a:xfrm>
            <a:off x="468313" y="333375"/>
            <a:ext cx="8229600" cy="574675"/>
          </a:xfrm>
        </p:spPr>
        <p:txBody>
          <a:bodyPr/>
          <a:lstStyle/>
          <a:p>
            <a:r>
              <a:rPr lang="en-US" altLang="nl-NL" sz="3600">
                <a:solidFill>
                  <a:srgbClr val="0070C0"/>
                </a:solidFill>
                <a:ea typeface="Geneva"/>
                <a:cs typeface="Geneva"/>
              </a:rPr>
              <a:t>Benefits of Reducing Weight</a:t>
            </a:r>
          </a:p>
        </p:txBody>
      </p:sp>
      <p:sp>
        <p:nvSpPr>
          <p:cNvPr id="96259" name="Content Placeholder 2"/>
          <p:cNvSpPr>
            <a:spLocks noGrp="1"/>
          </p:cNvSpPr>
          <p:nvPr>
            <p:ph idx="4294967295"/>
          </p:nvPr>
        </p:nvSpPr>
        <p:spPr>
          <a:xfrm>
            <a:off x="323850" y="1268413"/>
            <a:ext cx="8597900" cy="600075"/>
          </a:xfrm>
        </p:spPr>
        <p:txBody>
          <a:bodyPr/>
          <a:lstStyle/>
          <a:p>
            <a:pPr marL="228600" indent="-228600"/>
            <a:r>
              <a:rPr lang="en-US" altLang="nl-NL" sz="2400" b="1">
                <a:solidFill>
                  <a:srgbClr val="FF0000"/>
                </a:solidFill>
                <a:ea typeface="Geneva"/>
                <a:cs typeface="Geneva"/>
              </a:rPr>
              <a:t> Intentional weight loss* reduced the risk (%) of mortality</a:t>
            </a:r>
          </a:p>
        </p:txBody>
      </p:sp>
      <p:sp>
        <p:nvSpPr>
          <p:cNvPr id="96260" name="Rectangle 8"/>
          <p:cNvSpPr>
            <a:spLocks noChangeArrowheads="1"/>
          </p:cNvSpPr>
          <p:nvPr/>
        </p:nvSpPr>
        <p:spPr bwMode="auto">
          <a:xfrm>
            <a:off x="1763713" y="4941888"/>
            <a:ext cx="5256212" cy="863600"/>
          </a:xfrm>
          <a:prstGeom prst="rect">
            <a:avLst/>
          </a:prstGeom>
          <a:solidFill>
            <a:srgbClr val="0070C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5825" tIns="47913" rIns="95825" bIns="47913" anchor="ctr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NL" sz="2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ght loss in T2D is associated with additional patient benefits</a:t>
            </a:r>
          </a:p>
        </p:txBody>
      </p:sp>
      <p:sp>
        <p:nvSpPr>
          <p:cNvPr id="96261" name="Down Arrow 13"/>
          <p:cNvSpPr>
            <a:spLocks noChangeArrowheads="1"/>
          </p:cNvSpPr>
          <p:nvPr/>
        </p:nvSpPr>
        <p:spPr bwMode="auto">
          <a:xfrm>
            <a:off x="2254250" y="3213100"/>
            <a:ext cx="1666875" cy="1044575"/>
          </a:xfrm>
          <a:prstGeom prst="downArrow">
            <a:avLst>
              <a:gd name="adj1" fmla="val 75148"/>
              <a:gd name="adj2" fmla="val 52028"/>
            </a:avLst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11" rIns="91420" bIns="45711" anchor="b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nl-BE" altLang="nl-NL" sz="1000" b="1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2270125" y="3230563"/>
            <a:ext cx="1681163" cy="779462"/>
          </a:xfrm>
          <a:prstGeom prst="rect">
            <a:avLst/>
          </a:prstGeom>
          <a:noFill/>
        </p:spPr>
        <p:txBody>
          <a:bodyPr lIns="91420" tIns="45711" rIns="91420" bIns="45711"/>
          <a:lstStyle/>
          <a:p>
            <a:pPr marL="295215" indent="-295215" algn="ctr">
              <a:spcBef>
                <a:spcPts val="600"/>
              </a:spcBef>
              <a:buClr>
                <a:srgbClr val="4D4D4F"/>
              </a:buClr>
              <a:buSzPct val="120000"/>
              <a:defRPr/>
            </a:pPr>
            <a:r>
              <a:rPr lang="en-US" sz="2400" b="1" dirty="0">
                <a:solidFill>
                  <a:srgbClr val="FFFF00"/>
                </a:solidFill>
                <a:latin typeface="Arial" charset="0"/>
                <a:ea typeface="Geneva" charset="-128"/>
                <a:cs typeface="+mn-cs"/>
              </a:rPr>
              <a:t>-25%</a:t>
            </a:r>
            <a:endParaRPr lang="en-US" sz="2400" kern="0" dirty="0">
              <a:solidFill>
                <a:srgbClr val="FFFF00"/>
              </a:solidFill>
              <a:latin typeface="Arial" charset="0"/>
              <a:ea typeface="Geneva" charset="-128"/>
              <a:cs typeface="+mn-cs"/>
            </a:endParaRPr>
          </a:p>
          <a:p>
            <a:pPr marL="295215" indent="-295215" algn="ctr">
              <a:spcBef>
                <a:spcPts val="600"/>
              </a:spcBef>
              <a:buClr>
                <a:srgbClr val="4D4D4F"/>
              </a:buClr>
              <a:buSzPct val="120000"/>
              <a:defRPr/>
            </a:pPr>
            <a:endParaRPr lang="en-US" sz="3200" kern="0" baseline="30000" dirty="0">
              <a:solidFill>
                <a:srgbClr val="FFFF00"/>
              </a:solidFill>
              <a:latin typeface="Arial" charset="0"/>
              <a:ea typeface="Geneva" charset="-128"/>
              <a:cs typeface="+mn-cs"/>
            </a:endParaRPr>
          </a:p>
        </p:txBody>
      </p:sp>
      <p:sp>
        <p:nvSpPr>
          <p:cNvPr id="96263" name="Down Arrow 13"/>
          <p:cNvSpPr>
            <a:spLocks noChangeArrowheads="1"/>
          </p:cNvSpPr>
          <p:nvPr/>
        </p:nvSpPr>
        <p:spPr bwMode="auto">
          <a:xfrm>
            <a:off x="4859338" y="3213100"/>
            <a:ext cx="1666875" cy="1044575"/>
          </a:xfrm>
          <a:prstGeom prst="downArrow">
            <a:avLst>
              <a:gd name="adj1" fmla="val 75148"/>
              <a:gd name="adj2" fmla="val 52028"/>
            </a:avLst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11" rIns="91420" bIns="45711" anchor="b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10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nl-BE" altLang="nl-NL" sz="1000" b="1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4859338" y="3213100"/>
            <a:ext cx="1681162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/>
          <a:lstStyle/>
          <a:p>
            <a:pPr marL="295215" indent="-295215" algn="ctr">
              <a:spcBef>
                <a:spcPts val="600"/>
              </a:spcBef>
              <a:buClr>
                <a:srgbClr val="4D4D4F"/>
              </a:buClr>
              <a:buSzPct val="120000"/>
              <a:defRPr/>
            </a:pPr>
            <a:r>
              <a:rPr lang="en-US" sz="2400" b="1" dirty="0">
                <a:solidFill>
                  <a:srgbClr val="FFFF00"/>
                </a:solidFill>
                <a:latin typeface="Arial" charset="0"/>
                <a:ea typeface="Geneva" charset="-128"/>
                <a:cs typeface="+mn-cs"/>
              </a:rPr>
              <a:t>-28%</a:t>
            </a:r>
            <a:endParaRPr lang="en-US" sz="2400" kern="0" dirty="0">
              <a:solidFill>
                <a:srgbClr val="FFFF00"/>
              </a:solidFill>
              <a:latin typeface="Arial" charset="0"/>
              <a:ea typeface="Geneva" charset="-128"/>
              <a:cs typeface="+mn-cs"/>
            </a:endParaRPr>
          </a:p>
          <a:p>
            <a:pPr marL="295215" indent="-295215" algn="ctr">
              <a:spcBef>
                <a:spcPts val="600"/>
              </a:spcBef>
              <a:buClr>
                <a:srgbClr val="4D4D4F"/>
              </a:buClr>
              <a:buSzPct val="120000"/>
              <a:defRPr/>
            </a:pPr>
            <a:endParaRPr lang="en-US" sz="3200" kern="0" baseline="30000" dirty="0">
              <a:solidFill>
                <a:srgbClr val="FFFF00"/>
              </a:solidFill>
              <a:latin typeface="Arial" charset="0"/>
              <a:ea typeface="Geneva" charset="-128"/>
              <a:cs typeface="+mn-cs"/>
            </a:endParaRPr>
          </a:p>
        </p:txBody>
      </p:sp>
      <p:sp>
        <p:nvSpPr>
          <p:cNvPr id="96265" name="TextBox 13"/>
          <p:cNvSpPr txBox="1">
            <a:spLocks noChangeArrowheads="1"/>
          </p:cNvSpPr>
          <p:nvPr/>
        </p:nvSpPr>
        <p:spPr bwMode="auto">
          <a:xfrm>
            <a:off x="1711325" y="2544763"/>
            <a:ext cx="27971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NL" sz="1800" b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mortality</a:t>
            </a:r>
          </a:p>
        </p:txBody>
      </p:sp>
      <p:sp>
        <p:nvSpPr>
          <p:cNvPr id="96266" name="TextBox 14"/>
          <p:cNvSpPr txBox="1">
            <a:spLocks noChangeArrowheads="1"/>
          </p:cNvSpPr>
          <p:nvPr/>
        </p:nvSpPr>
        <p:spPr bwMode="auto">
          <a:xfrm>
            <a:off x="4294188" y="2554288"/>
            <a:ext cx="2797175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NL" sz="1800" b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diovascular disease and diabetes mortality</a:t>
            </a:r>
            <a:endParaRPr lang="en-US" altLang="nl-NL" sz="1400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6267" name="Straight Connector 8"/>
          <p:cNvCxnSpPr>
            <a:cxnSpLocks noChangeShapeType="1"/>
          </p:cNvCxnSpPr>
          <p:nvPr/>
        </p:nvCxnSpPr>
        <p:spPr bwMode="auto">
          <a:xfrm>
            <a:off x="1720850" y="3216275"/>
            <a:ext cx="5394325" cy="1588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6268" name="Rectangle 4"/>
          <p:cNvSpPr>
            <a:spLocks noChangeArrowheads="1"/>
          </p:cNvSpPr>
          <p:nvPr/>
        </p:nvSpPr>
        <p:spPr bwMode="auto">
          <a:xfrm>
            <a:off x="466725" y="6313488"/>
            <a:ext cx="8043863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825" tIns="47913" rIns="95825" bIns="47913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0" algn="l"/>
                <a:tab pos="112713" algn="l"/>
                <a:tab pos="341313" algn="l"/>
                <a:tab pos="398463" algn="l"/>
                <a:tab pos="569913" algn="l"/>
                <a:tab pos="912813" algn="l"/>
                <a:tab pos="1255713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NL" sz="1000" b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Intentional weight loss in overweight individuals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NL" sz="1000" b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amson DF, et al. </a:t>
            </a:r>
            <a:r>
              <a:rPr lang="en-US" altLang="nl-NL" sz="1000" b="1" i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betes Care</a:t>
            </a:r>
            <a:r>
              <a:rPr lang="en-US" altLang="nl-NL" sz="1000" b="1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00;23:1499-1504. </a:t>
            </a:r>
            <a:endParaRPr lang="en-US" altLang="nl-NL" sz="1000">
              <a:solidFill>
                <a:srgbClr val="4D4D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33851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8C72D1A-D58F-4ECF-A217-1347ADEA6269}" type="slidenum">
              <a:rPr lang="nl-NL" smtClean="0"/>
              <a:pPr>
                <a:defRPr/>
              </a:pPr>
              <a:t>12</a:t>
            </a:fld>
            <a:endParaRPr lang="nl-NL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094" y="301214"/>
            <a:ext cx="8265387" cy="5163671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168" y="6280150"/>
            <a:ext cx="8172450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61657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ext Box 1"/>
          <p:cNvSpPr txBox="1">
            <a:spLocks noChangeArrowheads="1"/>
          </p:cNvSpPr>
          <p:nvPr/>
        </p:nvSpPr>
        <p:spPr bwMode="auto">
          <a:xfrm>
            <a:off x="325438" y="381000"/>
            <a:ext cx="8493125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414338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14338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Tx/>
              <a:buNone/>
            </a:pPr>
            <a:r>
              <a:rPr lang="en-GB" altLang="nl-BE" sz="1500" b="1" baseline="0">
                <a:solidFill>
                  <a:srgbClr val="000000"/>
                </a:solidFill>
                <a:latin typeface="Arial" panose="020B0604020202020204" pitchFamily="34" charset="0"/>
                <a:ea typeface="msgothic"/>
                <a:cs typeface="msgothic"/>
              </a:rPr>
              <a:t>Antihyperglycemic therapy in type 2 diabetes: general recommendations. </a:t>
            </a:r>
          </a:p>
        </p:txBody>
      </p:sp>
      <p:pic>
        <p:nvPicPr>
          <p:cNvPr id="5939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6262688"/>
            <a:ext cx="1554163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9396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063" y="979488"/>
            <a:ext cx="6111875" cy="489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9397" name="Text Box 4"/>
          <p:cNvSpPr txBox="1">
            <a:spLocks noChangeArrowheads="1"/>
          </p:cNvSpPr>
          <p:nvPr/>
        </p:nvSpPr>
        <p:spPr bwMode="auto">
          <a:xfrm>
            <a:off x="1517650" y="5972175"/>
            <a:ext cx="391795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414338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14338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Tx/>
              <a:buNone/>
            </a:pPr>
            <a:r>
              <a:rPr lang="en-GB" altLang="nl-BE" sz="1100" b="1" baseline="0">
                <a:solidFill>
                  <a:srgbClr val="000000"/>
                </a:solidFill>
                <a:latin typeface="Arial" panose="020B0604020202020204" pitchFamily="34" charset="0"/>
                <a:ea typeface="msgothic"/>
                <a:cs typeface="msgothic"/>
              </a:rPr>
              <a:t>American Diabetes Association Dia Care 2017;40:S64-S74</a:t>
            </a:r>
          </a:p>
        </p:txBody>
      </p:sp>
      <p:sp>
        <p:nvSpPr>
          <p:cNvPr id="59398" name="Text Box 5"/>
          <p:cNvSpPr txBox="1">
            <a:spLocks noChangeArrowheads="1"/>
          </p:cNvSpPr>
          <p:nvPr/>
        </p:nvSpPr>
        <p:spPr bwMode="auto">
          <a:xfrm>
            <a:off x="98425" y="6613525"/>
            <a:ext cx="4930775" cy="347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85725" indent="-85725" defTabSz="414338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14338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14338" eaLnBrk="0" hangingPunct="0">
              <a:spcBef>
                <a:spcPts val="400"/>
              </a:spcBef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1433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Tx/>
              <a:buNone/>
            </a:pPr>
            <a:r>
              <a:rPr lang="en-GB" altLang="nl-BE" sz="900" baseline="0">
                <a:solidFill>
                  <a:srgbClr val="000000"/>
                </a:solidFill>
                <a:latin typeface="Arial" panose="020B0604020202020204" pitchFamily="34" charset="0"/>
                <a:ea typeface="msgothic"/>
                <a:cs typeface="msgothic"/>
              </a:rPr>
              <a:t>©2017 by American Diabetes Association</a:t>
            </a:r>
          </a:p>
        </p:txBody>
      </p:sp>
    </p:spTree>
    <p:extLst>
      <p:ext uri="{BB962C8B-B14F-4D97-AF65-F5344CB8AC3E}">
        <p14:creationId xmlns:p14="http://schemas.microsoft.com/office/powerpoint/2010/main" val="149729944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endParaRPr lang="nl-BE" altLang="nl-BE">
              <a:ea typeface="Geneva"/>
              <a:cs typeface="Geneva"/>
            </a:endParaRPr>
          </a:p>
        </p:txBody>
      </p:sp>
      <p:sp>
        <p:nvSpPr>
          <p:cNvPr id="71683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D51A80C-D8B0-4B82-B481-84F0A1E272B5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4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7168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8163" y="484188"/>
            <a:ext cx="8131175" cy="5765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170395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endParaRPr lang="nl-BE" altLang="nl-BE">
              <a:ea typeface="Geneva"/>
              <a:cs typeface="Geneva"/>
            </a:endParaRPr>
          </a:p>
        </p:txBody>
      </p:sp>
      <p:sp>
        <p:nvSpPr>
          <p:cNvPr id="73731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B86BD07-322F-4000-8271-A2E956FFBFBE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5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7373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8500" y="484188"/>
            <a:ext cx="7896225" cy="5518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751335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dirty="0">
                <a:ea typeface="Geneva"/>
                <a:cs typeface="Geneva"/>
              </a:rPr>
              <a:t>Casus 1 </a:t>
            </a:r>
          </a:p>
        </p:txBody>
      </p:sp>
      <p:sp>
        <p:nvSpPr>
          <p:cNvPr id="95235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/>
            <a:r>
              <a:rPr lang="nl-BE" altLang="nl-BE" dirty="0">
                <a:ea typeface="Geneva"/>
                <a:cs typeface="Geneva"/>
              </a:rPr>
              <a:t>man, 63 jaar</a:t>
            </a: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diabetes mellitus type 2 sinds 2013</a:t>
            </a: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G 98kg, L 178 cm, </a:t>
            </a:r>
            <a:r>
              <a:rPr lang="nl-BE" altLang="nl-BE" b="1" dirty="0">
                <a:ea typeface="Geneva"/>
                <a:cs typeface="Geneva"/>
              </a:rPr>
              <a:t>BMI 30.9</a:t>
            </a:r>
            <a:r>
              <a:rPr lang="nl-BE" altLang="nl-BE" dirty="0">
                <a:ea typeface="Geneva"/>
                <a:cs typeface="Geneva"/>
              </a:rPr>
              <a:t>, bloeddruk 145/90</a:t>
            </a: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VG: jicht, AHT, hypercholesterolemie, knieprothese links</a:t>
            </a: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Rookt, alcohol 15</a:t>
            </a:r>
            <a:r>
              <a:rPr lang="nl-BE" altLang="nl-BE" baseline="30000" dirty="0">
                <a:ea typeface="Geneva"/>
                <a:cs typeface="Geneva"/>
              </a:rPr>
              <a:t>E</a:t>
            </a:r>
            <a:r>
              <a:rPr lang="nl-BE" altLang="nl-BE" dirty="0">
                <a:ea typeface="Geneva"/>
                <a:cs typeface="Geneva"/>
              </a:rPr>
              <a:t>/week</a:t>
            </a: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Geen vasculaire complicaties, behoudens </a:t>
            </a:r>
            <a:r>
              <a:rPr lang="nl-BE" altLang="nl-BE" dirty="0" err="1">
                <a:ea typeface="Geneva"/>
                <a:cs typeface="Geneva"/>
              </a:rPr>
              <a:t>microalbuminurie</a:t>
            </a:r>
            <a:endParaRPr lang="nl-BE" altLang="nl-BE" dirty="0">
              <a:ea typeface="Geneva"/>
              <a:cs typeface="Geneva"/>
            </a:endParaRP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Diabetesmedicatie: </a:t>
            </a:r>
            <a:r>
              <a:rPr lang="nl-BE" altLang="nl-BE" b="1" dirty="0">
                <a:ea typeface="Geneva"/>
                <a:cs typeface="Geneva"/>
              </a:rPr>
              <a:t>metformine 850mg 3x/dag, </a:t>
            </a:r>
            <a:r>
              <a:rPr lang="nl-BE" altLang="nl-BE" b="1" dirty="0" err="1">
                <a:ea typeface="Geneva"/>
                <a:cs typeface="Geneva"/>
              </a:rPr>
              <a:t>Unidiamicron</a:t>
            </a:r>
            <a:r>
              <a:rPr lang="nl-BE" altLang="nl-BE" b="1" dirty="0">
                <a:ea typeface="Geneva"/>
                <a:cs typeface="Geneva"/>
              </a:rPr>
              <a:t> 60mg 1comp ‘s morgens</a:t>
            </a:r>
          </a:p>
          <a:p>
            <a:pPr eaLnBrk="1" hangingPunct="1"/>
            <a:r>
              <a:rPr lang="nl-BE" altLang="nl-BE" dirty="0">
                <a:ea typeface="Geneva"/>
                <a:cs typeface="Geneva"/>
              </a:rPr>
              <a:t>Overige medicatie: simvastatine 20mg/dag, </a:t>
            </a:r>
            <a:r>
              <a:rPr lang="nl-BE" altLang="nl-BE" dirty="0" err="1">
                <a:ea typeface="Geneva"/>
                <a:cs typeface="Geneva"/>
              </a:rPr>
              <a:t>Lisinopril</a:t>
            </a:r>
            <a:r>
              <a:rPr lang="nl-BE" altLang="nl-BE" dirty="0">
                <a:ea typeface="Geneva"/>
                <a:cs typeface="Geneva"/>
              </a:rPr>
              <a:t> 20mg/dag, </a:t>
            </a:r>
            <a:r>
              <a:rPr lang="nl-BE" altLang="nl-BE" dirty="0" err="1">
                <a:ea typeface="Geneva"/>
                <a:cs typeface="Geneva"/>
              </a:rPr>
              <a:t>Redomex</a:t>
            </a:r>
            <a:r>
              <a:rPr lang="nl-BE" altLang="nl-BE" dirty="0">
                <a:ea typeface="Geneva"/>
                <a:cs typeface="Geneva"/>
              </a:rPr>
              <a:t> 25mg/dag, Allopurinol</a:t>
            </a:r>
          </a:p>
        </p:txBody>
      </p:sp>
      <p:sp>
        <p:nvSpPr>
          <p:cNvPr id="95236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1363" indent="-284163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39825" indent="-227013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597025" indent="-227013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2638" indent="-227013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09838" indent="-2270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67038" indent="-2270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4238" indent="-2270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1438" indent="-2270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170E52D-113C-4576-9420-ABA76EEE7CDE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6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690743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>
                <a:ea typeface="Geneva"/>
                <a:cs typeface="Geneva"/>
              </a:rPr>
              <a:t>Casus 1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>
              <a:defRPr/>
            </a:pPr>
            <a:r>
              <a:rPr lang="nl-BE" dirty="0"/>
              <a:t>labo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Glycemie nuchter: 191mg/dl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b="1" dirty="0">
                <a:sym typeface="Wingdings" panose="05000000000000000000" pitchFamily="2" charset="2"/>
              </a:rPr>
              <a:t>HbA1c: 9,5%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Totaal cholesterol: 225mg/dl, HDL-cholesterol: 36mg/dl, LDL-cholesterol: 115mg/dl, triglyceriden 385mg/dl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Normale nierfunctie en levertesten</a:t>
            </a:r>
          </a:p>
          <a:p>
            <a:pPr marL="0" indent="0" eaLnBrk="1" hangingPunct="1">
              <a:buFontTx/>
              <a:buNone/>
              <a:defRPr/>
            </a:pPr>
            <a:endParaRPr lang="nl-BE" dirty="0">
              <a:sym typeface="Wingdings" panose="05000000000000000000" pitchFamily="2" charset="2"/>
            </a:endParaRPr>
          </a:p>
          <a:p>
            <a:pPr marL="0" indent="0" eaLnBrk="1" hangingPunct="1">
              <a:buFontTx/>
              <a:buNone/>
              <a:defRPr/>
            </a:pPr>
            <a:endParaRPr lang="nl-BE" dirty="0"/>
          </a:p>
        </p:txBody>
      </p:sp>
      <p:sp>
        <p:nvSpPr>
          <p:cNvPr id="100356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BDC6AA8-4018-425B-B1F7-B9D70CBB2DB6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7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608743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726" y="480484"/>
            <a:ext cx="7432675" cy="831949"/>
          </a:xfrm>
        </p:spPr>
        <p:txBody>
          <a:bodyPr/>
          <a:lstStyle/>
          <a:p>
            <a:r>
              <a:rPr lang="nl-BE" sz="2800" dirty="0"/>
              <a:t>Casus 1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18</a:t>
            </a:fld>
            <a:endParaRPr lang="nl-NL"/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158" y="1086522"/>
            <a:ext cx="6766560" cy="4787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Ovaal 5"/>
          <p:cNvSpPr/>
          <p:nvPr/>
        </p:nvSpPr>
        <p:spPr bwMode="auto">
          <a:xfrm>
            <a:off x="2271186" y="3848211"/>
            <a:ext cx="848531" cy="1716518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18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chthoek 2"/>
          <p:cNvSpPr/>
          <p:nvPr/>
        </p:nvSpPr>
        <p:spPr bwMode="auto">
          <a:xfrm>
            <a:off x="2350235" y="4881838"/>
            <a:ext cx="702803" cy="196483"/>
          </a:xfrm>
          <a:prstGeom prst="rect">
            <a:avLst/>
          </a:prstGeom>
          <a:noFill/>
          <a:ln w="38100" cap="flat" cmpd="sng" algn="ctr">
            <a:solidFill>
              <a:srgbClr val="97BF0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18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06617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Incretines</a:t>
            </a:r>
            <a:r>
              <a:rPr lang="fr-BE" altLang="nl-BE">
                <a:ea typeface="Geneva"/>
                <a:cs typeface="Geneva"/>
              </a:rPr>
              <a:t> </a:t>
            </a:r>
            <a:endParaRPr lang="nl-BE" altLang="nl-BE">
              <a:ea typeface="Geneva"/>
              <a:cs typeface="Geneva"/>
            </a:endParaRPr>
          </a:p>
        </p:txBody>
      </p:sp>
      <p:sp>
        <p:nvSpPr>
          <p:cNvPr id="8294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3D125DE-16BB-42FD-87B8-53A783B929D3}" type="slidenum">
              <a:rPr lang="nl-NL" altLang="nl-BE" sz="1000" smtClean="0">
                <a:solidFill>
                  <a:srgbClr val="7F7F7F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9</a:t>
            </a:fld>
            <a:endParaRPr lang="nl-NL" altLang="nl-BE" sz="100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pic>
        <p:nvPicPr>
          <p:cNvPr id="8294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27225" y="1404938"/>
            <a:ext cx="5127625" cy="42243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290194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ext Placeholder 4"/>
          <p:cNvSpPr>
            <a:spLocks noGrp="1"/>
          </p:cNvSpPr>
          <p:nvPr>
            <p:ph type="body" idx="1"/>
          </p:nvPr>
        </p:nvSpPr>
        <p:spPr>
          <a:xfrm>
            <a:off x="414338" y="1131888"/>
            <a:ext cx="4040187" cy="639762"/>
          </a:xfrm>
        </p:spPr>
        <p:txBody>
          <a:bodyPr/>
          <a:lstStyle/>
          <a:p>
            <a:pPr eaLnBrk="1" hangingPunct="1"/>
            <a:endParaRPr lang="nl-BE" altLang="nl-BE" sz="2000" b="0">
              <a:ea typeface="Geneva"/>
              <a:cs typeface="Geneva"/>
            </a:endParaRPr>
          </a:p>
        </p:txBody>
      </p:sp>
      <p:sp>
        <p:nvSpPr>
          <p:cNvPr id="45059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5703888" y="1111250"/>
            <a:ext cx="2960687" cy="639763"/>
          </a:xfrm>
        </p:spPr>
        <p:txBody>
          <a:bodyPr/>
          <a:lstStyle/>
          <a:p>
            <a:pPr eaLnBrk="1" hangingPunct="1"/>
            <a:endParaRPr lang="nl-BE" altLang="nl-BE" sz="2000" b="0">
              <a:ea typeface="Geneva"/>
              <a:cs typeface="Geneva"/>
            </a:endParaRPr>
          </a:p>
        </p:txBody>
      </p:sp>
      <p:sp>
        <p:nvSpPr>
          <p:cNvPr id="45060" name="Content Placeholder 6"/>
          <p:cNvSpPr>
            <a:spLocks noGrp="1"/>
          </p:cNvSpPr>
          <p:nvPr>
            <p:ph sz="quarter" idx="4"/>
          </p:nvPr>
        </p:nvSpPr>
        <p:spPr>
          <a:xfrm>
            <a:off x="5573713" y="2174875"/>
            <a:ext cx="3113087" cy="2549525"/>
          </a:xfrm>
        </p:spPr>
        <p:txBody>
          <a:bodyPr/>
          <a:lstStyle/>
          <a:p>
            <a:pPr eaLnBrk="1" hangingPunct="1"/>
            <a:endParaRPr lang="nl-BE" altLang="nl-BE" sz="2000">
              <a:ea typeface="Geneva"/>
              <a:cs typeface="Geneva"/>
            </a:endParaRPr>
          </a:p>
        </p:txBody>
      </p:sp>
      <p:sp>
        <p:nvSpPr>
          <p:cNvPr id="45061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6340475" y="6284913"/>
            <a:ext cx="2133600" cy="3365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nl-NL" altLang="nl-BE" sz="1000">
                <a:latin typeface="Arial" panose="020B0604020202020204" pitchFamily="34" charset="0"/>
              </a:rPr>
              <a:t>IDF ATLAS versie 2015</a:t>
            </a:r>
          </a:p>
        </p:txBody>
      </p:sp>
      <p:sp>
        <p:nvSpPr>
          <p:cNvPr id="45062" name="Title 2"/>
          <p:cNvSpPr>
            <a:spLocks noGrp="1"/>
          </p:cNvSpPr>
          <p:nvPr>
            <p:ph type="title" idx="4294967295"/>
          </p:nvPr>
        </p:nvSpPr>
        <p:spPr>
          <a:xfrm>
            <a:off x="544513" y="295275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Diabetes mellitus wereldwijd</a:t>
            </a:r>
            <a:endParaRPr lang="nl-BE" altLang="nl-BE" sz="2800">
              <a:ea typeface="Geneva"/>
              <a:cs typeface="Geneva"/>
            </a:endParaRPr>
          </a:p>
        </p:txBody>
      </p:sp>
      <p:sp>
        <p:nvSpPr>
          <p:cNvPr id="45063" name="TextBox 8"/>
          <p:cNvSpPr txBox="1">
            <a:spLocks noChangeArrowheads="1"/>
          </p:cNvSpPr>
          <p:nvPr/>
        </p:nvSpPr>
        <p:spPr bwMode="auto">
          <a:xfrm>
            <a:off x="414338" y="5681663"/>
            <a:ext cx="35258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fr-BE" altLang="nl-BE" sz="1800">
                <a:solidFill>
                  <a:schemeClr val="tx1"/>
                </a:solidFill>
                <a:latin typeface="Arial" panose="020B0604020202020204" pitchFamily="34" charset="0"/>
              </a:rPr>
              <a:t>IDF Diabetes atlas version 6 2014</a:t>
            </a:r>
            <a:endParaRPr lang="nl-BE" altLang="nl-BE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45064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14400" y="854075"/>
            <a:ext cx="6797675" cy="51625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487262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Het octet….</a:t>
            </a: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20</a:t>
            </a:fld>
            <a:endParaRPr lang="nl-NL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414" y="1306286"/>
            <a:ext cx="6343650" cy="43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0763" y="5521440"/>
            <a:ext cx="2447925" cy="309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990138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GLP-1 analoog versus DDP-4 inhibitor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21</a:t>
            </a:fld>
            <a:endParaRPr lang="nl-NL"/>
          </a:p>
        </p:txBody>
      </p:sp>
      <p:pic>
        <p:nvPicPr>
          <p:cNvPr id="19" name="Tijdelijke aanduiding voor inhoud 18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0726" y="1902936"/>
            <a:ext cx="7572375" cy="3286125"/>
          </a:xfrm>
          <a:prstGeom prst="rect">
            <a:avLst/>
          </a:prstGeom>
        </p:spPr>
      </p:pic>
      <p:sp>
        <p:nvSpPr>
          <p:cNvPr id="20" name="Text Box 25"/>
          <p:cNvSpPr txBox="1">
            <a:spLocks noChangeArrowheads="1"/>
          </p:cNvSpPr>
          <p:nvPr/>
        </p:nvSpPr>
        <p:spPr bwMode="auto">
          <a:xfrm>
            <a:off x="355283" y="6484937"/>
            <a:ext cx="5270500" cy="19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39" tIns="40819" rIns="81639" bIns="40819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50000"/>
              </a:spcBef>
              <a:buClrTx/>
              <a:buFontTx/>
              <a:buNone/>
            </a:pPr>
            <a:r>
              <a:rPr lang="en-GB" altLang="en-US" sz="1400" b="0" dirty="0">
                <a:solidFill>
                  <a:srgbClr val="7F7F7F"/>
                </a:solidFill>
                <a:cs typeface="Arial" pitchFamily="34" charset="0"/>
              </a:rPr>
              <a:t>Drucker DJ and </a:t>
            </a:r>
            <a:r>
              <a:rPr lang="en-GB" altLang="en-US" sz="1400" b="0" dirty="0" err="1">
                <a:solidFill>
                  <a:srgbClr val="7F7F7F"/>
                </a:solidFill>
                <a:cs typeface="Arial" pitchFamily="34" charset="0"/>
              </a:rPr>
              <a:t>Nauck</a:t>
            </a:r>
            <a:r>
              <a:rPr lang="en-GB" altLang="en-US" sz="1400" b="0" dirty="0">
                <a:solidFill>
                  <a:srgbClr val="7F7F7F"/>
                </a:solidFill>
                <a:cs typeface="Arial" pitchFamily="34" charset="0"/>
              </a:rPr>
              <a:t> MA. </a:t>
            </a:r>
            <a:r>
              <a:rPr lang="en-GB" altLang="en-US" sz="1400" b="0" i="1" dirty="0">
                <a:solidFill>
                  <a:srgbClr val="7F7F7F"/>
                </a:solidFill>
                <a:cs typeface="Arial" pitchFamily="34" charset="0"/>
              </a:rPr>
              <a:t>Lancet 2006</a:t>
            </a:r>
            <a:r>
              <a:rPr lang="en-GB" altLang="en-US" sz="1400" b="0" dirty="0">
                <a:solidFill>
                  <a:srgbClr val="7F7F7F"/>
                </a:solidFill>
                <a:cs typeface="Arial" pitchFamily="34" charset="0"/>
              </a:rPr>
              <a:t>;368:1696-705</a:t>
            </a:r>
          </a:p>
        </p:txBody>
      </p:sp>
    </p:spTree>
    <p:extLst>
      <p:ext uri="{BB962C8B-B14F-4D97-AF65-F5344CB8AC3E}">
        <p14:creationId xmlns:p14="http://schemas.microsoft.com/office/powerpoint/2010/main" val="2951157230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fr-BE" altLang="nl-BE">
                <a:ea typeface="Geneva"/>
                <a:cs typeface="Geneva"/>
              </a:rPr>
              <a:t>GLP-1 analogen</a:t>
            </a:r>
            <a:endParaRPr lang="nl-BE" altLang="nl-BE">
              <a:ea typeface="Geneva"/>
              <a:cs typeface="Geneva"/>
            </a:endParaRPr>
          </a:p>
        </p:txBody>
      </p:sp>
      <p:sp>
        <p:nvSpPr>
          <p:cNvPr id="8806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fld id="{83B2F450-D3B7-49A4-AC0F-3C27881DB6A6}" type="slidenum">
              <a:rPr lang="nl-NL" altLang="nl-BE" baseline="0" smtClean="0"/>
              <a:pPr/>
              <a:t>22</a:t>
            </a:fld>
            <a:endParaRPr lang="nl-NL" altLang="nl-BE" baseline="0"/>
          </a:p>
        </p:txBody>
      </p:sp>
      <p:pic>
        <p:nvPicPr>
          <p:cNvPr id="88068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76350" y="1374775"/>
            <a:ext cx="6421438" cy="41513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8884371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17500" y="1547813"/>
          <a:ext cx="8508999" cy="4287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6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36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36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237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a-DK" sz="2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Generische</a:t>
                      </a:r>
                      <a:r>
                        <a:rPr kumimoji="0" lang="da-DK" sz="2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da-DK" sz="2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naam</a:t>
                      </a:r>
                      <a:endParaRPr kumimoji="0" lang="da-DK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B7FF"/>
                        </a:solidFill>
                        <a:effectLst/>
                        <a:latin typeface="Verdana" pitchFamily="34" charset="0"/>
                        <a:ea typeface="ＭＳ Ｐゴシック" pitchFamily="34" charset="-128"/>
                      </a:endParaRPr>
                    </a:p>
                  </a:txBody>
                  <a:tcPr marL="72000" marR="72000" marT="96127" marB="961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a-DK" sz="2400" u="none" strike="noStrike" cap="none" normalizeH="0" baseline="0" dirty="0" err="1">
                          <a:ln>
                            <a:noFill/>
                          </a:ln>
                          <a:effectLst/>
                        </a:rPr>
                        <a:t>Handelsnaam</a:t>
                      </a:r>
                      <a:endParaRPr kumimoji="0" lang="da-DK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B7FF"/>
                        </a:solidFill>
                        <a:effectLst/>
                        <a:latin typeface="Verdana" pitchFamily="34" charset="0"/>
                        <a:ea typeface="ＭＳ Ｐゴシック" pitchFamily="34" charset="-128"/>
                      </a:endParaRPr>
                    </a:p>
                  </a:txBody>
                  <a:tcPr marL="72000" marR="72000" marT="96127" marB="961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da-DK" sz="2400" u="none" strike="noStrike" cap="none" normalizeH="0" baseline="0" dirty="0">
                          <a:ln>
                            <a:noFill/>
                          </a:ln>
                          <a:effectLst/>
                        </a:rPr>
                        <a:t>Fabrikant</a:t>
                      </a:r>
                      <a:endParaRPr kumimoji="0" lang="da-DK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B7FF"/>
                        </a:solidFill>
                        <a:effectLst/>
                        <a:latin typeface="Verdana" pitchFamily="34" charset="0"/>
                        <a:ea typeface="ＭＳ Ｐゴシック" pitchFamily="34" charset="-128"/>
                      </a:endParaRPr>
                    </a:p>
                  </a:txBody>
                  <a:tcPr marL="72000" marR="72000" marT="96127" marB="96127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0586">
                <a:tc>
                  <a:txBody>
                    <a:bodyPr/>
                    <a:lstStyle/>
                    <a:p>
                      <a:r>
                        <a:rPr lang="da-DK" sz="2400" dirty="0" err="1"/>
                        <a:t>Exenatide</a:t>
                      </a:r>
                      <a:endParaRPr lang="da-DK" sz="2400" dirty="0"/>
                    </a:p>
                  </a:txBody>
                  <a:tcPr marT="61041" marB="61041"/>
                </a:tc>
                <a:tc>
                  <a:txBody>
                    <a:bodyPr/>
                    <a:lstStyle/>
                    <a:p>
                      <a:r>
                        <a:rPr lang="da-DK" sz="2400" dirty="0" err="1"/>
                        <a:t>Byetta</a:t>
                      </a:r>
                      <a:r>
                        <a:rPr lang="da-DK" sz="2400" baseline="30000" dirty="0"/>
                        <a:t>®</a:t>
                      </a:r>
                    </a:p>
                  </a:txBody>
                  <a:tcPr marT="61041" marB="6104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ＭＳ Ｐゴシック" pitchFamily="34" charset="-128"/>
                        </a:rPr>
                        <a:t>AstraZeneca</a:t>
                      </a:r>
                    </a:p>
                  </a:txBody>
                  <a:tcPr marL="72000" marR="72000" marT="96127" marB="96127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0586">
                <a:tc>
                  <a:txBody>
                    <a:bodyPr/>
                    <a:lstStyle/>
                    <a:p>
                      <a:r>
                        <a:rPr lang="da-DK" sz="2400" dirty="0" err="1"/>
                        <a:t>Liraglutide</a:t>
                      </a:r>
                      <a:endParaRPr lang="da-DK" sz="2400" dirty="0"/>
                    </a:p>
                  </a:txBody>
                  <a:tcPr marT="61041" marB="61041"/>
                </a:tc>
                <a:tc>
                  <a:txBody>
                    <a:bodyPr/>
                    <a:lstStyle/>
                    <a:p>
                      <a:r>
                        <a:rPr lang="da-DK" sz="2400" dirty="0" err="1"/>
                        <a:t>Victoza</a:t>
                      </a:r>
                      <a:r>
                        <a:rPr lang="da-DK" sz="2400" baseline="30000" dirty="0"/>
                        <a:t>®</a:t>
                      </a:r>
                    </a:p>
                  </a:txBody>
                  <a:tcPr marT="61041" marB="6104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ＭＳ Ｐゴシック" pitchFamily="34" charset="-128"/>
                        </a:rPr>
                        <a:t>Novo Nordisk</a:t>
                      </a:r>
                    </a:p>
                  </a:txBody>
                  <a:tcPr marL="72000" marR="72000" marT="96127" marB="96127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0586">
                <a:tc>
                  <a:txBody>
                    <a:bodyPr/>
                    <a:lstStyle/>
                    <a:p>
                      <a:r>
                        <a:rPr lang="da-DK" sz="2400" dirty="0" err="1"/>
                        <a:t>Lixisenatide</a:t>
                      </a:r>
                      <a:r>
                        <a:rPr lang="da-DK" sz="2400" dirty="0"/>
                        <a:t> </a:t>
                      </a:r>
                    </a:p>
                  </a:txBody>
                  <a:tcPr marT="61041" marB="61041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2400" dirty="0" err="1"/>
                        <a:t>Lyxumia</a:t>
                      </a:r>
                      <a:r>
                        <a:rPr lang="da-DK" sz="2400" baseline="30000" dirty="0"/>
                        <a:t>®</a:t>
                      </a:r>
                      <a:r>
                        <a:rPr lang="da-DK" sz="2400" dirty="0"/>
                        <a:t> </a:t>
                      </a:r>
                    </a:p>
                  </a:txBody>
                  <a:tcPr marT="61041" marB="61041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ＭＳ Ｐゴシック" pitchFamily="34" charset="-128"/>
                        </a:rPr>
                        <a:t>Sanofi</a:t>
                      </a:r>
                      <a:r>
                        <a:rPr kumimoji="0" lang="da-DK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da-DK" sz="2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ＭＳ Ｐゴシック" pitchFamily="34" charset="-128"/>
                        </a:rPr>
                        <a:t>aventis</a:t>
                      </a:r>
                      <a:endParaRPr kumimoji="0" lang="da-DK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ＭＳ Ｐゴシック" pitchFamily="34" charset="-128"/>
                      </a:endParaRPr>
                    </a:p>
                  </a:txBody>
                  <a:tcPr marL="72000" marR="72000" marT="96127" marB="96127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0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enatide</a:t>
                      </a:r>
                      <a:r>
                        <a:rPr lang="da-DK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R </a:t>
                      </a:r>
                    </a:p>
                  </a:txBody>
                  <a:tcPr marT="61097" marB="6109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ydureon</a:t>
                      </a:r>
                      <a:r>
                        <a:rPr lang="da-DK" sz="2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®</a:t>
                      </a:r>
                      <a:r>
                        <a:rPr lang="da-DK" sz="2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61097" marB="6109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traZeneca</a:t>
                      </a:r>
                    </a:p>
                  </a:txBody>
                  <a:tcPr marL="72000" marR="72000" marT="96219" marB="96219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0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biglutide</a:t>
                      </a:r>
                      <a:endParaRPr lang="da-DK" sz="2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1097" marB="6109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perzan</a:t>
                      </a:r>
                      <a:r>
                        <a:rPr lang="da-DK" sz="2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®</a:t>
                      </a:r>
                      <a:endParaRPr lang="da-DK" sz="2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1097" marB="6109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SK</a:t>
                      </a:r>
                    </a:p>
                  </a:txBody>
                  <a:tcPr marL="72000" marR="72000" marT="96219" marB="96219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0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laglutide</a:t>
                      </a:r>
                      <a:endParaRPr lang="da-DK" sz="2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1097" marB="6109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ulicity</a:t>
                      </a:r>
                      <a:r>
                        <a:rPr lang="da-DK" sz="2400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®</a:t>
                      </a:r>
                      <a:endParaRPr lang="da-DK" sz="2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1097" marB="6109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da-DK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</a:t>
                      </a:r>
                      <a:r>
                        <a:rPr lang="da-DK" sz="2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illy</a:t>
                      </a:r>
                      <a:endParaRPr lang="da-DK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96219" marB="96219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6052" name="Title 2"/>
          <p:cNvSpPr>
            <a:spLocks noGrp="1"/>
          </p:cNvSpPr>
          <p:nvPr>
            <p:ph type="title"/>
          </p:nvPr>
        </p:nvSpPr>
        <p:spPr>
          <a:xfrm>
            <a:off x="317500" y="687388"/>
            <a:ext cx="8509000" cy="522287"/>
          </a:xfrm>
        </p:spPr>
        <p:txBody>
          <a:bodyPr/>
          <a:lstStyle/>
          <a:p>
            <a:pPr eaLnBrk="1" hangingPunct="1"/>
            <a:r>
              <a:rPr lang="da-DK" altLang="en-US" sz="2800">
                <a:ea typeface="Geneva"/>
                <a:cs typeface="Geneva"/>
              </a:rPr>
              <a:t>Beschikbare GLP-1-receptoragonisten</a:t>
            </a:r>
          </a:p>
        </p:txBody>
      </p:sp>
      <p:sp>
        <p:nvSpPr>
          <p:cNvPr id="86053" name="Slide Number Placeholder 5"/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CB1196D-911B-4764-81E2-8843BD26A80B}" type="slidenum">
              <a:rPr lang="da-DK" altLang="en-US" sz="1000" smtClean="0">
                <a:solidFill>
                  <a:srgbClr val="001965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3</a:t>
            </a:fld>
            <a:endParaRPr lang="da-DK" altLang="en-US" sz="1000">
              <a:solidFill>
                <a:srgbClr val="001965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65896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GLP-1 agonisten terugbetalingscriteria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/>
              <a:t>minstens 3 maanden onder duale therapie </a:t>
            </a:r>
            <a:r>
              <a:rPr lang="nl-BE" sz="1600" i="1" dirty="0"/>
              <a:t>(metformine + SU of metformine + </a:t>
            </a:r>
            <a:r>
              <a:rPr lang="nl-BE" sz="1600" i="1" dirty="0" err="1"/>
              <a:t>glitazone</a:t>
            </a:r>
            <a:r>
              <a:rPr lang="nl-BE" sz="1600" i="1" dirty="0"/>
              <a:t>)</a:t>
            </a:r>
          </a:p>
          <a:p>
            <a:r>
              <a:rPr lang="nl-BE" dirty="0"/>
              <a:t>HbA1c &gt; 7,5%</a:t>
            </a:r>
          </a:p>
          <a:p>
            <a:r>
              <a:rPr lang="nl-BE" dirty="0"/>
              <a:t>met langwerkend insuline </a:t>
            </a:r>
            <a:r>
              <a:rPr lang="nl-BE" sz="1600" i="1" dirty="0"/>
              <a:t>(alleen </a:t>
            </a:r>
            <a:r>
              <a:rPr lang="nl-BE" sz="1600" i="1" dirty="0" err="1"/>
              <a:t>Eperzan</a:t>
            </a:r>
            <a:r>
              <a:rPr lang="nl-BE" sz="1600" i="1" dirty="0"/>
              <a:t>/</a:t>
            </a:r>
            <a:r>
              <a:rPr lang="nl-BE" sz="1600" i="1" dirty="0" err="1"/>
              <a:t>Lyxumia</a:t>
            </a:r>
            <a:r>
              <a:rPr lang="nl-BE" sz="1600" i="1" dirty="0"/>
              <a:t>)</a:t>
            </a:r>
          </a:p>
          <a:p>
            <a:r>
              <a:rPr lang="nl-BE" dirty="0"/>
              <a:t>Jaarlijks te verlengen indien verbetering van HbA1c ≥ 1% of HbA1c 7% </a:t>
            </a:r>
            <a:r>
              <a:rPr lang="nl-BE" sz="1600" dirty="0"/>
              <a:t>(tenzij in zorgtraject diabetes)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8737004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1554" name="Object 7"/>
          <p:cNvGraphicFramePr>
            <a:graphicFrameLocks/>
          </p:cNvGraphicFramePr>
          <p:nvPr>
            <p:extLst/>
          </p:nvPr>
        </p:nvGraphicFramePr>
        <p:xfrm>
          <a:off x="683569" y="1904916"/>
          <a:ext cx="7762875" cy="309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Worksheet" r:id="rId4" imgW="8848745" imgH="3657690" progId="Excel.Sheet.8">
                  <p:embed/>
                </p:oleObj>
              </mc:Choice>
              <mc:Fallback>
                <p:oleObj name="Worksheet" r:id="rId4" imgW="8848745" imgH="365769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3569" y="1904916"/>
                        <a:ext cx="7762875" cy="309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555" name="Title 1"/>
          <p:cNvSpPr>
            <a:spLocks noGrp="1"/>
          </p:cNvSpPr>
          <p:nvPr>
            <p:ph type="title"/>
          </p:nvPr>
        </p:nvSpPr>
        <p:spPr>
          <a:xfrm>
            <a:off x="250825" y="950244"/>
            <a:ext cx="8980488" cy="390525"/>
          </a:xfrm>
        </p:spPr>
        <p:txBody>
          <a:bodyPr/>
          <a:lstStyle/>
          <a:p>
            <a:endParaRPr lang="en-GB" altLang="en-US" sz="1600" baseline="-25000" dirty="0"/>
          </a:p>
        </p:txBody>
      </p:sp>
      <p:sp>
        <p:nvSpPr>
          <p:cNvPr id="151556" name="TextBox 36"/>
          <p:cNvSpPr txBox="1">
            <a:spLocks noChangeArrowheads="1"/>
          </p:cNvSpPr>
          <p:nvPr/>
        </p:nvSpPr>
        <p:spPr bwMode="auto">
          <a:xfrm rot="16200000">
            <a:off x="-833437" y="2820888"/>
            <a:ext cx="247491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600" b="1" baseline="0">
                <a:solidFill>
                  <a:srgbClr val="001965"/>
                </a:solidFill>
                <a:cs typeface="Arial" pitchFamily="34" charset="0"/>
              </a:rPr>
              <a:t>Verandering in HbA</a:t>
            </a:r>
            <a:r>
              <a:rPr lang="en-GB" altLang="en-US" sz="1600" b="1">
                <a:solidFill>
                  <a:srgbClr val="001965"/>
                </a:solidFill>
                <a:cs typeface="Arial" pitchFamily="34" charset="0"/>
              </a:rPr>
              <a:t>1c</a:t>
            </a:r>
            <a:r>
              <a:rPr lang="en-GB" altLang="en-US" sz="1600" b="1" baseline="0">
                <a:solidFill>
                  <a:srgbClr val="001965"/>
                </a:solidFill>
                <a:cs typeface="Arial" pitchFamily="34" charset="0"/>
              </a:rPr>
              <a:t> (%)</a:t>
            </a:r>
          </a:p>
        </p:txBody>
      </p:sp>
      <p:sp>
        <p:nvSpPr>
          <p:cNvPr id="151557" name="TextBox 39"/>
          <p:cNvSpPr txBox="1">
            <a:spLocks noChangeArrowheads="1"/>
          </p:cNvSpPr>
          <p:nvPr/>
        </p:nvSpPr>
        <p:spPr bwMode="auto">
          <a:xfrm>
            <a:off x="1371601" y="3773389"/>
            <a:ext cx="9683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&lt;0.0001</a:t>
            </a:r>
          </a:p>
        </p:txBody>
      </p:sp>
      <p:sp>
        <p:nvSpPr>
          <p:cNvPr id="151558" name="TextBox 40"/>
          <p:cNvSpPr txBox="1">
            <a:spLocks noChangeArrowheads="1"/>
          </p:cNvSpPr>
          <p:nvPr/>
        </p:nvSpPr>
        <p:spPr bwMode="auto">
          <a:xfrm>
            <a:off x="3635375" y="3586063"/>
            <a:ext cx="9398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=0.085*</a:t>
            </a:r>
          </a:p>
        </p:txBody>
      </p:sp>
      <p:sp>
        <p:nvSpPr>
          <p:cNvPr id="151559" name="TextBox 41"/>
          <p:cNvSpPr txBox="1">
            <a:spLocks noChangeArrowheads="1"/>
          </p:cNvSpPr>
          <p:nvPr/>
        </p:nvSpPr>
        <p:spPr bwMode="auto">
          <a:xfrm>
            <a:off x="1403350" y="1838226"/>
            <a:ext cx="6604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LEAD-6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en-GB" altLang="en-US" sz="900" b="1" baseline="0">
              <a:solidFill>
                <a:srgbClr val="001965"/>
              </a:solidFill>
              <a:cs typeface="Arial" pitchFamily="34" charset="0"/>
            </a:endParaRPr>
          </a:p>
        </p:txBody>
      </p:sp>
      <p:sp>
        <p:nvSpPr>
          <p:cNvPr id="151560" name="TextBox 42"/>
          <p:cNvSpPr txBox="1">
            <a:spLocks noChangeArrowheads="1"/>
          </p:cNvSpPr>
          <p:nvPr/>
        </p:nvSpPr>
        <p:spPr bwMode="auto">
          <a:xfrm>
            <a:off x="2492375" y="1849338"/>
            <a:ext cx="10287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DURATION-6</a:t>
            </a:r>
          </a:p>
        </p:txBody>
      </p:sp>
      <p:sp>
        <p:nvSpPr>
          <p:cNvPr id="151561" name="TextBox 43"/>
          <p:cNvSpPr txBox="1">
            <a:spLocks noChangeArrowheads="1"/>
          </p:cNvSpPr>
          <p:nvPr/>
        </p:nvSpPr>
        <p:spPr bwMode="auto">
          <a:xfrm>
            <a:off x="3684588" y="1838227"/>
            <a:ext cx="989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HARMONY-7</a:t>
            </a:r>
          </a:p>
        </p:txBody>
      </p:sp>
      <p:sp>
        <p:nvSpPr>
          <p:cNvPr id="151562" name="TextBox 84"/>
          <p:cNvSpPr txBox="1">
            <a:spLocks noChangeArrowheads="1"/>
          </p:cNvSpPr>
          <p:nvPr/>
        </p:nvSpPr>
        <p:spPr bwMode="auto">
          <a:xfrm>
            <a:off x="2455863" y="4254401"/>
            <a:ext cx="96361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=0.002</a:t>
            </a:r>
          </a:p>
        </p:txBody>
      </p:sp>
      <p:grpSp>
        <p:nvGrpSpPr>
          <p:cNvPr id="151563" name="Group 206"/>
          <p:cNvGrpSpPr>
            <a:grpSpLocks/>
          </p:cNvGrpSpPr>
          <p:nvPr/>
        </p:nvGrpSpPr>
        <p:grpSpPr bwMode="auto">
          <a:xfrm rot="16200000" flipH="1">
            <a:off x="2902745" y="3885308"/>
            <a:ext cx="136525" cy="465137"/>
            <a:chOff x="7046273" y="3316407"/>
            <a:chExt cx="364465" cy="580031"/>
          </a:xfrm>
        </p:grpSpPr>
        <p:sp>
          <p:nvSpPr>
            <p:cNvPr id="151614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1615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38" name="Text Placeholder 2"/>
          <p:cNvSpPr txBox="1">
            <a:spLocks/>
          </p:cNvSpPr>
          <p:nvPr/>
        </p:nvSpPr>
        <p:spPr bwMode="auto">
          <a:xfrm>
            <a:off x="1116014" y="5351464"/>
            <a:ext cx="6916737" cy="669925"/>
          </a:xfrm>
          <a:prstGeom prst="rect">
            <a:avLst/>
          </a:prstGeom>
          <a:noFill/>
          <a:ln>
            <a:noFill/>
          </a:ln>
          <a:extLst/>
        </p:spPr>
        <p:txBody>
          <a:bodyPr lIns="91434" tIns="45717" rIns="91434" bIns="45717" anchor="b">
            <a:spAutoFit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80038"/>
              </a:buClr>
              <a:buNone/>
              <a:defRPr sz="80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lvl1pPr>
            <a:lvl2pPr marL="687388" indent="-2301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rgbClr val="001965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hlink"/>
              </a:buClr>
              <a:buChar char="•"/>
              <a:defRPr>
                <a:solidFill>
                  <a:srgbClr val="001965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DA2CC"/>
              </a:buClr>
              <a:buChar char="•"/>
              <a:defRPr sz="1600">
                <a:solidFill>
                  <a:srgbClr val="001965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CCCDA"/>
              </a:buClr>
              <a:buChar char="•"/>
              <a:defRPr sz="1600">
                <a:solidFill>
                  <a:srgbClr val="001965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9pPr>
          </a:lstStyle>
          <a:p>
            <a:pPr defTabSz="913384">
              <a:spcBef>
                <a:spcPts val="0"/>
              </a:spcBef>
              <a:defRPr/>
            </a:pPr>
            <a:r>
              <a:rPr lang="en-GB" sz="750" kern="0" baseline="0" dirty="0">
                <a:solidFill>
                  <a:srgbClr val="82786F"/>
                </a:solidFill>
              </a:rPr>
              <a:t>P-values are for statistical superiority unless otherwise noted. *Non-inferiority p-value = 0.085 (NI not met); **Treatment difference (nominal 95% CI)=-0.06 (-0.19, 0.07), p&lt;0.0001 for non inferiority vs. </a:t>
            </a:r>
            <a:r>
              <a:rPr lang="en-GB" sz="750" kern="0" baseline="0" dirty="0" err="1">
                <a:solidFill>
                  <a:srgbClr val="82786F"/>
                </a:solidFill>
              </a:rPr>
              <a:t>liraglutide</a:t>
            </a:r>
            <a:r>
              <a:rPr lang="en-GB" sz="750" kern="0" baseline="0" dirty="0">
                <a:solidFill>
                  <a:srgbClr val="82786F"/>
                </a:solidFill>
              </a:rPr>
              <a:t> (NI met); BID: 2x/dag; ER: extended release</a:t>
            </a:r>
          </a:p>
          <a:p>
            <a:pPr defTabSz="913384">
              <a:spcBef>
                <a:spcPts val="0"/>
              </a:spcBef>
              <a:defRPr/>
            </a:pPr>
            <a:r>
              <a:rPr lang="en-GB" sz="750" kern="0" baseline="0" dirty="0" err="1">
                <a:solidFill>
                  <a:srgbClr val="82786F"/>
                </a:solidFill>
              </a:rPr>
              <a:t>Buse</a:t>
            </a:r>
            <a:r>
              <a:rPr lang="en-GB" sz="750" kern="0" baseline="0" dirty="0">
                <a:solidFill>
                  <a:srgbClr val="82786F"/>
                </a:solidFill>
              </a:rPr>
              <a:t> JB et al</a:t>
            </a:r>
            <a:r>
              <a:rPr lang="en-GB" sz="750" i="1" kern="0" baseline="0" dirty="0">
                <a:solidFill>
                  <a:srgbClr val="82786F"/>
                </a:solidFill>
              </a:rPr>
              <a:t>.</a:t>
            </a:r>
            <a:r>
              <a:rPr lang="en-GB" sz="750" kern="0" baseline="0" dirty="0">
                <a:solidFill>
                  <a:srgbClr val="82786F"/>
                </a:solidFill>
              </a:rPr>
              <a:t> </a:t>
            </a:r>
            <a:r>
              <a:rPr lang="en-GB" sz="750" i="1" kern="0" baseline="0" dirty="0">
                <a:solidFill>
                  <a:srgbClr val="82786F"/>
                </a:solidFill>
              </a:rPr>
              <a:t>Lancet</a:t>
            </a:r>
            <a:r>
              <a:rPr lang="en-GB" sz="750" kern="0" baseline="0" dirty="0">
                <a:solidFill>
                  <a:srgbClr val="82786F"/>
                </a:solidFill>
              </a:rPr>
              <a:t> 2009;374:39–47 (LEAD-6); </a:t>
            </a:r>
            <a:r>
              <a:rPr lang="en-GB" sz="750" kern="0" baseline="0" dirty="0" err="1">
                <a:solidFill>
                  <a:srgbClr val="82786F"/>
                </a:solidFill>
              </a:rPr>
              <a:t>Buse</a:t>
            </a:r>
            <a:r>
              <a:rPr lang="en-GB" sz="750" kern="0" baseline="0" dirty="0">
                <a:solidFill>
                  <a:srgbClr val="82786F"/>
                </a:solidFill>
              </a:rPr>
              <a:t> JB et al</a:t>
            </a:r>
            <a:r>
              <a:rPr lang="en-GB" sz="750" i="1" kern="0" baseline="0" dirty="0">
                <a:solidFill>
                  <a:srgbClr val="82786F"/>
                </a:solidFill>
              </a:rPr>
              <a:t>.</a:t>
            </a:r>
            <a:r>
              <a:rPr lang="en-GB" sz="750" kern="0" baseline="0" dirty="0">
                <a:solidFill>
                  <a:srgbClr val="82786F"/>
                </a:solidFill>
              </a:rPr>
              <a:t> </a:t>
            </a:r>
            <a:r>
              <a:rPr lang="en-GB" sz="750" i="1" kern="0" baseline="0" dirty="0">
                <a:solidFill>
                  <a:srgbClr val="82786F"/>
                </a:solidFill>
              </a:rPr>
              <a:t>Lancet</a:t>
            </a:r>
            <a:r>
              <a:rPr lang="en-GB" sz="750" kern="0" baseline="0" dirty="0">
                <a:solidFill>
                  <a:srgbClr val="82786F"/>
                </a:solidFill>
              </a:rPr>
              <a:t> 2013;381:117–24 (DURATION-6); </a:t>
            </a:r>
            <a:r>
              <a:rPr lang="en-GB" sz="750" baseline="0" dirty="0">
                <a:solidFill>
                  <a:srgbClr val="82786F"/>
                </a:solidFill>
              </a:rPr>
              <a:t>Pratley RE et al</a:t>
            </a:r>
            <a:r>
              <a:rPr lang="en-GB" sz="750" i="1" baseline="0" dirty="0">
                <a:solidFill>
                  <a:srgbClr val="82786F"/>
                </a:solidFill>
              </a:rPr>
              <a:t>. Lancet Diabetes </a:t>
            </a:r>
            <a:r>
              <a:rPr lang="en-GB" sz="750" i="1" baseline="0" dirty="0" err="1">
                <a:solidFill>
                  <a:srgbClr val="82786F"/>
                </a:solidFill>
              </a:rPr>
              <a:t>Endocrinol</a:t>
            </a:r>
            <a:r>
              <a:rPr lang="en-GB" sz="750" i="1" baseline="0" dirty="0">
                <a:solidFill>
                  <a:srgbClr val="82786F"/>
                </a:solidFill>
              </a:rPr>
              <a:t> </a:t>
            </a:r>
            <a:r>
              <a:rPr lang="en-GB" sz="750" baseline="0" dirty="0">
                <a:solidFill>
                  <a:srgbClr val="82786F"/>
                </a:solidFill>
              </a:rPr>
              <a:t>2014;2:289–97 </a:t>
            </a:r>
            <a:r>
              <a:rPr lang="en-GB" sz="750" kern="0" baseline="0" dirty="0">
                <a:solidFill>
                  <a:srgbClr val="82786F"/>
                </a:solidFill>
              </a:rPr>
              <a:t>(Harmony-7); </a:t>
            </a:r>
            <a:r>
              <a:rPr lang="en-GB" sz="750" baseline="0" dirty="0" err="1">
                <a:solidFill>
                  <a:srgbClr val="82786F"/>
                </a:solidFill>
              </a:rPr>
              <a:t>Dungan</a:t>
            </a:r>
            <a:r>
              <a:rPr lang="en-GB" sz="750" baseline="0" dirty="0">
                <a:solidFill>
                  <a:srgbClr val="82786F"/>
                </a:solidFill>
              </a:rPr>
              <a:t> KM et al</a:t>
            </a:r>
            <a:r>
              <a:rPr lang="en-GB" sz="750" i="1" baseline="0" dirty="0">
                <a:solidFill>
                  <a:srgbClr val="82786F"/>
                </a:solidFill>
              </a:rPr>
              <a:t>. Lancet </a:t>
            </a:r>
            <a:r>
              <a:rPr lang="en-GB" sz="750" baseline="0" dirty="0">
                <a:solidFill>
                  <a:srgbClr val="82786F"/>
                </a:solidFill>
              </a:rPr>
              <a:t>2014; 384(9951):1349–1357 (AWARD-6)</a:t>
            </a:r>
            <a:r>
              <a:rPr lang="en-GB" sz="750" kern="0" baseline="0" dirty="0">
                <a:solidFill>
                  <a:srgbClr val="82786F"/>
                </a:solidFill>
              </a:rPr>
              <a:t>; </a:t>
            </a:r>
            <a:r>
              <a:rPr lang="en-GB" sz="750" kern="0" baseline="0" dirty="0" err="1">
                <a:solidFill>
                  <a:srgbClr val="82786F"/>
                </a:solidFill>
              </a:rPr>
              <a:t>Nauck</a:t>
            </a:r>
            <a:r>
              <a:rPr lang="en-GB" sz="750" kern="0" baseline="0" dirty="0">
                <a:solidFill>
                  <a:srgbClr val="82786F"/>
                </a:solidFill>
              </a:rPr>
              <a:t> M et al. </a:t>
            </a:r>
            <a:r>
              <a:rPr lang="en-GB" sz="750" i="1" kern="0" baseline="0" dirty="0">
                <a:solidFill>
                  <a:srgbClr val="82786F"/>
                </a:solidFill>
              </a:rPr>
              <a:t>Diabetes Care </a:t>
            </a:r>
            <a:r>
              <a:rPr lang="en-GB" sz="750" kern="0" baseline="0" dirty="0">
                <a:solidFill>
                  <a:srgbClr val="82786F"/>
                </a:solidFill>
              </a:rPr>
              <a:t>2016;39(9):1501-9 </a:t>
            </a:r>
            <a:r>
              <a:rPr lang="en-GB" sz="750" baseline="0" dirty="0">
                <a:solidFill>
                  <a:srgbClr val="82786F"/>
                </a:solidFill>
              </a:rPr>
              <a:t>(Lira-</a:t>
            </a:r>
            <a:r>
              <a:rPr lang="en-GB" sz="750" baseline="0" dirty="0" err="1">
                <a:solidFill>
                  <a:srgbClr val="82786F"/>
                </a:solidFill>
              </a:rPr>
              <a:t>Lixi</a:t>
            </a:r>
            <a:r>
              <a:rPr lang="en-GB" sz="750" baseline="0" dirty="0">
                <a:solidFill>
                  <a:srgbClr val="82786F"/>
                </a:solidFill>
              </a:rPr>
              <a:t>); </a:t>
            </a:r>
            <a:r>
              <a:rPr lang="en-GB" altLang="en-US" sz="750" baseline="0" dirty="0">
                <a:solidFill>
                  <a:srgbClr val="82786F"/>
                </a:solidFill>
              </a:rPr>
              <a:t>Pratley et al</a:t>
            </a:r>
            <a:r>
              <a:rPr lang="en-GB" altLang="en-US" sz="750" i="1" baseline="0" dirty="0">
                <a:solidFill>
                  <a:srgbClr val="82786F"/>
                </a:solidFill>
              </a:rPr>
              <a:t>. </a:t>
            </a:r>
            <a:r>
              <a:rPr lang="en-GB" altLang="en-US" sz="750" i="1" baseline="0" dirty="0" err="1">
                <a:solidFill>
                  <a:srgbClr val="82786F"/>
                </a:solidFill>
              </a:rPr>
              <a:t>Int</a:t>
            </a:r>
            <a:r>
              <a:rPr lang="en-GB" altLang="en-US" sz="750" i="1" baseline="0" dirty="0">
                <a:solidFill>
                  <a:srgbClr val="82786F"/>
                </a:solidFill>
              </a:rPr>
              <a:t> J </a:t>
            </a:r>
            <a:r>
              <a:rPr lang="en-GB" altLang="en-US" sz="750" i="1" baseline="0" dirty="0" err="1">
                <a:solidFill>
                  <a:srgbClr val="82786F"/>
                </a:solidFill>
              </a:rPr>
              <a:t>Clin</a:t>
            </a:r>
            <a:r>
              <a:rPr lang="en-GB" altLang="en-US" sz="750" i="1" baseline="0" dirty="0">
                <a:solidFill>
                  <a:srgbClr val="82786F"/>
                </a:solidFill>
              </a:rPr>
              <a:t> </a:t>
            </a:r>
            <a:r>
              <a:rPr lang="en-GB" altLang="en-US" sz="750" i="1" baseline="0" dirty="0" err="1">
                <a:solidFill>
                  <a:srgbClr val="82786F"/>
                </a:solidFill>
              </a:rPr>
              <a:t>Pract</a:t>
            </a:r>
            <a:r>
              <a:rPr lang="en-GB" altLang="en-US" sz="750" baseline="0" dirty="0">
                <a:solidFill>
                  <a:srgbClr val="82786F"/>
                </a:solidFill>
              </a:rPr>
              <a:t> 2011;65:397–407 (Lira-DPP4i)</a:t>
            </a:r>
          </a:p>
        </p:txBody>
      </p:sp>
      <p:sp>
        <p:nvSpPr>
          <p:cNvPr id="151565" name="TextBox 33"/>
          <p:cNvSpPr txBox="1">
            <a:spLocks noChangeArrowheads="1"/>
          </p:cNvSpPr>
          <p:nvPr/>
        </p:nvSpPr>
        <p:spPr bwMode="auto">
          <a:xfrm>
            <a:off x="4960938" y="1849338"/>
            <a:ext cx="81915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AWARD-6</a:t>
            </a:r>
          </a:p>
        </p:txBody>
      </p:sp>
      <p:grpSp>
        <p:nvGrpSpPr>
          <p:cNvPr id="151566" name="Group 206"/>
          <p:cNvGrpSpPr>
            <a:grpSpLocks/>
          </p:cNvGrpSpPr>
          <p:nvPr/>
        </p:nvGrpSpPr>
        <p:grpSpPr bwMode="auto">
          <a:xfrm rot="16200000" flipH="1">
            <a:off x="5309395" y="3877370"/>
            <a:ext cx="66675" cy="411163"/>
            <a:chOff x="7228501" y="3316407"/>
            <a:chExt cx="182236" cy="580031"/>
          </a:xfrm>
        </p:grpSpPr>
        <p:sp>
          <p:nvSpPr>
            <p:cNvPr id="151612" name="Freeform 200"/>
            <p:cNvSpPr>
              <a:spLocks/>
            </p:cNvSpPr>
            <p:nvPr/>
          </p:nvSpPr>
          <p:spPr bwMode="auto">
            <a:xfrm rot="-5400000" flipH="1" flipV="1">
              <a:off x="7176607" y="3662311"/>
              <a:ext cx="286021" cy="182234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1613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151567" name="TextBox 51"/>
          <p:cNvSpPr txBox="1">
            <a:spLocks noChangeArrowheads="1"/>
          </p:cNvSpPr>
          <p:nvPr/>
        </p:nvSpPr>
        <p:spPr bwMode="auto">
          <a:xfrm>
            <a:off x="5024439" y="4155977"/>
            <a:ext cx="700087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FF0000"/>
                </a:solidFill>
                <a:cs typeface="Arial" pitchFamily="34" charset="0"/>
              </a:rPr>
              <a:t>**</a:t>
            </a:r>
            <a:endParaRPr lang="en-GB" altLang="en-US" sz="1000" b="1" baseline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151568" name="TextBox 5"/>
          <p:cNvSpPr txBox="1">
            <a:spLocks noChangeArrowheads="1"/>
          </p:cNvSpPr>
          <p:nvPr/>
        </p:nvSpPr>
        <p:spPr bwMode="auto">
          <a:xfrm>
            <a:off x="1943100" y="3405089"/>
            <a:ext cx="6302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baseline="0">
                <a:solidFill>
                  <a:srgbClr val="FFFFFF"/>
                </a:solidFill>
              </a:rPr>
              <a:t>-1.12</a:t>
            </a:r>
          </a:p>
        </p:txBody>
      </p:sp>
      <p:sp>
        <p:nvSpPr>
          <p:cNvPr id="151569" name="TextBox 50"/>
          <p:cNvSpPr txBox="1">
            <a:spLocks noChangeArrowheads="1"/>
          </p:cNvSpPr>
          <p:nvPr/>
        </p:nvSpPr>
        <p:spPr bwMode="auto">
          <a:xfrm>
            <a:off x="3498851" y="3960714"/>
            <a:ext cx="6000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baseline="0">
                <a:solidFill>
                  <a:srgbClr val="FFFFFF"/>
                </a:solidFill>
              </a:rPr>
              <a:t>-1.48</a:t>
            </a:r>
          </a:p>
        </p:txBody>
      </p:sp>
      <p:sp>
        <p:nvSpPr>
          <p:cNvPr id="151570" name="TextBox 69"/>
          <p:cNvSpPr txBox="1">
            <a:spLocks noChangeArrowheads="1"/>
          </p:cNvSpPr>
          <p:nvPr/>
        </p:nvSpPr>
        <p:spPr bwMode="auto">
          <a:xfrm>
            <a:off x="6184901" y="1849338"/>
            <a:ext cx="72072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Lira-Lixi</a:t>
            </a:r>
          </a:p>
        </p:txBody>
      </p:sp>
      <p:sp>
        <p:nvSpPr>
          <p:cNvPr id="151571" name="TextBox 70"/>
          <p:cNvSpPr txBox="1">
            <a:spLocks noChangeArrowheads="1"/>
          </p:cNvSpPr>
          <p:nvPr/>
        </p:nvSpPr>
        <p:spPr bwMode="auto">
          <a:xfrm>
            <a:off x="7316789" y="1854102"/>
            <a:ext cx="87788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Lira-DPP4i</a:t>
            </a:r>
          </a:p>
        </p:txBody>
      </p:sp>
      <p:grpSp>
        <p:nvGrpSpPr>
          <p:cNvPr id="151572" name="Group 6"/>
          <p:cNvGrpSpPr>
            <a:grpSpLocks/>
          </p:cNvGrpSpPr>
          <p:nvPr/>
        </p:nvGrpSpPr>
        <p:grpSpPr bwMode="auto">
          <a:xfrm>
            <a:off x="771526" y="4941170"/>
            <a:ext cx="7921137" cy="464399"/>
            <a:chOff x="1454084" y="3831250"/>
            <a:chExt cx="7920540" cy="465012"/>
          </a:xfrm>
        </p:grpSpPr>
        <p:grpSp>
          <p:nvGrpSpPr>
            <p:cNvPr id="151595" name="Group 8"/>
            <p:cNvGrpSpPr>
              <a:grpSpLocks/>
            </p:cNvGrpSpPr>
            <p:nvPr/>
          </p:nvGrpSpPr>
          <p:grpSpPr bwMode="auto">
            <a:xfrm>
              <a:off x="1454084" y="3834411"/>
              <a:ext cx="5886638" cy="460685"/>
              <a:chOff x="1773870" y="4197524"/>
              <a:chExt cx="5886638" cy="460685"/>
            </a:xfrm>
          </p:grpSpPr>
          <p:grpSp>
            <p:nvGrpSpPr>
              <p:cNvPr id="151600" name="Group 3"/>
              <p:cNvGrpSpPr>
                <a:grpSpLocks/>
              </p:cNvGrpSpPr>
              <p:nvPr/>
            </p:nvGrpSpPr>
            <p:grpSpPr bwMode="auto">
              <a:xfrm>
                <a:off x="1773870" y="4197524"/>
                <a:ext cx="4255815" cy="375185"/>
                <a:chOff x="222250" y="4204788"/>
                <a:chExt cx="4255438" cy="375158"/>
              </a:xfrm>
            </p:grpSpPr>
            <p:grpSp>
              <p:nvGrpSpPr>
                <p:cNvPr id="151605" name="Group 2"/>
                <p:cNvGrpSpPr>
                  <a:grpSpLocks/>
                </p:cNvGrpSpPr>
                <p:nvPr/>
              </p:nvGrpSpPr>
              <p:grpSpPr bwMode="auto">
                <a:xfrm>
                  <a:off x="222250" y="4204788"/>
                  <a:ext cx="4255438" cy="375158"/>
                  <a:chOff x="941387" y="4203995"/>
                  <a:chExt cx="4255438" cy="375158"/>
                </a:xfrm>
              </p:grpSpPr>
              <p:sp>
                <p:nvSpPr>
                  <p:cNvPr id="151607" name="TextBox 45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068629" y="4203995"/>
                    <a:ext cx="1574212" cy="25423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>
                    <a:spAutoFit/>
                  </a:bodyPr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tabLst>
                        <a:tab pos="1257300" algn="l"/>
                      </a:tabLst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tabLst>
                        <a:tab pos="1257300" algn="l"/>
                      </a:tabLst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tabLst>
                        <a:tab pos="1257300" algn="l"/>
                      </a:tabLst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tabLst>
                        <a:tab pos="1257300" algn="l"/>
                      </a:tabLst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r>
                      <a:rPr lang="en-GB" altLang="en-US" sz="1050" b="1" baseline="0" dirty="0" err="1">
                        <a:solidFill>
                          <a:srgbClr val="001965"/>
                        </a:solidFill>
                        <a:cs typeface="Arial" pitchFamily="34" charset="0"/>
                      </a:rPr>
                      <a:t>Liraglutide</a:t>
                    </a:r>
                    <a:r>
                      <a:rPr lang="en-GB" altLang="en-US" sz="1050" b="1" baseline="0" dirty="0">
                        <a:solidFill>
                          <a:srgbClr val="001965"/>
                        </a:solidFill>
                        <a:cs typeface="Arial" pitchFamily="34" charset="0"/>
                      </a:rPr>
                      <a:t> 1.8 mg</a:t>
                    </a:r>
                  </a:p>
                </p:txBody>
              </p:sp>
              <p:sp>
                <p:nvSpPr>
                  <p:cNvPr id="151608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941387" y="4286843"/>
                    <a:ext cx="162507" cy="107096"/>
                  </a:xfrm>
                  <a:prstGeom prst="rect">
                    <a:avLst/>
                  </a:prstGeom>
                  <a:solidFill>
                    <a:srgbClr val="001965"/>
                  </a:solidFill>
                  <a:ln w="9525" algn="ctr">
                    <a:solidFill>
                      <a:srgbClr val="001965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  <p:sp>
                <p:nvSpPr>
                  <p:cNvPr id="151609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2936815" y="4286843"/>
                    <a:ext cx="162507" cy="107096"/>
                  </a:xfrm>
                  <a:prstGeom prst="rect">
                    <a:avLst/>
                  </a:prstGeom>
                  <a:solidFill>
                    <a:srgbClr val="009FDA"/>
                  </a:solidFill>
                  <a:ln w="9525" algn="ctr">
                    <a:solidFill>
                      <a:srgbClr val="009FDA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  <p:sp>
                <p:nvSpPr>
                  <p:cNvPr id="151610" name="Rectangle 15"/>
                  <p:cNvSpPr>
                    <a:spLocks noChangeArrowheads="1"/>
                  </p:cNvSpPr>
                  <p:nvPr/>
                </p:nvSpPr>
                <p:spPr bwMode="auto">
                  <a:xfrm>
                    <a:off x="5035578" y="4286843"/>
                    <a:ext cx="161247" cy="107096"/>
                  </a:xfrm>
                  <a:prstGeom prst="rect">
                    <a:avLst/>
                  </a:prstGeom>
                  <a:solidFill>
                    <a:srgbClr val="C2DEEA"/>
                  </a:solidFill>
                  <a:ln w="9525" algn="ctr">
                    <a:solidFill>
                      <a:srgbClr val="C2DEEA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  <p:sp>
                <p:nvSpPr>
                  <p:cNvPr id="151611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941387" y="4472056"/>
                    <a:ext cx="162507" cy="107097"/>
                  </a:xfrm>
                  <a:prstGeom prst="rect">
                    <a:avLst/>
                  </a:prstGeom>
                  <a:solidFill>
                    <a:srgbClr val="739600"/>
                  </a:solidFill>
                  <a:ln w="9525" algn="ctr">
                    <a:solidFill>
                      <a:srgbClr val="7396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151606" name="Rectangle 16"/>
                <p:cNvSpPr>
                  <a:spLocks noChangeArrowheads="1"/>
                </p:cNvSpPr>
                <p:nvPr/>
              </p:nvSpPr>
              <p:spPr bwMode="auto">
                <a:xfrm>
                  <a:off x="2218938" y="4471589"/>
                  <a:ext cx="162506" cy="107096"/>
                </a:xfrm>
                <a:prstGeom prst="rect">
                  <a:avLst/>
                </a:prstGeom>
                <a:solidFill>
                  <a:srgbClr val="D47600"/>
                </a:solidFill>
                <a:ln w="9525" algn="ctr">
                  <a:solidFill>
                    <a:srgbClr val="D476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 defTabSz="912813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•"/>
                    <a:defRPr sz="22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1pPr>
                  <a:lvl2pPr marL="742950" indent="-285750" defTabSz="912813" eaLnBrk="0" hangingPunct="0">
                    <a:spcBef>
                      <a:spcPct val="20000"/>
                    </a:spcBef>
                    <a:buClr>
                      <a:schemeClr val="hlink"/>
                    </a:buClr>
                    <a:buChar char="•"/>
                    <a:defRPr sz="20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2pPr>
                  <a:lvl3pPr marL="1143000" indent="-228600" defTabSz="912813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3pPr>
                  <a:lvl4pPr marL="1600200" indent="-228600" defTabSz="912813" eaLnBrk="0" hangingPunct="0">
                    <a:spcBef>
                      <a:spcPct val="20000"/>
                    </a:spcBef>
                    <a:buClr>
                      <a:schemeClr val="folHlink"/>
                    </a:buClr>
                    <a:buChar char="•"/>
                    <a:defRPr sz="16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4pPr>
                  <a:lvl5pPr marL="2057400" indent="-228600" defTabSz="912813" eaLnBrk="0" hangingPunct="0">
                    <a:spcBef>
                      <a:spcPct val="20000"/>
                    </a:spcBef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5pPr>
                  <a:lvl6pPr marL="25146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6pPr>
                  <a:lvl7pPr marL="29718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7pPr>
                  <a:lvl8pPr marL="34290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8pPr>
                  <a:lvl9pPr marL="38862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en-GB" altLang="en-US" sz="2400" b="1" baseline="0">
                    <a:solidFill>
                      <a:srgbClr val="001965"/>
                    </a:solidFill>
                    <a:cs typeface="Arial" pitchFamily="34" charset="0"/>
                  </a:endParaRPr>
                </a:p>
              </p:txBody>
            </p:sp>
          </p:grpSp>
          <p:sp>
            <p:nvSpPr>
              <p:cNvPr id="151601" name="Rectangle 1"/>
              <p:cNvSpPr>
                <a:spLocks noChangeArrowheads="1"/>
              </p:cNvSpPr>
              <p:nvPr/>
            </p:nvSpPr>
            <p:spPr bwMode="auto">
              <a:xfrm>
                <a:off x="6010821" y="4205464"/>
                <a:ext cx="1649687" cy="254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Exenatide 2 mg ER </a:t>
                </a:r>
              </a:p>
            </p:txBody>
          </p:sp>
          <p:sp>
            <p:nvSpPr>
              <p:cNvPr id="151602" name="Rectangle 2"/>
              <p:cNvSpPr>
                <a:spLocks noChangeArrowheads="1"/>
              </p:cNvSpPr>
              <p:nvPr/>
            </p:nvSpPr>
            <p:spPr bwMode="auto">
              <a:xfrm>
                <a:off x="3954241" y="4217245"/>
                <a:ext cx="1792343" cy="254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Exenatide 10 µg BID </a:t>
                </a:r>
              </a:p>
            </p:txBody>
          </p:sp>
          <p:sp>
            <p:nvSpPr>
              <p:cNvPr id="151603" name="Rectangle 3"/>
              <p:cNvSpPr>
                <a:spLocks noChangeArrowheads="1"/>
              </p:cNvSpPr>
              <p:nvPr/>
            </p:nvSpPr>
            <p:spPr bwMode="auto">
              <a:xfrm>
                <a:off x="3954241" y="4396256"/>
                <a:ext cx="1628849" cy="254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tabLst>
                    <a:tab pos="1257300" algn="l"/>
                  </a:tabLst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tabLst>
                    <a:tab pos="1257300" algn="l"/>
                  </a:tabLst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tabLst>
                    <a:tab pos="1257300" algn="l"/>
                  </a:tabLst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tabLst>
                    <a:tab pos="1257300" algn="l"/>
                  </a:tabLst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Dulaglutide 1.5 mg</a:t>
                </a:r>
              </a:p>
            </p:txBody>
          </p:sp>
          <p:sp>
            <p:nvSpPr>
              <p:cNvPr id="151604" name="Rectangle 4"/>
              <p:cNvSpPr>
                <a:spLocks noChangeArrowheads="1"/>
              </p:cNvSpPr>
              <p:nvPr/>
            </p:nvSpPr>
            <p:spPr bwMode="auto">
              <a:xfrm>
                <a:off x="1901123" y="4396254"/>
                <a:ext cx="1636864" cy="261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tabLst>
                    <a:tab pos="1257300" algn="l"/>
                  </a:tabLst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tabLst>
                    <a:tab pos="1257300" algn="l"/>
                  </a:tabLst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tabLst>
                    <a:tab pos="1257300" algn="l"/>
                  </a:tabLst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tabLst>
                    <a:tab pos="1257300" algn="l"/>
                  </a:tabLst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Albiglutide 50 mg </a:t>
                </a:r>
              </a:p>
            </p:txBody>
          </p:sp>
        </p:grpSp>
        <p:sp>
          <p:nvSpPr>
            <p:cNvPr id="151596" name="Rectangle 15"/>
            <p:cNvSpPr>
              <a:spLocks noChangeArrowheads="1"/>
            </p:cNvSpPr>
            <p:nvPr/>
          </p:nvSpPr>
          <p:spPr bwMode="auto">
            <a:xfrm>
              <a:off x="7616962" y="3902492"/>
              <a:ext cx="161261" cy="107104"/>
            </a:xfrm>
            <a:prstGeom prst="rect">
              <a:avLst/>
            </a:prstGeom>
            <a:solidFill>
              <a:srgbClr val="948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GB" altLang="en-US" sz="2400" b="1" baseline="0">
                <a:solidFill>
                  <a:srgbClr val="001965"/>
                </a:solidFill>
                <a:cs typeface="Arial" pitchFamily="34" charset="0"/>
              </a:endParaRPr>
            </a:p>
          </p:txBody>
        </p:sp>
        <p:sp>
          <p:nvSpPr>
            <p:cNvPr id="151597" name="Rectangle 66"/>
            <p:cNvSpPr>
              <a:spLocks noChangeArrowheads="1"/>
            </p:cNvSpPr>
            <p:nvPr/>
          </p:nvSpPr>
          <p:spPr bwMode="auto">
            <a:xfrm>
              <a:off x="7745775" y="3831250"/>
              <a:ext cx="1628849" cy="254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GB" altLang="en-US" sz="1050" b="1" baseline="0">
                  <a:solidFill>
                    <a:srgbClr val="001965"/>
                  </a:solidFill>
                  <a:cs typeface="Arial" pitchFamily="34" charset="0"/>
                </a:rPr>
                <a:t>Sitagliptin 100 mg </a:t>
              </a:r>
            </a:p>
          </p:txBody>
        </p:sp>
        <p:sp>
          <p:nvSpPr>
            <p:cNvPr id="151598" name="Rectangle 15"/>
            <p:cNvSpPr>
              <a:spLocks noChangeArrowheads="1"/>
            </p:cNvSpPr>
            <p:nvPr/>
          </p:nvSpPr>
          <p:spPr bwMode="auto">
            <a:xfrm>
              <a:off x="5548640" y="4114269"/>
              <a:ext cx="161261" cy="107104"/>
            </a:xfrm>
            <a:prstGeom prst="rect">
              <a:avLst/>
            </a:prstGeom>
            <a:solidFill>
              <a:srgbClr val="C05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GB" altLang="en-US" sz="2400" b="1" baseline="0">
                <a:solidFill>
                  <a:srgbClr val="001965"/>
                </a:solidFill>
                <a:cs typeface="Arial" pitchFamily="34" charset="0"/>
              </a:endParaRPr>
            </a:p>
          </p:txBody>
        </p:sp>
        <p:sp>
          <p:nvSpPr>
            <p:cNvPr id="151599" name="Rectangle 72"/>
            <p:cNvSpPr>
              <a:spLocks noChangeArrowheads="1"/>
            </p:cNvSpPr>
            <p:nvPr/>
          </p:nvSpPr>
          <p:spPr bwMode="auto">
            <a:xfrm>
              <a:off x="5680621" y="4034307"/>
              <a:ext cx="1640069" cy="261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GB" altLang="en-US" sz="1050" b="1" baseline="0">
                  <a:solidFill>
                    <a:srgbClr val="001965"/>
                  </a:solidFill>
                  <a:cs typeface="Arial" pitchFamily="34" charset="0"/>
                </a:rPr>
                <a:t>Lixisenatide 20 µg</a:t>
              </a:r>
            </a:p>
          </p:txBody>
        </p:sp>
      </p:grpSp>
      <p:grpSp>
        <p:nvGrpSpPr>
          <p:cNvPr id="151573" name="Group 206"/>
          <p:cNvGrpSpPr>
            <a:grpSpLocks/>
          </p:cNvGrpSpPr>
          <p:nvPr/>
        </p:nvGrpSpPr>
        <p:grpSpPr bwMode="auto">
          <a:xfrm rot="16200000" flipH="1">
            <a:off x="6503988" y="4416326"/>
            <a:ext cx="136525" cy="463550"/>
            <a:chOff x="7046273" y="3316407"/>
            <a:chExt cx="364465" cy="580031"/>
          </a:xfrm>
        </p:grpSpPr>
        <p:sp>
          <p:nvSpPr>
            <p:cNvPr id="151593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1594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grpSp>
        <p:nvGrpSpPr>
          <p:cNvPr id="151574" name="Group 206"/>
          <p:cNvGrpSpPr>
            <a:grpSpLocks/>
          </p:cNvGrpSpPr>
          <p:nvPr/>
        </p:nvGrpSpPr>
        <p:grpSpPr bwMode="auto">
          <a:xfrm rot="16200000" flipH="1">
            <a:off x="7678738" y="3982939"/>
            <a:ext cx="134938" cy="465137"/>
            <a:chOff x="7046273" y="3316407"/>
            <a:chExt cx="364465" cy="580031"/>
          </a:xfrm>
        </p:grpSpPr>
        <p:sp>
          <p:nvSpPr>
            <p:cNvPr id="151591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1592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151575" name="TextBox 86"/>
          <p:cNvSpPr txBox="1">
            <a:spLocks noChangeArrowheads="1"/>
          </p:cNvSpPr>
          <p:nvPr/>
        </p:nvSpPr>
        <p:spPr bwMode="auto">
          <a:xfrm>
            <a:off x="7235825" y="4246464"/>
            <a:ext cx="9906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&lt;0.0001</a:t>
            </a:r>
          </a:p>
        </p:txBody>
      </p:sp>
      <p:sp>
        <p:nvSpPr>
          <p:cNvPr id="151576" name="TextBox 87"/>
          <p:cNvSpPr txBox="1">
            <a:spLocks noChangeArrowheads="1"/>
          </p:cNvSpPr>
          <p:nvPr/>
        </p:nvSpPr>
        <p:spPr bwMode="auto">
          <a:xfrm>
            <a:off x="6156326" y="4722714"/>
            <a:ext cx="9890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&lt;0.0001</a:t>
            </a:r>
          </a:p>
        </p:txBody>
      </p:sp>
      <p:grpSp>
        <p:nvGrpSpPr>
          <p:cNvPr id="151577" name="Group 206"/>
          <p:cNvGrpSpPr>
            <a:grpSpLocks/>
          </p:cNvGrpSpPr>
          <p:nvPr/>
        </p:nvGrpSpPr>
        <p:grpSpPr bwMode="auto">
          <a:xfrm rot="16200000" flipH="1">
            <a:off x="1750220" y="3423346"/>
            <a:ext cx="136525" cy="465137"/>
            <a:chOff x="7046273" y="3316407"/>
            <a:chExt cx="364465" cy="580031"/>
          </a:xfrm>
        </p:grpSpPr>
        <p:sp>
          <p:nvSpPr>
            <p:cNvPr id="151589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1590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cxnSp>
        <p:nvCxnSpPr>
          <p:cNvPr id="5" name="Straight Connector 4"/>
          <p:cNvCxnSpPr/>
          <p:nvPr/>
        </p:nvCxnSpPr>
        <p:spPr bwMode="auto">
          <a:xfrm>
            <a:off x="7092950" y="1412777"/>
            <a:ext cx="0" cy="3405187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51579" name="Group 206"/>
          <p:cNvGrpSpPr>
            <a:grpSpLocks/>
          </p:cNvGrpSpPr>
          <p:nvPr/>
        </p:nvGrpSpPr>
        <p:grpSpPr bwMode="auto">
          <a:xfrm rot="16200000" flipH="1">
            <a:off x="4101307" y="3263007"/>
            <a:ext cx="136525" cy="465138"/>
            <a:chOff x="7046273" y="3316407"/>
            <a:chExt cx="364465" cy="580031"/>
          </a:xfrm>
        </p:grpSpPr>
        <p:sp>
          <p:nvSpPr>
            <p:cNvPr id="151587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1588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151580" name="Rounded Rectangle 2"/>
          <p:cNvSpPr>
            <a:spLocks noChangeArrowheads="1"/>
          </p:cNvSpPr>
          <p:nvPr/>
        </p:nvSpPr>
        <p:spPr bwMode="auto">
          <a:xfrm>
            <a:off x="1295401" y="1444526"/>
            <a:ext cx="828675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 err="1">
                <a:solidFill>
                  <a:srgbClr val="002060"/>
                </a:solidFill>
              </a:rPr>
              <a:t>exenatide</a:t>
            </a:r>
            <a:endParaRPr lang="en-GB" altLang="en-US" sz="900" b="1" baseline="0" dirty="0">
              <a:solidFill>
                <a:srgbClr val="002060"/>
              </a:solidFill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>
                <a:solidFill>
                  <a:srgbClr val="002060"/>
                </a:solidFill>
              </a:rPr>
              <a:t>BID</a:t>
            </a:r>
          </a:p>
        </p:txBody>
      </p:sp>
      <p:sp>
        <p:nvSpPr>
          <p:cNvPr id="151581" name="Rounded Rectangle 70"/>
          <p:cNvSpPr>
            <a:spLocks noChangeArrowheads="1"/>
          </p:cNvSpPr>
          <p:nvPr/>
        </p:nvSpPr>
        <p:spPr bwMode="auto">
          <a:xfrm>
            <a:off x="2625725" y="1444526"/>
            <a:ext cx="827088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 err="1">
                <a:solidFill>
                  <a:srgbClr val="002060"/>
                </a:solidFill>
              </a:rPr>
              <a:t>exenatide</a:t>
            </a:r>
            <a:endParaRPr lang="en-GB" altLang="en-US" sz="900" b="1" baseline="0" dirty="0">
              <a:solidFill>
                <a:srgbClr val="002060"/>
              </a:solidFill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>
                <a:solidFill>
                  <a:srgbClr val="002060"/>
                </a:solidFill>
              </a:rPr>
              <a:t>ER</a:t>
            </a:r>
          </a:p>
        </p:txBody>
      </p:sp>
      <p:sp>
        <p:nvSpPr>
          <p:cNvPr id="151582" name="Rounded Rectangle 71"/>
          <p:cNvSpPr>
            <a:spLocks noChangeArrowheads="1"/>
          </p:cNvSpPr>
          <p:nvPr/>
        </p:nvSpPr>
        <p:spPr bwMode="auto">
          <a:xfrm>
            <a:off x="3756026" y="1444526"/>
            <a:ext cx="828675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albiglutide</a:t>
            </a:r>
          </a:p>
        </p:txBody>
      </p:sp>
      <p:sp>
        <p:nvSpPr>
          <p:cNvPr id="151583" name="Rounded Rectangle 72"/>
          <p:cNvSpPr>
            <a:spLocks noChangeArrowheads="1"/>
          </p:cNvSpPr>
          <p:nvPr/>
        </p:nvSpPr>
        <p:spPr bwMode="auto">
          <a:xfrm>
            <a:off x="4976814" y="1444526"/>
            <a:ext cx="827087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dulaglutide</a:t>
            </a:r>
          </a:p>
        </p:txBody>
      </p:sp>
      <p:sp>
        <p:nvSpPr>
          <p:cNvPr id="151584" name="Rounded Rectangle 74"/>
          <p:cNvSpPr>
            <a:spLocks noChangeArrowheads="1"/>
          </p:cNvSpPr>
          <p:nvPr/>
        </p:nvSpPr>
        <p:spPr bwMode="auto">
          <a:xfrm>
            <a:off x="6167439" y="1444526"/>
            <a:ext cx="828675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lixisenatide</a:t>
            </a:r>
          </a:p>
        </p:txBody>
      </p:sp>
      <p:sp>
        <p:nvSpPr>
          <p:cNvPr id="151585" name="Rounded Rectangle 75"/>
          <p:cNvSpPr>
            <a:spLocks noChangeArrowheads="1"/>
          </p:cNvSpPr>
          <p:nvPr/>
        </p:nvSpPr>
        <p:spPr bwMode="auto">
          <a:xfrm>
            <a:off x="7308850" y="1444526"/>
            <a:ext cx="827088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sitagliptine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676457" y="5852011"/>
            <a:ext cx="53091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600" b="1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Slide 22</a:t>
            </a:r>
          </a:p>
        </p:txBody>
      </p:sp>
      <p:sp>
        <p:nvSpPr>
          <p:cNvPr id="64" name="Action Button: Home 63">
            <a:hlinkClick r:id="rId6" action="ppaction://hlinksldjump" highlightClick="1"/>
          </p:cNvPr>
          <p:cNvSpPr/>
          <p:nvPr/>
        </p:nvSpPr>
        <p:spPr>
          <a:xfrm>
            <a:off x="8859624" y="879048"/>
            <a:ext cx="248881" cy="245696"/>
          </a:xfrm>
          <a:prstGeom prst="actionButtonHome">
            <a:avLst/>
          </a:prstGeom>
          <a:ln w="6350">
            <a:solidFill>
              <a:srgbClr val="00142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2000" b="1" baseline="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73248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578" name="Object 1"/>
          <p:cNvGraphicFramePr>
            <a:graphicFrameLocks/>
          </p:cNvGraphicFramePr>
          <p:nvPr/>
        </p:nvGraphicFramePr>
        <p:xfrm>
          <a:off x="827088" y="1773239"/>
          <a:ext cx="7588250" cy="3432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Worksheet" r:id="rId4" imgW="8810600" imgH="3714826" progId="Excel.Sheet.8">
                  <p:embed/>
                </p:oleObj>
              </mc:Choice>
              <mc:Fallback>
                <p:oleObj name="Worksheet" r:id="rId4" imgW="8810600" imgH="3714826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7088" y="1773239"/>
                        <a:ext cx="7588250" cy="3432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2579" name="TextBox 18"/>
          <p:cNvSpPr txBox="1">
            <a:spLocks noChangeArrowheads="1"/>
          </p:cNvSpPr>
          <p:nvPr/>
        </p:nvSpPr>
        <p:spPr bwMode="auto">
          <a:xfrm rot="-5400000">
            <a:off x="-868362" y="3189288"/>
            <a:ext cx="27178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600" b="1" baseline="0">
                <a:solidFill>
                  <a:srgbClr val="001965"/>
                </a:solidFill>
                <a:cs typeface="Arial" pitchFamily="34" charset="0"/>
              </a:rPr>
              <a:t>Change in Body Weight (kg)</a:t>
            </a:r>
          </a:p>
        </p:txBody>
      </p:sp>
      <p:sp>
        <p:nvSpPr>
          <p:cNvPr id="152580" name="TextBox 33"/>
          <p:cNvSpPr txBox="1">
            <a:spLocks noChangeArrowheads="1"/>
          </p:cNvSpPr>
          <p:nvPr/>
        </p:nvSpPr>
        <p:spPr bwMode="auto">
          <a:xfrm>
            <a:off x="2665414" y="4481513"/>
            <a:ext cx="89852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&lt;0.001</a:t>
            </a:r>
          </a:p>
        </p:txBody>
      </p:sp>
      <p:sp>
        <p:nvSpPr>
          <p:cNvPr id="152581" name="TextBox 35"/>
          <p:cNvSpPr txBox="1">
            <a:spLocks noChangeArrowheads="1"/>
          </p:cNvSpPr>
          <p:nvPr/>
        </p:nvSpPr>
        <p:spPr bwMode="auto">
          <a:xfrm>
            <a:off x="1531938" y="4254500"/>
            <a:ext cx="9525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FF0000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FF0000"/>
                </a:solidFill>
                <a:cs typeface="Arial" pitchFamily="34" charset="0"/>
              </a:rPr>
              <a:t>=0.22</a:t>
            </a:r>
          </a:p>
        </p:txBody>
      </p:sp>
      <p:grpSp>
        <p:nvGrpSpPr>
          <p:cNvPr id="152582" name="Group 206"/>
          <p:cNvGrpSpPr>
            <a:grpSpLocks/>
          </p:cNvGrpSpPr>
          <p:nvPr/>
        </p:nvGrpSpPr>
        <p:grpSpPr bwMode="auto">
          <a:xfrm rot="16200000" flipH="1">
            <a:off x="1880395" y="3958432"/>
            <a:ext cx="131762" cy="460375"/>
            <a:chOff x="7046273" y="3316407"/>
            <a:chExt cx="364465" cy="580031"/>
          </a:xfrm>
        </p:grpSpPr>
        <p:sp>
          <p:nvSpPr>
            <p:cNvPr id="152636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2637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38" name="Text Placeholder 5"/>
          <p:cNvSpPr txBox="1">
            <a:spLocks/>
          </p:cNvSpPr>
          <p:nvPr/>
        </p:nvSpPr>
        <p:spPr bwMode="auto">
          <a:xfrm>
            <a:off x="1008063" y="5456283"/>
            <a:ext cx="7956550" cy="553992"/>
          </a:xfrm>
          <a:prstGeom prst="rect">
            <a:avLst/>
          </a:prstGeom>
          <a:noFill/>
          <a:ln>
            <a:noFill/>
          </a:ln>
          <a:extLst/>
        </p:spPr>
        <p:txBody>
          <a:bodyPr lIns="91434" tIns="45717" rIns="91434" bIns="45717" anchor="b">
            <a:spAutoFit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80038"/>
              </a:buClr>
              <a:buNone/>
              <a:defRPr sz="80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lvl1pPr>
            <a:lvl2pPr marL="687388" indent="-2301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rgbClr val="001965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hlink"/>
              </a:buClr>
              <a:buChar char="•"/>
              <a:defRPr>
                <a:solidFill>
                  <a:srgbClr val="001965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DA2CC"/>
              </a:buClr>
              <a:buChar char="•"/>
              <a:defRPr sz="1600">
                <a:solidFill>
                  <a:srgbClr val="001965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ECCCDA"/>
              </a:buClr>
              <a:buChar char="•"/>
              <a:defRPr sz="1600">
                <a:solidFill>
                  <a:srgbClr val="001965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400">
                <a:solidFill>
                  <a:srgbClr val="001965"/>
                </a:solidFill>
                <a:latin typeface="+mn-lt"/>
              </a:defRPr>
            </a:lvl9pPr>
          </a:lstStyle>
          <a:p>
            <a:pPr defTabSz="913384">
              <a:defRPr/>
            </a:pPr>
            <a:r>
              <a:rPr lang="en-GB" sz="750" kern="0" baseline="0" dirty="0">
                <a:solidFill>
                  <a:srgbClr val="82786F"/>
                </a:solidFill>
              </a:rPr>
              <a:t>P-values are for statistical superiority unless otherwise noted. BID: 2x/dag; ER: extended release</a:t>
            </a:r>
            <a:br>
              <a:rPr lang="en-GB" sz="750" kern="0" baseline="0" dirty="0">
                <a:solidFill>
                  <a:srgbClr val="82786F"/>
                </a:solidFill>
              </a:rPr>
            </a:br>
            <a:r>
              <a:rPr lang="en-GB" sz="750" kern="0" baseline="0" dirty="0" err="1">
                <a:solidFill>
                  <a:srgbClr val="82786F"/>
                </a:solidFill>
                <a:ea typeface="ヒラギノ角ゴ Pro W3" pitchFamily="-112" charset="-128"/>
              </a:rPr>
              <a:t>Buse</a:t>
            </a:r>
            <a:r>
              <a:rPr lang="en-GB" sz="750" kern="0" baseline="0" dirty="0">
                <a:solidFill>
                  <a:srgbClr val="82786F"/>
                </a:solidFill>
                <a:ea typeface="ヒラギノ角ゴ Pro W3" pitchFamily="-112" charset="-128"/>
              </a:rPr>
              <a:t> JB et al</a:t>
            </a:r>
            <a:r>
              <a:rPr lang="en-GB" sz="750" i="1" kern="0" baseline="0" dirty="0">
                <a:solidFill>
                  <a:srgbClr val="82786F"/>
                </a:solidFill>
                <a:ea typeface="ヒラギノ角ゴ Pro W3" pitchFamily="-112" charset="-128"/>
              </a:rPr>
              <a:t>.</a:t>
            </a:r>
            <a:r>
              <a:rPr lang="en-GB" sz="750" kern="0" baseline="0" dirty="0">
                <a:solidFill>
                  <a:srgbClr val="82786F"/>
                </a:solidFill>
                <a:ea typeface="ヒラギノ角ゴ Pro W3" pitchFamily="-112" charset="-128"/>
              </a:rPr>
              <a:t> </a:t>
            </a:r>
            <a:r>
              <a:rPr lang="en-GB" sz="750" i="1" kern="0" baseline="0" dirty="0">
                <a:solidFill>
                  <a:srgbClr val="82786F"/>
                </a:solidFill>
                <a:ea typeface="ヒラギノ角ゴ Pro W3" pitchFamily="-112" charset="-128"/>
              </a:rPr>
              <a:t>Lancet </a:t>
            </a:r>
            <a:r>
              <a:rPr lang="en-GB" sz="750" kern="0" baseline="0" dirty="0">
                <a:solidFill>
                  <a:srgbClr val="82786F"/>
                </a:solidFill>
                <a:ea typeface="ヒラギノ角ゴ Pro W3" pitchFamily="-112" charset="-128"/>
              </a:rPr>
              <a:t>2009;374:39–47 (LEAD-6); </a:t>
            </a:r>
            <a:r>
              <a:rPr lang="en-GB" sz="750" kern="0" baseline="0" dirty="0" err="1">
                <a:solidFill>
                  <a:srgbClr val="82786F"/>
                </a:solidFill>
              </a:rPr>
              <a:t>Buse</a:t>
            </a:r>
            <a:r>
              <a:rPr lang="en-GB" sz="750" kern="0" baseline="0" dirty="0">
                <a:solidFill>
                  <a:srgbClr val="82786F"/>
                </a:solidFill>
              </a:rPr>
              <a:t> JB et al</a:t>
            </a:r>
            <a:r>
              <a:rPr lang="en-GB" sz="750" i="1" kern="0" baseline="0" dirty="0">
                <a:solidFill>
                  <a:srgbClr val="82786F"/>
                </a:solidFill>
              </a:rPr>
              <a:t>.</a:t>
            </a:r>
            <a:r>
              <a:rPr lang="en-GB" sz="750" kern="0" baseline="0" dirty="0">
                <a:solidFill>
                  <a:srgbClr val="82786F"/>
                </a:solidFill>
              </a:rPr>
              <a:t> </a:t>
            </a:r>
            <a:r>
              <a:rPr lang="en-GB" sz="750" i="1" kern="0" baseline="0" dirty="0">
                <a:solidFill>
                  <a:srgbClr val="82786F"/>
                </a:solidFill>
              </a:rPr>
              <a:t>Lancet </a:t>
            </a:r>
            <a:r>
              <a:rPr lang="en-GB" sz="750" kern="0" baseline="0" dirty="0">
                <a:solidFill>
                  <a:srgbClr val="82786F"/>
                </a:solidFill>
              </a:rPr>
              <a:t>2013;381:117–24 </a:t>
            </a:r>
            <a:r>
              <a:rPr lang="en-GB" sz="750" kern="0" baseline="0" dirty="0">
                <a:solidFill>
                  <a:srgbClr val="82786F"/>
                </a:solidFill>
                <a:ea typeface="ヒラギノ角ゴ Pro W3" pitchFamily="-112" charset="-128"/>
              </a:rPr>
              <a:t>(DURATION-6);</a:t>
            </a:r>
            <a:r>
              <a:rPr lang="en-GB" sz="750" kern="0" baseline="0" dirty="0">
                <a:solidFill>
                  <a:srgbClr val="82786F"/>
                </a:solidFill>
              </a:rPr>
              <a:t> </a:t>
            </a:r>
            <a:r>
              <a:rPr lang="en-GB" sz="750" baseline="0" dirty="0">
                <a:solidFill>
                  <a:srgbClr val="82786F"/>
                </a:solidFill>
              </a:rPr>
              <a:t>Pratley RE et al</a:t>
            </a:r>
            <a:r>
              <a:rPr lang="en-GB" sz="750" i="1" baseline="0" dirty="0">
                <a:solidFill>
                  <a:srgbClr val="82786F"/>
                </a:solidFill>
              </a:rPr>
              <a:t>. Lancet Diabetes </a:t>
            </a:r>
            <a:r>
              <a:rPr lang="en-GB" sz="750" i="1" baseline="0" dirty="0" err="1">
                <a:solidFill>
                  <a:srgbClr val="82786F"/>
                </a:solidFill>
              </a:rPr>
              <a:t>Endocrinol</a:t>
            </a:r>
            <a:r>
              <a:rPr lang="en-GB" sz="750" i="1" baseline="0" dirty="0">
                <a:solidFill>
                  <a:srgbClr val="82786F"/>
                </a:solidFill>
              </a:rPr>
              <a:t> </a:t>
            </a:r>
            <a:r>
              <a:rPr lang="en-GB" sz="750" baseline="0" dirty="0">
                <a:solidFill>
                  <a:srgbClr val="82786F"/>
                </a:solidFill>
              </a:rPr>
              <a:t>2014;2:289–97</a:t>
            </a:r>
            <a:r>
              <a:rPr lang="en-GB" sz="750" kern="0" baseline="0" dirty="0">
                <a:solidFill>
                  <a:srgbClr val="82786F"/>
                </a:solidFill>
              </a:rPr>
              <a:t> (Harmony-7); </a:t>
            </a:r>
            <a:r>
              <a:rPr lang="en-GB" sz="750" baseline="0" dirty="0" err="1">
                <a:solidFill>
                  <a:srgbClr val="82786F"/>
                </a:solidFill>
              </a:rPr>
              <a:t>Dungan</a:t>
            </a:r>
            <a:r>
              <a:rPr lang="en-GB" sz="750" baseline="0" dirty="0">
                <a:solidFill>
                  <a:srgbClr val="82786F"/>
                </a:solidFill>
              </a:rPr>
              <a:t> KM et al</a:t>
            </a:r>
            <a:r>
              <a:rPr lang="en-GB" sz="750" i="1" baseline="0" dirty="0">
                <a:solidFill>
                  <a:srgbClr val="82786F"/>
                </a:solidFill>
              </a:rPr>
              <a:t>. Lancet </a:t>
            </a:r>
            <a:r>
              <a:rPr lang="en-GB" sz="750" baseline="0" dirty="0">
                <a:solidFill>
                  <a:srgbClr val="82786F"/>
                </a:solidFill>
              </a:rPr>
              <a:t>2014; 384(9951):1349–1357 (AWARD-6)</a:t>
            </a:r>
            <a:r>
              <a:rPr lang="en-GB" sz="750" kern="0" baseline="0" dirty="0">
                <a:solidFill>
                  <a:srgbClr val="82786F"/>
                </a:solidFill>
                <a:ea typeface="ヒラギノ角ゴ Pro W3" pitchFamily="-112" charset="-128"/>
              </a:rPr>
              <a:t>; </a:t>
            </a:r>
            <a:r>
              <a:rPr lang="en-GB" sz="750" kern="0" baseline="0" dirty="0" err="1">
                <a:solidFill>
                  <a:srgbClr val="82786F"/>
                </a:solidFill>
              </a:rPr>
              <a:t>Nauck</a:t>
            </a:r>
            <a:r>
              <a:rPr lang="en-GB" sz="750" kern="0" baseline="0" dirty="0">
                <a:solidFill>
                  <a:srgbClr val="82786F"/>
                </a:solidFill>
              </a:rPr>
              <a:t> M et al. </a:t>
            </a:r>
            <a:r>
              <a:rPr lang="en-GB" sz="750" i="1" kern="0" baseline="0" dirty="0">
                <a:solidFill>
                  <a:srgbClr val="82786F"/>
                </a:solidFill>
              </a:rPr>
              <a:t>Diabetes Care </a:t>
            </a:r>
            <a:r>
              <a:rPr lang="en-GB" sz="750" kern="0" baseline="0" dirty="0">
                <a:solidFill>
                  <a:srgbClr val="82786F"/>
                </a:solidFill>
              </a:rPr>
              <a:t>2016;39(9):1501-9              </a:t>
            </a:r>
            <a:r>
              <a:rPr lang="en-GB" sz="750" baseline="0" dirty="0">
                <a:solidFill>
                  <a:srgbClr val="82786F"/>
                </a:solidFill>
              </a:rPr>
              <a:t>(Lira-</a:t>
            </a:r>
            <a:r>
              <a:rPr lang="en-GB" sz="750" baseline="0" dirty="0" err="1">
                <a:solidFill>
                  <a:srgbClr val="82786F"/>
                </a:solidFill>
              </a:rPr>
              <a:t>Lixi</a:t>
            </a:r>
            <a:r>
              <a:rPr lang="en-GB" sz="750" baseline="0" dirty="0">
                <a:solidFill>
                  <a:srgbClr val="82786F"/>
                </a:solidFill>
              </a:rPr>
              <a:t>); </a:t>
            </a:r>
            <a:r>
              <a:rPr lang="en-GB" altLang="en-US" sz="750" baseline="0" dirty="0">
                <a:solidFill>
                  <a:srgbClr val="82786F"/>
                </a:solidFill>
              </a:rPr>
              <a:t>Pratley et al</a:t>
            </a:r>
            <a:r>
              <a:rPr lang="en-GB" altLang="en-US" sz="750" i="1" baseline="0" dirty="0">
                <a:solidFill>
                  <a:srgbClr val="82786F"/>
                </a:solidFill>
              </a:rPr>
              <a:t>. </a:t>
            </a:r>
            <a:r>
              <a:rPr lang="en-GB" altLang="en-US" sz="750" i="1" baseline="0" dirty="0" err="1">
                <a:solidFill>
                  <a:srgbClr val="82786F"/>
                </a:solidFill>
              </a:rPr>
              <a:t>Int</a:t>
            </a:r>
            <a:r>
              <a:rPr lang="en-GB" altLang="en-US" sz="750" i="1" baseline="0" dirty="0">
                <a:solidFill>
                  <a:srgbClr val="82786F"/>
                </a:solidFill>
              </a:rPr>
              <a:t> J </a:t>
            </a:r>
            <a:r>
              <a:rPr lang="en-GB" altLang="en-US" sz="750" i="1" baseline="0" dirty="0" err="1">
                <a:solidFill>
                  <a:srgbClr val="82786F"/>
                </a:solidFill>
              </a:rPr>
              <a:t>Clin</a:t>
            </a:r>
            <a:r>
              <a:rPr lang="en-GB" altLang="en-US" sz="750" i="1" baseline="0" dirty="0">
                <a:solidFill>
                  <a:srgbClr val="82786F"/>
                </a:solidFill>
              </a:rPr>
              <a:t> </a:t>
            </a:r>
            <a:r>
              <a:rPr lang="en-GB" altLang="en-US" sz="750" i="1" baseline="0" dirty="0" err="1">
                <a:solidFill>
                  <a:srgbClr val="82786F"/>
                </a:solidFill>
              </a:rPr>
              <a:t>Pract</a:t>
            </a:r>
            <a:r>
              <a:rPr lang="en-GB" altLang="en-US" sz="750" baseline="0" dirty="0">
                <a:solidFill>
                  <a:srgbClr val="82786F"/>
                </a:solidFill>
              </a:rPr>
              <a:t> 2011;65:397–407 (Lira-DPP4i)</a:t>
            </a:r>
          </a:p>
        </p:txBody>
      </p:sp>
      <p:sp>
        <p:nvSpPr>
          <p:cNvPr id="152584" name="TextBox 40"/>
          <p:cNvSpPr txBox="1">
            <a:spLocks noChangeArrowheads="1"/>
          </p:cNvSpPr>
          <p:nvPr/>
        </p:nvSpPr>
        <p:spPr bwMode="auto">
          <a:xfrm>
            <a:off x="4968876" y="4468814"/>
            <a:ext cx="898525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=0.011</a:t>
            </a:r>
          </a:p>
        </p:txBody>
      </p:sp>
      <p:grpSp>
        <p:nvGrpSpPr>
          <p:cNvPr id="152585" name="Group 206"/>
          <p:cNvGrpSpPr>
            <a:grpSpLocks/>
          </p:cNvGrpSpPr>
          <p:nvPr/>
        </p:nvGrpSpPr>
        <p:grpSpPr bwMode="auto">
          <a:xfrm rot="16200000" flipH="1">
            <a:off x="5378450" y="4135438"/>
            <a:ext cx="139700" cy="520700"/>
            <a:chOff x="7046273" y="3316407"/>
            <a:chExt cx="364465" cy="580031"/>
          </a:xfrm>
        </p:grpSpPr>
        <p:sp>
          <p:nvSpPr>
            <p:cNvPr id="152634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2635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152586" name="TextBox 67"/>
          <p:cNvSpPr txBox="1">
            <a:spLocks noChangeArrowheads="1"/>
          </p:cNvSpPr>
          <p:nvPr/>
        </p:nvSpPr>
        <p:spPr bwMode="auto">
          <a:xfrm>
            <a:off x="3819526" y="3614738"/>
            <a:ext cx="9683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&lt;0.0001</a:t>
            </a:r>
          </a:p>
        </p:txBody>
      </p:sp>
      <p:grpSp>
        <p:nvGrpSpPr>
          <p:cNvPr id="152587" name="Group 206"/>
          <p:cNvGrpSpPr>
            <a:grpSpLocks/>
          </p:cNvGrpSpPr>
          <p:nvPr/>
        </p:nvGrpSpPr>
        <p:grpSpPr bwMode="auto">
          <a:xfrm rot="16200000" flipH="1">
            <a:off x="4170363" y="3306763"/>
            <a:ext cx="141288" cy="474663"/>
            <a:chOff x="7046081" y="3316391"/>
            <a:chExt cx="364455" cy="601503"/>
          </a:xfrm>
        </p:grpSpPr>
        <p:sp>
          <p:nvSpPr>
            <p:cNvPr id="152632" name="Freeform 200"/>
            <p:cNvSpPr>
              <a:spLocks/>
            </p:cNvSpPr>
            <p:nvPr/>
          </p:nvSpPr>
          <p:spPr bwMode="auto">
            <a:xfrm rot="-5400000" flipH="1" flipV="1">
              <a:off x="7085299" y="3592657"/>
              <a:ext cx="286019" cy="36445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2633" name="Freeform 201"/>
            <p:cNvSpPr>
              <a:spLocks/>
            </p:cNvSpPr>
            <p:nvPr/>
          </p:nvSpPr>
          <p:spPr bwMode="auto">
            <a:xfrm rot="5400000" flipH="1">
              <a:off x="7157892" y="3431264"/>
              <a:ext cx="367512" cy="1377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grpSp>
        <p:nvGrpSpPr>
          <p:cNvPr id="152588" name="Group 206"/>
          <p:cNvGrpSpPr>
            <a:grpSpLocks/>
          </p:cNvGrpSpPr>
          <p:nvPr/>
        </p:nvGrpSpPr>
        <p:grpSpPr bwMode="auto">
          <a:xfrm rot="16200000" flipH="1">
            <a:off x="6490494" y="4580732"/>
            <a:ext cx="139700" cy="519112"/>
            <a:chOff x="7046273" y="3316407"/>
            <a:chExt cx="364465" cy="580031"/>
          </a:xfrm>
        </p:grpSpPr>
        <p:sp>
          <p:nvSpPr>
            <p:cNvPr id="152630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2631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sp>
        <p:nvSpPr>
          <p:cNvPr id="152589" name="TextBox 95"/>
          <p:cNvSpPr txBox="1">
            <a:spLocks noChangeArrowheads="1"/>
          </p:cNvSpPr>
          <p:nvPr/>
        </p:nvSpPr>
        <p:spPr bwMode="auto">
          <a:xfrm>
            <a:off x="6084889" y="4903788"/>
            <a:ext cx="896937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FF0000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FF0000"/>
                </a:solidFill>
                <a:cs typeface="Arial" pitchFamily="34" charset="0"/>
              </a:rPr>
              <a:t>=0.2346</a:t>
            </a:r>
          </a:p>
        </p:txBody>
      </p:sp>
      <p:sp>
        <p:nvSpPr>
          <p:cNvPr id="152590" name="TextBox 96"/>
          <p:cNvSpPr txBox="1">
            <a:spLocks noChangeArrowheads="1"/>
          </p:cNvSpPr>
          <p:nvPr/>
        </p:nvSpPr>
        <p:spPr bwMode="auto">
          <a:xfrm>
            <a:off x="7316789" y="4470400"/>
            <a:ext cx="898525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000" b="1" i="1" baseline="0">
                <a:solidFill>
                  <a:srgbClr val="001965"/>
                </a:solidFill>
                <a:cs typeface="Arial" pitchFamily="34" charset="0"/>
              </a:rPr>
              <a:t>p</a:t>
            </a:r>
            <a:r>
              <a:rPr lang="en-GB" altLang="en-US" sz="1000" b="1" baseline="0">
                <a:solidFill>
                  <a:srgbClr val="001965"/>
                </a:solidFill>
                <a:cs typeface="Arial" pitchFamily="34" charset="0"/>
              </a:rPr>
              <a:t>&lt;0.0001</a:t>
            </a:r>
          </a:p>
        </p:txBody>
      </p:sp>
      <p:grpSp>
        <p:nvGrpSpPr>
          <p:cNvPr id="152591" name="Group 97"/>
          <p:cNvGrpSpPr>
            <a:grpSpLocks/>
          </p:cNvGrpSpPr>
          <p:nvPr/>
        </p:nvGrpSpPr>
        <p:grpSpPr bwMode="auto">
          <a:xfrm>
            <a:off x="765176" y="5062540"/>
            <a:ext cx="7854691" cy="464401"/>
            <a:chOff x="1454084" y="3814387"/>
            <a:chExt cx="7855083" cy="465014"/>
          </a:xfrm>
        </p:grpSpPr>
        <p:grpSp>
          <p:nvGrpSpPr>
            <p:cNvPr id="152613" name="Group 98"/>
            <p:cNvGrpSpPr>
              <a:grpSpLocks/>
            </p:cNvGrpSpPr>
            <p:nvPr/>
          </p:nvGrpSpPr>
          <p:grpSpPr bwMode="auto">
            <a:xfrm>
              <a:off x="1454084" y="3817545"/>
              <a:ext cx="5893194" cy="460689"/>
              <a:chOff x="1773870" y="4180658"/>
              <a:chExt cx="5893194" cy="460689"/>
            </a:xfrm>
          </p:grpSpPr>
          <p:grpSp>
            <p:nvGrpSpPr>
              <p:cNvPr id="152618" name="Group 3"/>
              <p:cNvGrpSpPr>
                <a:grpSpLocks/>
              </p:cNvGrpSpPr>
              <p:nvPr/>
            </p:nvGrpSpPr>
            <p:grpSpPr bwMode="auto">
              <a:xfrm>
                <a:off x="1773870" y="4180658"/>
                <a:ext cx="4262165" cy="392048"/>
                <a:chOff x="222250" y="4187926"/>
                <a:chExt cx="4261787" cy="392020"/>
              </a:xfrm>
            </p:grpSpPr>
            <p:grpSp>
              <p:nvGrpSpPr>
                <p:cNvPr id="152623" name="Group 2"/>
                <p:cNvGrpSpPr>
                  <a:grpSpLocks/>
                </p:cNvGrpSpPr>
                <p:nvPr/>
              </p:nvGrpSpPr>
              <p:grpSpPr bwMode="auto">
                <a:xfrm>
                  <a:off x="222250" y="4187926"/>
                  <a:ext cx="4261787" cy="392020"/>
                  <a:chOff x="941387" y="4187133"/>
                  <a:chExt cx="4261787" cy="392020"/>
                </a:xfrm>
              </p:grpSpPr>
              <p:sp>
                <p:nvSpPr>
                  <p:cNvPr id="152625" name="TextBox 11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068629" y="4187133"/>
                    <a:ext cx="1574409" cy="25423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>
                    <a:spAutoFit/>
                  </a:bodyPr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tabLst>
                        <a:tab pos="1257300" algn="l"/>
                      </a:tabLst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tabLst>
                        <a:tab pos="1257300" algn="l"/>
                      </a:tabLst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tabLst>
                        <a:tab pos="1257300" algn="l"/>
                      </a:tabLst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tabLst>
                        <a:tab pos="1257300" algn="l"/>
                      </a:tabLst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tabLst>
                        <a:tab pos="1257300" algn="l"/>
                      </a:tabLst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r>
                      <a:rPr lang="en-GB" altLang="en-US" sz="1050" b="1" baseline="0" dirty="0" err="1">
                        <a:solidFill>
                          <a:srgbClr val="001965"/>
                        </a:solidFill>
                        <a:cs typeface="Arial" pitchFamily="34" charset="0"/>
                      </a:rPr>
                      <a:t>Liraglutide</a:t>
                    </a:r>
                    <a:r>
                      <a:rPr lang="en-GB" altLang="en-US" sz="1050" b="1" baseline="0" dirty="0">
                        <a:solidFill>
                          <a:srgbClr val="001965"/>
                        </a:solidFill>
                        <a:cs typeface="Arial" pitchFamily="34" charset="0"/>
                      </a:rPr>
                      <a:t> 1.8 mg</a:t>
                    </a:r>
                  </a:p>
                </p:txBody>
              </p:sp>
              <p:sp>
                <p:nvSpPr>
                  <p:cNvPr id="152626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941387" y="4286843"/>
                    <a:ext cx="162507" cy="107096"/>
                  </a:xfrm>
                  <a:prstGeom prst="rect">
                    <a:avLst/>
                  </a:prstGeom>
                  <a:solidFill>
                    <a:srgbClr val="001965"/>
                  </a:solidFill>
                  <a:ln w="9525" algn="ctr">
                    <a:solidFill>
                      <a:srgbClr val="001965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  <p:sp>
                <p:nvSpPr>
                  <p:cNvPr id="152627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2936815" y="4286843"/>
                    <a:ext cx="162507" cy="107096"/>
                  </a:xfrm>
                  <a:prstGeom prst="rect">
                    <a:avLst/>
                  </a:prstGeom>
                  <a:solidFill>
                    <a:srgbClr val="009FDA"/>
                  </a:solidFill>
                  <a:ln w="9525" algn="ctr">
                    <a:solidFill>
                      <a:srgbClr val="009FDA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  <p:sp>
                <p:nvSpPr>
                  <p:cNvPr id="152628" name="Rectangle 15"/>
                  <p:cNvSpPr>
                    <a:spLocks noChangeArrowheads="1"/>
                  </p:cNvSpPr>
                  <p:nvPr/>
                </p:nvSpPr>
                <p:spPr bwMode="auto">
                  <a:xfrm>
                    <a:off x="5041927" y="4286843"/>
                    <a:ext cx="161247" cy="107096"/>
                  </a:xfrm>
                  <a:prstGeom prst="rect">
                    <a:avLst/>
                  </a:prstGeom>
                  <a:solidFill>
                    <a:srgbClr val="C2DEEA"/>
                  </a:solidFill>
                  <a:ln w="9525" algn="ctr">
                    <a:solidFill>
                      <a:srgbClr val="C2DEEA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  <p:sp>
                <p:nvSpPr>
                  <p:cNvPr id="152629" name="Rectangle 16"/>
                  <p:cNvSpPr>
                    <a:spLocks noChangeArrowheads="1"/>
                  </p:cNvSpPr>
                  <p:nvPr/>
                </p:nvSpPr>
                <p:spPr bwMode="auto">
                  <a:xfrm>
                    <a:off x="941387" y="4472056"/>
                    <a:ext cx="162507" cy="107097"/>
                  </a:xfrm>
                  <a:prstGeom prst="rect">
                    <a:avLst/>
                  </a:prstGeom>
                  <a:solidFill>
                    <a:srgbClr val="739600"/>
                  </a:solidFill>
                  <a:ln w="9525" algn="ctr">
                    <a:solidFill>
                      <a:srgbClr val="7396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>
                    <a:lvl1pPr defTabSz="912813" eaLnBrk="0" hangingPunct="0">
                      <a:spcBef>
                        <a:spcPct val="20000"/>
                      </a:spcBef>
                      <a:buClr>
                        <a:schemeClr val="accent1"/>
                      </a:buClr>
                      <a:buChar char="•"/>
                      <a:defRPr sz="22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1pPr>
                    <a:lvl2pPr marL="742950" indent="-285750" defTabSz="912813" eaLnBrk="0" hangingPunct="0">
                      <a:spcBef>
                        <a:spcPct val="20000"/>
                      </a:spcBef>
                      <a:buClr>
                        <a:schemeClr val="hlink"/>
                      </a:buClr>
                      <a:buChar char="•"/>
                      <a:defRPr sz="20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2pPr>
                    <a:lvl3pPr marL="1143000" indent="-228600" defTabSz="912813" eaLnBrk="0" hangingPunct="0">
                      <a:spcBef>
                        <a:spcPct val="20000"/>
                      </a:spcBef>
                      <a:buClr>
                        <a:schemeClr val="accent2"/>
                      </a:buClr>
                      <a:buChar char="•"/>
                      <a:defRPr sz="2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3pPr>
                    <a:lvl4pPr marL="1600200" indent="-228600" defTabSz="912813" eaLnBrk="0" hangingPunct="0">
                      <a:spcBef>
                        <a:spcPct val="20000"/>
                      </a:spcBef>
                      <a:buClr>
                        <a:schemeClr val="folHlink"/>
                      </a:buClr>
                      <a:buChar char="•"/>
                      <a:defRPr sz="16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4pPr>
                    <a:lvl5pPr marL="2057400" indent="-228600" defTabSz="912813" eaLnBrk="0" hangingPunct="0">
                      <a:spcBef>
                        <a:spcPct val="20000"/>
                      </a:spcBef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5pPr>
                    <a:lvl6pPr marL="25146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6pPr>
                    <a:lvl7pPr marL="29718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7pPr>
                    <a:lvl8pPr marL="34290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8pPr>
                    <a:lvl9pPr marL="3886200" indent="-228600" defTabSz="912813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tx1"/>
                      </a:buClr>
                      <a:buChar char="•"/>
                      <a:defRPr sz="1400">
                        <a:solidFill>
                          <a:schemeClr val="accent2"/>
                        </a:solidFill>
                        <a:latin typeface="Verdana" pitchFamily="34" charset="0"/>
                        <a:ea typeface="MS PGothic" pitchFamily="34" charset="-128"/>
                      </a:defRPr>
                    </a:lvl9pPr>
                  </a:lstStyle>
                  <a:p>
                    <a:pPr algn="ctr" eaLnBrk="1" hangingPunct="1">
                      <a:spcBef>
                        <a:spcPct val="0"/>
                      </a:spcBef>
                      <a:buClrTx/>
                      <a:buFontTx/>
                      <a:buNone/>
                    </a:pPr>
                    <a:endParaRPr lang="en-GB" altLang="en-US" sz="2400" b="1" baseline="0">
                      <a:solidFill>
                        <a:srgbClr val="001965"/>
                      </a:solidFill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152624" name="Rectangle 16"/>
                <p:cNvSpPr>
                  <a:spLocks noChangeArrowheads="1"/>
                </p:cNvSpPr>
                <p:nvPr/>
              </p:nvSpPr>
              <p:spPr bwMode="auto">
                <a:xfrm>
                  <a:off x="2218938" y="4471589"/>
                  <a:ext cx="162506" cy="107096"/>
                </a:xfrm>
                <a:prstGeom prst="rect">
                  <a:avLst/>
                </a:prstGeom>
                <a:solidFill>
                  <a:srgbClr val="D47600"/>
                </a:solidFill>
                <a:ln w="9525" algn="ctr">
                  <a:solidFill>
                    <a:srgbClr val="D47600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>
                  <a:lvl1pPr defTabSz="912813" eaLnBrk="0" hangingPunct="0">
                    <a:spcBef>
                      <a:spcPct val="20000"/>
                    </a:spcBef>
                    <a:buClr>
                      <a:schemeClr val="accent1"/>
                    </a:buClr>
                    <a:buChar char="•"/>
                    <a:defRPr sz="22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1pPr>
                  <a:lvl2pPr marL="742950" indent="-285750" defTabSz="912813" eaLnBrk="0" hangingPunct="0">
                    <a:spcBef>
                      <a:spcPct val="20000"/>
                    </a:spcBef>
                    <a:buClr>
                      <a:schemeClr val="hlink"/>
                    </a:buClr>
                    <a:buChar char="•"/>
                    <a:defRPr sz="20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2pPr>
                  <a:lvl3pPr marL="1143000" indent="-228600" defTabSz="912813" eaLnBrk="0" hangingPunct="0">
                    <a:spcBef>
                      <a:spcPct val="20000"/>
                    </a:spcBef>
                    <a:buClr>
                      <a:schemeClr val="accent2"/>
                    </a:buClr>
                    <a:buChar char="•"/>
                    <a:defRPr sz="2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3pPr>
                  <a:lvl4pPr marL="1600200" indent="-228600" defTabSz="912813" eaLnBrk="0" hangingPunct="0">
                    <a:spcBef>
                      <a:spcPct val="20000"/>
                    </a:spcBef>
                    <a:buClr>
                      <a:schemeClr val="folHlink"/>
                    </a:buClr>
                    <a:buChar char="•"/>
                    <a:defRPr sz="16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4pPr>
                  <a:lvl5pPr marL="2057400" indent="-228600" defTabSz="912813" eaLnBrk="0" hangingPunct="0">
                    <a:spcBef>
                      <a:spcPct val="20000"/>
                    </a:spcBef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5pPr>
                  <a:lvl6pPr marL="25146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6pPr>
                  <a:lvl7pPr marL="29718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7pPr>
                  <a:lvl8pPr marL="34290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8pPr>
                  <a:lvl9pPr marL="3886200" indent="-228600" defTabSz="912813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Char char="•"/>
                    <a:defRPr sz="1400">
                      <a:solidFill>
                        <a:schemeClr val="accent2"/>
                      </a:solidFill>
                      <a:latin typeface="Verdana" pitchFamily="34" charset="0"/>
                      <a:ea typeface="MS PGothic" pitchFamily="34" charset="-128"/>
                    </a:defRPr>
                  </a:lvl9pPr>
                </a:lstStyle>
                <a:p>
                  <a:pPr algn="ctr"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en-GB" altLang="en-US" sz="2400" b="1" baseline="0">
                    <a:solidFill>
                      <a:srgbClr val="001965"/>
                    </a:solidFill>
                    <a:cs typeface="Arial" pitchFamily="34" charset="0"/>
                  </a:endParaRPr>
                </a:p>
              </p:txBody>
            </p:sp>
          </p:grpSp>
          <p:sp>
            <p:nvSpPr>
              <p:cNvPr id="152619" name="Rectangle 104"/>
              <p:cNvSpPr>
                <a:spLocks noChangeArrowheads="1"/>
              </p:cNvSpPr>
              <p:nvPr/>
            </p:nvSpPr>
            <p:spPr bwMode="auto">
              <a:xfrm>
                <a:off x="6017171" y="4188602"/>
                <a:ext cx="1649893" cy="254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Exenatide 2 mg ER </a:t>
                </a:r>
              </a:p>
            </p:txBody>
          </p:sp>
          <p:sp>
            <p:nvSpPr>
              <p:cNvPr id="152620" name="Rectangle 105"/>
              <p:cNvSpPr>
                <a:spLocks noChangeArrowheads="1"/>
              </p:cNvSpPr>
              <p:nvPr/>
            </p:nvSpPr>
            <p:spPr bwMode="auto">
              <a:xfrm>
                <a:off x="3954241" y="4200383"/>
                <a:ext cx="1792567" cy="254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Exenatide 10 µg BID </a:t>
                </a:r>
              </a:p>
            </p:txBody>
          </p:sp>
          <p:sp>
            <p:nvSpPr>
              <p:cNvPr id="152621" name="Rectangle 106"/>
              <p:cNvSpPr>
                <a:spLocks noChangeArrowheads="1"/>
              </p:cNvSpPr>
              <p:nvPr/>
            </p:nvSpPr>
            <p:spPr bwMode="auto">
              <a:xfrm>
                <a:off x="3954241" y="4379393"/>
                <a:ext cx="1629053" cy="254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tabLst>
                    <a:tab pos="1257300" algn="l"/>
                  </a:tabLst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tabLst>
                    <a:tab pos="1257300" algn="l"/>
                  </a:tabLst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tabLst>
                    <a:tab pos="1257300" algn="l"/>
                  </a:tabLst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tabLst>
                    <a:tab pos="1257300" algn="l"/>
                  </a:tabLst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Dulaglutide 1.5 mg</a:t>
                </a:r>
              </a:p>
            </p:txBody>
          </p:sp>
          <p:sp>
            <p:nvSpPr>
              <p:cNvPr id="152622" name="Rectangle 107"/>
              <p:cNvSpPr>
                <a:spLocks noChangeArrowheads="1"/>
              </p:cNvSpPr>
              <p:nvPr/>
            </p:nvSpPr>
            <p:spPr bwMode="auto">
              <a:xfrm>
                <a:off x="1901123" y="4379392"/>
                <a:ext cx="1637069" cy="261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defTabSz="912813" eaLnBrk="0" hangingPunct="0">
                  <a:spcBef>
                    <a:spcPct val="20000"/>
                  </a:spcBef>
                  <a:buClr>
                    <a:schemeClr val="accent1"/>
                  </a:buClr>
                  <a:buChar char="•"/>
                  <a:tabLst>
                    <a:tab pos="1257300" algn="l"/>
                  </a:tabLst>
                  <a:defRPr sz="22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1pPr>
                <a:lvl2pPr marL="742950" indent="-285750" defTabSz="912813" eaLnBrk="0" hangingPunct="0">
                  <a:spcBef>
                    <a:spcPct val="20000"/>
                  </a:spcBef>
                  <a:buClr>
                    <a:schemeClr val="hlink"/>
                  </a:buClr>
                  <a:buChar char="•"/>
                  <a:tabLst>
                    <a:tab pos="1257300" algn="l"/>
                  </a:tabLst>
                  <a:defRPr sz="20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2pPr>
                <a:lvl3pPr marL="1143000" indent="-228600" defTabSz="912813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tabLst>
                    <a:tab pos="1257300" algn="l"/>
                  </a:tabLst>
                  <a:defRPr sz="2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3pPr>
                <a:lvl4pPr marL="1600200" indent="-228600" defTabSz="912813" eaLnBrk="0" hangingPunct="0">
                  <a:spcBef>
                    <a:spcPct val="20000"/>
                  </a:spcBef>
                  <a:buClr>
                    <a:schemeClr val="folHlink"/>
                  </a:buClr>
                  <a:buChar char="•"/>
                  <a:tabLst>
                    <a:tab pos="1257300" algn="l"/>
                  </a:tabLst>
                  <a:defRPr sz="16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4pPr>
                <a:lvl5pPr marL="2057400" indent="-228600" defTabSz="912813" eaLnBrk="0" hangingPunct="0">
                  <a:spcBef>
                    <a:spcPct val="20000"/>
                  </a:spcBef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Char char="•"/>
                  <a:tabLst>
                    <a:tab pos="1257300" algn="l"/>
                  </a:tabLst>
                  <a:defRPr sz="1400">
                    <a:solidFill>
                      <a:schemeClr val="accent2"/>
                    </a:solidFill>
                    <a:latin typeface="Verdana" pitchFamily="34" charset="0"/>
                    <a:ea typeface="MS PGothic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GB" altLang="en-US" sz="1050" b="1" baseline="0">
                    <a:solidFill>
                      <a:srgbClr val="001965"/>
                    </a:solidFill>
                    <a:cs typeface="Arial" pitchFamily="34" charset="0"/>
                  </a:rPr>
                  <a:t>Albiglutide 50 mg </a:t>
                </a:r>
              </a:p>
            </p:txBody>
          </p:sp>
        </p:grpSp>
        <p:sp>
          <p:nvSpPr>
            <p:cNvPr id="152614" name="Rectangle 15"/>
            <p:cNvSpPr>
              <a:spLocks noChangeArrowheads="1"/>
            </p:cNvSpPr>
            <p:nvPr/>
          </p:nvSpPr>
          <p:spPr bwMode="auto">
            <a:xfrm>
              <a:off x="7551300" y="3902492"/>
              <a:ext cx="161261" cy="107104"/>
            </a:xfrm>
            <a:prstGeom prst="rect">
              <a:avLst/>
            </a:prstGeom>
            <a:solidFill>
              <a:srgbClr val="948A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GB" altLang="en-US" sz="2400" b="1" baseline="0">
                <a:solidFill>
                  <a:srgbClr val="001965"/>
                </a:solidFill>
                <a:cs typeface="Arial" pitchFamily="34" charset="0"/>
              </a:endParaRPr>
            </a:p>
          </p:txBody>
        </p:sp>
        <p:sp>
          <p:nvSpPr>
            <p:cNvPr id="152615" name="Rectangle 100"/>
            <p:cNvSpPr>
              <a:spLocks noChangeArrowheads="1"/>
            </p:cNvSpPr>
            <p:nvPr/>
          </p:nvSpPr>
          <p:spPr bwMode="auto">
            <a:xfrm>
              <a:off x="7680114" y="3814387"/>
              <a:ext cx="1629053" cy="254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GB" altLang="en-US" sz="1050" b="1" baseline="0">
                  <a:solidFill>
                    <a:srgbClr val="001965"/>
                  </a:solidFill>
                  <a:cs typeface="Arial" pitchFamily="34" charset="0"/>
                </a:rPr>
                <a:t>Sitagliptin 100 mg </a:t>
              </a:r>
            </a:p>
          </p:txBody>
        </p:sp>
        <p:sp>
          <p:nvSpPr>
            <p:cNvPr id="152616" name="Rectangle 15"/>
            <p:cNvSpPr>
              <a:spLocks noChangeArrowheads="1"/>
            </p:cNvSpPr>
            <p:nvPr/>
          </p:nvSpPr>
          <p:spPr bwMode="auto">
            <a:xfrm>
              <a:off x="5554990" y="4114269"/>
              <a:ext cx="161261" cy="107104"/>
            </a:xfrm>
            <a:prstGeom prst="rect">
              <a:avLst/>
            </a:prstGeom>
            <a:solidFill>
              <a:srgbClr val="C05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GB" altLang="en-US" sz="2400" b="1" baseline="0">
                <a:solidFill>
                  <a:srgbClr val="001965"/>
                </a:solidFill>
                <a:cs typeface="Arial" pitchFamily="34" charset="0"/>
              </a:endParaRPr>
            </a:p>
          </p:txBody>
        </p:sp>
        <p:sp>
          <p:nvSpPr>
            <p:cNvPr id="152617" name="Rectangle 102"/>
            <p:cNvSpPr>
              <a:spLocks noChangeArrowheads="1"/>
            </p:cNvSpPr>
            <p:nvPr/>
          </p:nvSpPr>
          <p:spPr bwMode="auto">
            <a:xfrm>
              <a:off x="5686971" y="4017446"/>
              <a:ext cx="1640275" cy="261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912813" eaLnBrk="0" hangingPunct="0">
                <a:spcBef>
                  <a:spcPct val="20000"/>
                </a:spcBef>
                <a:buClr>
                  <a:schemeClr val="accent1"/>
                </a:buClr>
                <a:buChar char="•"/>
                <a:defRPr sz="22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spcBef>
                  <a:spcPct val="20000"/>
                </a:spcBef>
                <a:buClr>
                  <a:schemeClr val="hlink"/>
                </a:buClr>
                <a:buChar char="•"/>
                <a:defRPr sz="20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spcBef>
                  <a:spcPct val="20000"/>
                </a:spcBef>
                <a:buClr>
                  <a:schemeClr val="folHlink"/>
                </a:buClr>
                <a:buChar char="•"/>
                <a:defRPr sz="16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1400">
                  <a:solidFill>
                    <a:schemeClr val="accent2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GB" altLang="en-US" sz="1050" b="1" baseline="0">
                  <a:solidFill>
                    <a:srgbClr val="001965"/>
                  </a:solidFill>
                  <a:cs typeface="Arial" pitchFamily="34" charset="0"/>
                </a:rPr>
                <a:t>Lixisenatide 20 µg</a:t>
              </a:r>
            </a:p>
          </p:txBody>
        </p:sp>
      </p:grpSp>
      <p:sp>
        <p:nvSpPr>
          <p:cNvPr id="116" name="Title 1"/>
          <p:cNvSpPr txBox="1">
            <a:spLocks/>
          </p:cNvSpPr>
          <p:nvPr/>
        </p:nvSpPr>
        <p:spPr bwMode="auto">
          <a:xfrm>
            <a:off x="344488" y="877889"/>
            <a:ext cx="8691562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MS PGothic" pitchFamily="34" charset="-128"/>
                <a:cs typeface="ＭＳ Ｐゴシック" pitchFamily="-112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  <a:ea typeface="MS PGothic" pitchFamily="34" charset="-128"/>
                <a:cs typeface="ＭＳ Ｐゴシック" pitchFamily="-112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  <a:ea typeface="MS PGothic" pitchFamily="34" charset="-128"/>
                <a:cs typeface="ＭＳ Ｐゴシック" pitchFamily="-112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  <a:ea typeface="MS PGothic" pitchFamily="34" charset="-128"/>
                <a:cs typeface="ＭＳ Ｐゴシック" pitchFamily="-112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  <a:ea typeface="MS PGothic" pitchFamily="34" charset="-128"/>
                <a:cs typeface="ＭＳ Ｐゴシック" pitchFamily="-112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endParaRPr lang="en-GB" sz="1600" kern="0" dirty="0"/>
          </a:p>
        </p:txBody>
      </p:sp>
      <p:grpSp>
        <p:nvGrpSpPr>
          <p:cNvPr id="152593" name="Group 206"/>
          <p:cNvGrpSpPr>
            <a:grpSpLocks/>
          </p:cNvGrpSpPr>
          <p:nvPr/>
        </p:nvGrpSpPr>
        <p:grpSpPr bwMode="auto">
          <a:xfrm rot="16200000" flipH="1">
            <a:off x="7714457" y="4175919"/>
            <a:ext cx="139700" cy="519113"/>
            <a:chOff x="7046273" y="3316407"/>
            <a:chExt cx="364465" cy="580031"/>
          </a:xfrm>
        </p:grpSpPr>
        <p:sp>
          <p:nvSpPr>
            <p:cNvPr id="152611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2612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grpSp>
        <p:nvGrpSpPr>
          <p:cNvPr id="152594" name="Group 206"/>
          <p:cNvGrpSpPr>
            <a:grpSpLocks/>
          </p:cNvGrpSpPr>
          <p:nvPr/>
        </p:nvGrpSpPr>
        <p:grpSpPr bwMode="auto">
          <a:xfrm rot="16200000" flipH="1">
            <a:off x="3063082" y="4167982"/>
            <a:ext cx="131762" cy="460375"/>
            <a:chOff x="7046273" y="3316407"/>
            <a:chExt cx="364465" cy="580031"/>
          </a:xfrm>
        </p:grpSpPr>
        <p:sp>
          <p:nvSpPr>
            <p:cNvPr id="152609" name="Freeform 200"/>
            <p:cNvSpPr>
              <a:spLocks/>
            </p:cNvSpPr>
            <p:nvPr/>
          </p:nvSpPr>
          <p:spPr bwMode="auto">
            <a:xfrm rot="-5400000" flipH="1" flipV="1">
              <a:off x="7085495" y="3571195"/>
              <a:ext cx="286021" cy="364465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  <p:sp>
          <p:nvSpPr>
            <p:cNvPr id="152610" name="Freeform 201"/>
            <p:cNvSpPr>
              <a:spLocks/>
            </p:cNvSpPr>
            <p:nvPr/>
          </p:nvSpPr>
          <p:spPr bwMode="auto">
            <a:xfrm rot="5400000" flipH="1">
              <a:off x="7158096" y="3431279"/>
              <a:ext cx="367514" cy="137769"/>
            </a:xfrm>
            <a:custGeom>
              <a:avLst/>
              <a:gdLst>
                <a:gd name="T0" fmla="*/ 0 w 272"/>
                <a:gd name="T1" fmla="*/ 0 h 76"/>
                <a:gd name="T2" fmla="*/ 2147483647 w 272"/>
                <a:gd name="T3" fmla="*/ 0 h 76"/>
                <a:gd name="T4" fmla="*/ 2147483647 w 272"/>
                <a:gd name="T5" fmla="*/ 2147483647 h 76"/>
                <a:gd name="T6" fmla="*/ 0 60000 65536"/>
                <a:gd name="T7" fmla="*/ 0 60000 65536"/>
                <a:gd name="T8" fmla="*/ 0 60000 65536"/>
                <a:gd name="T9" fmla="*/ 0 w 272"/>
                <a:gd name="T10" fmla="*/ 0 h 76"/>
                <a:gd name="T11" fmla="*/ 272 w 272"/>
                <a:gd name="T12" fmla="*/ 76 h 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2" h="76">
                  <a:moveTo>
                    <a:pt x="0" y="0"/>
                  </a:moveTo>
                  <a:lnTo>
                    <a:pt x="272" y="0"/>
                  </a:lnTo>
                  <a:lnTo>
                    <a:pt x="272" y="76"/>
                  </a:lnTo>
                </a:path>
              </a:pathLst>
            </a:custGeom>
            <a:noFill/>
            <a:ln w="28575">
              <a:solidFill>
                <a:schemeClr val="folHlink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2400" b="1" baseline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endParaRPr>
            </a:p>
          </p:txBody>
        </p:sp>
      </p:grpSp>
      <p:cxnSp>
        <p:nvCxnSpPr>
          <p:cNvPr id="66" name="Straight Connector 65"/>
          <p:cNvCxnSpPr/>
          <p:nvPr/>
        </p:nvCxnSpPr>
        <p:spPr bwMode="auto">
          <a:xfrm>
            <a:off x="7235825" y="1309688"/>
            <a:ext cx="0" cy="3687762"/>
          </a:xfrm>
          <a:prstGeom prst="line">
            <a:avLst/>
          </a:prstGeom>
          <a:solidFill>
            <a:schemeClr val="accent1"/>
          </a:solidFill>
          <a:ln w="22225" cap="flat" cmpd="sng" algn="ctr">
            <a:solidFill>
              <a:schemeClr val="bg1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52596" name="TextBox 41"/>
          <p:cNvSpPr txBox="1">
            <a:spLocks noChangeArrowheads="1"/>
          </p:cNvSpPr>
          <p:nvPr/>
        </p:nvSpPr>
        <p:spPr bwMode="auto">
          <a:xfrm>
            <a:off x="1668463" y="1742777"/>
            <a:ext cx="6604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LEAD-6</a:t>
            </a:r>
          </a:p>
        </p:txBody>
      </p:sp>
      <p:sp>
        <p:nvSpPr>
          <p:cNvPr id="152597" name="TextBox 42"/>
          <p:cNvSpPr txBox="1">
            <a:spLocks noChangeArrowheads="1"/>
          </p:cNvSpPr>
          <p:nvPr/>
        </p:nvSpPr>
        <p:spPr bwMode="auto">
          <a:xfrm>
            <a:off x="2555875" y="1753891"/>
            <a:ext cx="102870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DURATION-6</a:t>
            </a:r>
          </a:p>
        </p:txBody>
      </p:sp>
      <p:sp>
        <p:nvSpPr>
          <p:cNvPr id="152598" name="TextBox 43"/>
          <p:cNvSpPr txBox="1">
            <a:spLocks noChangeArrowheads="1"/>
          </p:cNvSpPr>
          <p:nvPr/>
        </p:nvSpPr>
        <p:spPr bwMode="auto">
          <a:xfrm>
            <a:off x="3708401" y="1742778"/>
            <a:ext cx="98901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HARMONY-7</a:t>
            </a:r>
          </a:p>
        </p:txBody>
      </p:sp>
      <p:sp>
        <p:nvSpPr>
          <p:cNvPr id="152599" name="TextBox 33"/>
          <p:cNvSpPr txBox="1">
            <a:spLocks noChangeArrowheads="1"/>
          </p:cNvSpPr>
          <p:nvPr/>
        </p:nvSpPr>
        <p:spPr bwMode="auto">
          <a:xfrm>
            <a:off x="4932363" y="1753891"/>
            <a:ext cx="8191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AWARD-6</a:t>
            </a:r>
          </a:p>
        </p:txBody>
      </p:sp>
      <p:sp>
        <p:nvSpPr>
          <p:cNvPr id="152600" name="TextBox 69"/>
          <p:cNvSpPr txBox="1">
            <a:spLocks noChangeArrowheads="1"/>
          </p:cNvSpPr>
          <p:nvPr/>
        </p:nvSpPr>
        <p:spPr bwMode="auto">
          <a:xfrm>
            <a:off x="6156326" y="1753891"/>
            <a:ext cx="7207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Lira-Lixi</a:t>
            </a:r>
          </a:p>
        </p:txBody>
      </p:sp>
      <p:sp>
        <p:nvSpPr>
          <p:cNvPr id="152601" name="TextBox 70"/>
          <p:cNvSpPr txBox="1">
            <a:spLocks noChangeArrowheads="1"/>
          </p:cNvSpPr>
          <p:nvPr/>
        </p:nvSpPr>
        <p:spPr bwMode="auto">
          <a:xfrm>
            <a:off x="7235825" y="1758652"/>
            <a:ext cx="877888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4" tIns="45717" rIns="91434" bIns="45717">
            <a:spAutoFit/>
          </a:bodyPr>
          <a:lstStyle>
            <a:lvl1pPr defTabSz="912813"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1965"/>
                </a:solidFill>
                <a:cs typeface="Arial" pitchFamily="34" charset="0"/>
              </a:rPr>
              <a:t>Lira-DPP4i</a:t>
            </a:r>
          </a:p>
        </p:txBody>
      </p:sp>
      <p:sp>
        <p:nvSpPr>
          <p:cNvPr id="152602" name="Rounded Rectangle 72"/>
          <p:cNvSpPr>
            <a:spLocks noChangeArrowheads="1"/>
          </p:cNvSpPr>
          <p:nvPr/>
        </p:nvSpPr>
        <p:spPr bwMode="auto">
          <a:xfrm>
            <a:off x="1589089" y="1348954"/>
            <a:ext cx="828675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 err="1">
                <a:solidFill>
                  <a:srgbClr val="002060"/>
                </a:solidFill>
              </a:rPr>
              <a:t>exenatide</a:t>
            </a:r>
            <a:endParaRPr lang="en-GB" altLang="en-US" sz="900" b="1" baseline="0" dirty="0">
              <a:solidFill>
                <a:srgbClr val="002060"/>
              </a:solidFill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>
                <a:solidFill>
                  <a:srgbClr val="002060"/>
                </a:solidFill>
              </a:rPr>
              <a:t>BID</a:t>
            </a:r>
          </a:p>
        </p:txBody>
      </p:sp>
      <p:sp>
        <p:nvSpPr>
          <p:cNvPr id="152603" name="Rounded Rectangle 73"/>
          <p:cNvSpPr>
            <a:spLocks noChangeArrowheads="1"/>
          </p:cNvSpPr>
          <p:nvPr/>
        </p:nvSpPr>
        <p:spPr bwMode="auto">
          <a:xfrm>
            <a:off x="2717801" y="1348954"/>
            <a:ext cx="828675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 err="1">
                <a:solidFill>
                  <a:srgbClr val="002060"/>
                </a:solidFill>
              </a:rPr>
              <a:t>exenatide</a:t>
            </a:r>
            <a:endParaRPr lang="en-GB" altLang="en-US" sz="900" b="1" baseline="0" dirty="0">
              <a:solidFill>
                <a:srgbClr val="002060"/>
              </a:solidFill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 dirty="0">
                <a:solidFill>
                  <a:srgbClr val="002060"/>
                </a:solidFill>
              </a:rPr>
              <a:t>ER</a:t>
            </a:r>
          </a:p>
        </p:txBody>
      </p:sp>
      <p:sp>
        <p:nvSpPr>
          <p:cNvPr id="152604" name="Rounded Rectangle 74"/>
          <p:cNvSpPr>
            <a:spLocks noChangeArrowheads="1"/>
          </p:cNvSpPr>
          <p:nvPr/>
        </p:nvSpPr>
        <p:spPr bwMode="auto">
          <a:xfrm>
            <a:off x="3810000" y="1348954"/>
            <a:ext cx="827088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albiglutide</a:t>
            </a:r>
          </a:p>
        </p:txBody>
      </p:sp>
      <p:sp>
        <p:nvSpPr>
          <p:cNvPr id="152605" name="Rounded Rectangle 75"/>
          <p:cNvSpPr>
            <a:spLocks noChangeArrowheads="1"/>
          </p:cNvSpPr>
          <p:nvPr/>
        </p:nvSpPr>
        <p:spPr bwMode="auto">
          <a:xfrm>
            <a:off x="4976814" y="1348954"/>
            <a:ext cx="827087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dulaglutide</a:t>
            </a:r>
          </a:p>
        </p:txBody>
      </p:sp>
      <p:sp>
        <p:nvSpPr>
          <p:cNvPr id="152606" name="Rounded Rectangle 76"/>
          <p:cNvSpPr>
            <a:spLocks noChangeArrowheads="1"/>
          </p:cNvSpPr>
          <p:nvPr/>
        </p:nvSpPr>
        <p:spPr bwMode="auto">
          <a:xfrm>
            <a:off x="6167439" y="1348954"/>
            <a:ext cx="828675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lixisenatide</a:t>
            </a:r>
          </a:p>
        </p:txBody>
      </p:sp>
      <p:sp>
        <p:nvSpPr>
          <p:cNvPr id="152607" name="Rounded Rectangle 77"/>
          <p:cNvSpPr>
            <a:spLocks noChangeArrowheads="1"/>
          </p:cNvSpPr>
          <p:nvPr/>
        </p:nvSpPr>
        <p:spPr bwMode="auto">
          <a:xfrm>
            <a:off x="7256464" y="1348954"/>
            <a:ext cx="827087" cy="423862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en-GB" altLang="en-US" sz="900" b="1" baseline="0">
                <a:solidFill>
                  <a:srgbClr val="002060"/>
                </a:solidFill>
              </a:rPr>
              <a:t>sitagliptine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676457" y="5852011"/>
            <a:ext cx="53091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600" b="1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Slide 26</a:t>
            </a:r>
          </a:p>
        </p:txBody>
      </p:sp>
      <p:sp>
        <p:nvSpPr>
          <p:cNvPr id="62" name="Action Button: Home 61">
            <a:hlinkClick r:id="rId6" action="ppaction://hlinksldjump" highlightClick="1"/>
          </p:cNvPr>
          <p:cNvSpPr/>
          <p:nvPr/>
        </p:nvSpPr>
        <p:spPr>
          <a:xfrm>
            <a:off x="8859624" y="879048"/>
            <a:ext cx="248881" cy="245696"/>
          </a:xfrm>
          <a:prstGeom prst="actionButtonHome">
            <a:avLst/>
          </a:prstGeom>
          <a:ln w="6350">
            <a:solidFill>
              <a:srgbClr val="001423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2000" b="1" baseline="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072045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el 1"/>
          <p:cNvSpPr>
            <a:spLocks noGrp="1"/>
          </p:cNvSpPr>
          <p:nvPr>
            <p:ph type="title"/>
          </p:nvPr>
        </p:nvSpPr>
        <p:spPr>
          <a:xfrm>
            <a:off x="720725" y="280855"/>
            <a:ext cx="7432675" cy="1143000"/>
          </a:xfrm>
        </p:spPr>
        <p:txBody>
          <a:bodyPr/>
          <a:lstStyle/>
          <a:p>
            <a:r>
              <a:rPr lang="nl-BE" altLang="nl-BE" sz="2400" dirty="0">
                <a:ea typeface="Geneva"/>
                <a:cs typeface="Geneva"/>
              </a:rPr>
              <a:t>Cardiovasculair benefit met </a:t>
            </a:r>
            <a:r>
              <a:rPr lang="nl-BE" altLang="nl-BE" sz="2400" dirty="0" err="1">
                <a:ea typeface="Geneva"/>
                <a:cs typeface="Geneva"/>
              </a:rPr>
              <a:t>liraglutide</a:t>
            </a:r>
            <a:endParaRPr lang="nl-BE" altLang="nl-BE" sz="2400" dirty="0">
              <a:ea typeface="Geneva"/>
              <a:cs typeface="Geneva"/>
            </a:endParaRPr>
          </a:p>
        </p:txBody>
      </p:sp>
      <p:sp>
        <p:nvSpPr>
          <p:cNvPr id="91139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9D5EC56B-13C2-49C5-BB7E-F2E0BA72FE2B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7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91140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0725" y="1203063"/>
            <a:ext cx="7715250" cy="40513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41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0" y="5618431"/>
            <a:ext cx="6564313" cy="956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16107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Wat met bloeddruk?</a:t>
            </a:r>
            <a:endParaRPr lang="nl-BE" altLang="nl-BE" sz="2800">
              <a:ea typeface="Geneva"/>
              <a:cs typeface="Geneva"/>
            </a:endParaRPr>
          </a:p>
        </p:txBody>
      </p:sp>
      <p:sp>
        <p:nvSpPr>
          <p:cNvPr id="98307" name="Content Placeholder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/>
            <a:r>
              <a:rPr lang="fr-BE" altLang="nl-BE">
                <a:ea typeface="Geneva"/>
                <a:cs typeface="Geneva"/>
              </a:rPr>
              <a:t>Streefdoel &lt; 140/90 mmHg</a:t>
            </a:r>
          </a:p>
          <a:p>
            <a:pPr eaLnBrk="1" hangingPunct="1"/>
            <a:r>
              <a:rPr lang="fr-BE" altLang="nl-BE">
                <a:ea typeface="Geneva"/>
                <a:cs typeface="Geneva"/>
              </a:rPr>
              <a:t>1ste keuze : ACE-inhibitie/sartaan (vooral bij nierlijden)</a:t>
            </a:r>
          </a:p>
          <a:p>
            <a:pPr eaLnBrk="1" hangingPunct="1"/>
            <a:r>
              <a:rPr lang="fr-BE" altLang="nl-BE">
                <a:ea typeface="Geneva"/>
                <a:cs typeface="Geneva"/>
              </a:rPr>
              <a:t>Dihydropiridine calciumantagonist/ thiazide </a:t>
            </a:r>
          </a:p>
          <a:p>
            <a:pPr eaLnBrk="1" hangingPunct="1"/>
            <a:endParaRPr lang="nl-BE" altLang="nl-BE">
              <a:ea typeface="Geneva"/>
              <a:cs typeface="Geneva"/>
            </a:endParaRPr>
          </a:p>
        </p:txBody>
      </p:sp>
      <p:sp>
        <p:nvSpPr>
          <p:cNvPr id="9830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1630154-B23B-4013-882D-F8D355862824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8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274904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Wat met cholesterol?</a:t>
            </a:r>
            <a:endParaRPr lang="nl-BE" altLang="nl-BE" sz="2800">
              <a:ea typeface="Geneva"/>
              <a:cs typeface="Genev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>
              <a:defRPr/>
            </a:pPr>
            <a:r>
              <a:rPr lang="fr-BE" dirty="0" err="1"/>
              <a:t>Tussen</a:t>
            </a:r>
            <a:r>
              <a:rPr lang="fr-BE" dirty="0"/>
              <a:t> 40-75 </a:t>
            </a:r>
            <a:r>
              <a:rPr lang="fr-BE" dirty="0" err="1"/>
              <a:t>jaar</a:t>
            </a:r>
            <a:r>
              <a:rPr lang="fr-BE" dirty="0"/>
              <a:t> </a:t>
            </a:r>
          </a:p>
          <a:p>
            <a:pPr marL="0" indent="0" eaLnBrk="1" hangingPunct="1">
              <a:buFontTx/>
              <a:buNone/>
              <a:defRPr/>
            </a:pPr>
            <a:r>
              <a:rPr lang="fr-BE" dirty="0">
                <a:sym typeface="Wingdings" panose="05000000000000000000" pitchFamily="2" charset="2"/>
              </a:rPr>
              <a:t> </a:t>
            </a:r>
            <a:r>
              <a:rPr lang="fr-BE" dirty="0" err="1">
                <a:sym typeface="Wingdings" panose="05000000000000000000" pitchFamily="2" charset="2"/>
              </a:rPr>
              <a:t>streefdoel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LDL-cholesterol</a:t>
            </a:r>
            <a:r>
              <a:rPr lang="fr-BE" dirty="0">
                <a:sym typeface="Wingdings" panose="05000000000000000000" pitchFamily="2" charset="2"/>
              </a:rPr>
              <a:t> &lt; </a:t>
            </a:r>
            <a:r>
              <a:rPr lang="fr-BE" dirty="0" err="1">
                <a:sym typeface="Wingdings" panose="05000000000000000000" pitchFamily="2" charset="2"/>
              </a:rPr>
              <a:t>70mg</a:t>
            </a:r>
            <a:r>
              <a:rPr lang="fr-BE" dirty="0">
                <a:sym typeface="Wingdings" panose="05000000000000000000" pitchFamily="2" charset="2"/>
              </a:rPr>
              <a:t>/dl</a:t>
            </a:r>
          </a:p>
          <a:p>
            <a:pPr marL="0" indent="0" eaLnBrk="1" hangingPunct="1">
              <a:buFontTx/>
              <a:buNone/>
              <a:defRPr/>
            </a:pPr>
            <a:endParaRPr lang="fr-BE" dirty="0">
              <a:sym typeface="Wingdings" panose="05000000000000000000" pitchFamily="2" charset="2"/>
            </a:endParaRPr>
          </a:p>
          <a:p>
            <a:pPr eaLnBrk="1" hangingPunct="1">
              <a:defRPr/>
            </a:pPr>
            <a:r>
              <a:rPr lang="fr-BE" dirty="0">
                <a:sym typeface="Wingdings" panose="05000000000000000000" pitchFamily="2" charset="2"/>
              </a:rPr>
              <a:t>&lt; 40 </a:t>
            </a:r>
            <a:r>
              <a:rPr lang="fr-BE" dirty="0" err="1">
                <a:sym typeface="Wingdings" panose="05000000000000000000" pitchFamily="2" charset="2"/>
              </a:rPr>
              <a:t>jaar</a:t>
            </a:r>
            <a:r>
              <a:rPr lang="fr-BE" dirty="0">
                <a:sym typeface="Wingdings" panose="05000000000000000000" pitchFamily="2" charset="2"/>
              </a:rPr>
              <a:t> </a:t>
            </a:r>
          </a:p>
          <a:p>
            <a:pPr marL="0" indent="0" eaLnBrk="1" hangingPunct="1">
              <a:buFontTx/>
              <a:buNone/>
              <a:defRPr/>
            </a:pPr>
            <a:r>
              <a:rPr lang="fr-BE" dirty="0">
                <a:sym typeface="Wingdings" panose="05000000000000000000" pitchFamily="2" charset="2"/>
              </a:rPr>
              <a:t>  </a:t>
            </a:r>
            <a:r>
              <a:rPr lang="fr-BE" dirty="0" err="1">
                <a:sym typeface="Wingdings" panose="05000000000000000000" pitchFamily="2" charset="2"/>
              </a:rPr>
              <a:t>LDL</a:t>
            </a:r>
            <a:r>
              <a:rPr lang="fr-BE" dirty="0">
                <a:sym typeface="Wingdings" panose="05000000000000000000" pitchFamily="2" charset="2"/>
              </a:rPr>
              <a:t>- </a:t>
            </a:r>
            <a:r>
              <a:rPr lang="fr-BE" dirty="0" err="1">
                <a:sym typeface="Wingdings" panose="05000000000000000000" pitchFamily="2" charset="2"/>
              </a:rPr>
              <a:t>cholesterol</a:t>
            </a:r>
            <a:r>
              <a:rPr lang="fr-BE" dirty="0">
                <a:sym typeface="Wingdings" panose="05000000000000000000" pitchFamily="2" charset="2"/>
              </a:rPr>
              <a:t> &gt; </a:t>
            </a:r>
            <a:r>
              <a:rPr lang="fr-BE" dirty="0" err="1">
                <a:sym typeface="Wingdings" panose="05000000000000000000" pitchFamily="2" charset="2"/>
              </a:rPr>
              <a:t>100mg</a:t>
            </a:r>
            <a:r>
              <a:rPr lang="fr-BE" dirty="0">
                <a:sym typeface="Wingdings" panose="05000000000000000000" pitchFamily="2" charset="2"/>
              </a:rPr>
              <a:t>/dl  statine </a:t>
            </a:r>
          </a:p>
          <a:p>
            <a:pPr marL="0" indent="0" eaLnBrk="1" hangingPunct="1">
              <a:buFontTx/>
              <a:buNone/>
              <a:defRPr/>
            </a:pPr>
            <a:r>
              <a:rPr lang="fr-BE" dirty="0">
                <a:sym typeface="Wingdings" panose="05000000000000000000" pitchFamily="2" charset="2"/>
              </a:rPr>
              <a:t>  </a:t>
            </a:r>
            <a:r>
              <a:rPr lang="fr-BE" dirty="0" err="1">
                <a:sym typeface="Wingdings" panose="05000000000000000000" pitchFamily="2" charset="2"/>
              </a:rPr>
              <a:t>CVD</a:t>
            </a:r>
            <a:r>
              <a:rPr lang="fr-BE" dirty="0">
                <a:sym typeface="Wingdings" panose="05000000000000000000" pitchFamily="2" charset="2"/>
              </a:rPr>
              <a:t>, </a:t>
            </a:r>
            <a:r>
              <a:rPr lang="fr-BE" dirty="0" err="1">
                <a:sym typeface="Wingdings" panose="05000000000000000000" pitchFamily="2" charset="2"/>
              </a:rPr>
              <a:t>roken</a:t>
            </a:r>
            <a:r>
              <a:rPr lang="fr-BE" dirty="0">
                <a:sym typeface="Wingdings" panose="05000000000000000000" pitchFamily="2" charset="2"/>
              </a:rPr>
              <a:t>, </a:t>
            </a:r>
            <a:r>
              <a:rPr lang="fr-BE" dirty="0" err="1">
                <a:sym typeface="Wingdings" panose="05000000000000000000" pitchFamily="2" charset="2"/>
              </a:rPr>
              <a:t>obesitas</a:t>
            </a:r>
            <a:r>
              <a:rPr lang="fr-BE" dirty="0">
                <a:sym typeface="Wingdings" panose="05000000000000000000" pitchFamily="2" charset="2"/>
              </a:rPr>
              <a:t>, </a:t>
            </a:r>
            <a:r>
              <a:rPr lang="fr-BE" dirty="0" err="1">
                <a:sym typeface="Wingdings" panose="05000000000000000000" pitchFamily="2" charset="2"/>
              </a:rPr>
              <a:t>AHT</a:t>
            </a:r>
            <a:r>
              <a:rPr lang="fr-BE" dirty="0">
                <a:sym typeface="Wingdings" panose="05000000000000000000" pitchFamily="2" charset="2"/>
              </a:rPr>
              <a:t>: </a:t>
            </a:r>
            <a:r>
              <a:rPr lang="fr-BE" dirty="0" err="1">
                <a:sym typeface="Wingdings" panose="05000000000000000000" pitchFamily="2" charset="2"/>
              </a:rPr>
              <a:t>LDL-cholesterol</a:t>
            </a:r>
            <a:r>
              <a:rPr lang="fr-BE" dirty="0">
                <a:sym typeface="Wingdings" panose="05000000000000000000" pitchFamily="2" charset="2"/>
              </a:rPr>
              <a:t> &lt; </a:t>
            </a:r>
            <a:r>
              <a:rPr lang="fr-BE" dirty="0" err="1">
                <a:sym typeface="Wingdings" panose="05000000000000000000" pitchFamily="2" charset="2"/>
              </a:rPr>
              <a:t>70mg</a:t>
            </a:r>
            <a:r>
              <a:rPr lang="fr-BE" dirty="0">
                <a:sym typeface="Wingdings" panose="05000000000000000000" pitchFamily="2" charset="2"/>
              </a:rPr>
              <a:t>/dl</a:t>
            </a:r>
          </a:p>
          <a:p>
            <a:pPr eaLnBrk="1" hangingPunct="1">
              <a:defRPr/>
            </a:pPr>
            <a:endParaRPr lang="nl-BE" dirty="0"/>
          </a:p>
        </p:txBody>
      </p:sp>
      <p:sp>
        <p:nvSpPr>
          <p:cNvPr id="10854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A551BA1-FBC3-4F08-B629-5023DF195076}" type="slidenum">
              <a:rPr lang="nl-NL" altLang="nl-BE" sz="1000" smtClean="0">
                <a:solidFill>
                  <a:srgbClr val="7F7F7F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9</a:t>
            </a:fld>
            <a:endParaRPr lang="nl-NL" altLang="nl-BE" sz="100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37404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sz="2800" dirty="0">
                <a:ea typeface="Geneva"/>
                <a:cs typeface="Geneva"/>
              </a:rPr>
              <a:t>Bijna 700 biljoen dollar van het gezondheidsbudget</a:t>
            </a:r>
          </a:p>
        </p:txBody>
      </p:sp>
      <p:sp>
        <p:nvSpPr>
          <p:cNvPr id="45059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6461125" y="6346825"/>
            <a:ext cx="2133600" cy="3365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nl-NL" altLang="nl-BE" sz="1000">
                <a:solidFill>
                  <a:srgbClr val="191919"/>
                </a:solidFill>
                <a:latin typeface="Arial" panose="020B0604020202020204" pitchFamily="34" charset="0"/>
              </a:rPr>
              <a:t>IDF ATLAS versie 2015</a:t>
            </a:r>
          </a:p>
        </p:txBody>
      </p:sp>
      <p:pic>
        <p:nvPicPr>
          <p:cNvPr id="4506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32038" y="1508125"/>
            <a:ext cx="4449762" cy="4603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0706688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Wat met aspirine in primaire preventie? </a:t>
            </a:r>
            <a:endParaRPr lang="nl-BE" altLang="nl-BE" sz="2800">
              <a:ea typeface="Geneva"/>
              <a:cs typeface="Genev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>
              <a:defRPr/>
            </a:pPr>
            <a:r>
              <a:rPr lang="fr-BE" dirty="0" err="1"/>
              <a:t>Asaflow</a:t>
            </a:r>
            <a:r>
              <a:rPr lang="fr-BE" dirty="0"/>
              <a:t> </a:t>
            </a:r>
            <a:r>
              <a:rPr lang="fr-BE" dirty="0" err="1"/>
              <a:t>80mg</a:t>
            </a:r>
            <a:endParaRPr lang="fr-BE" dirty="0"/>
          </a:p>
          <a:p>
            <a:pPr marL="0" indent="0" eaLnBrk="1" hangingPunct="1">
              <a:buFontTx/>
              <a:buNone/>
              <a:defRPr/>
            </a:pPr>
            <a:r>
              <a:rPr lang="fr-BE" dirty="0" err="1"/>
              <a:t>diabetes</a:t>
            </a:r>
            <a:r>
              <a:rPr lang="fr-BE" dirty="0"/>
              <a:t> + &gt; 50 </a:t>
            </a:r>
            <a:r>
              <a:rPr lang="fr-BE" dirty="0" err="1"/>
              <a:t>jaar</a:t>
            </a:r>
            <a:r>
              <a:rPr lang="fr-BE" dirty="0"/>
              <a:t> </a:t>
            </a:r>
          </a:p>
          <a:p>
            <a:pPr marL="0" indent="0" eaLnBrk="1" hangingPunct="1">
              <a:buFontTx/>
              <a:buNone/>
              <a:defRPr/>
            </a:pPr>
            <a:r>
              <a:rPr lang="fr-BE" dirty="0"/>
              <a:t>Indien</a:t>
            </a:r>
          </a:p>
          <a:p>
            <a:pPr eaLnBrk="1" hangingPunct="1">
              <a:buFont typeface="Wingdings"/>
              <a:buChar char="à"/>
              <a:defRPr/>
            </a:pPr>
            <a:r>
              <a:rPr lang="fr-BE" dirty="0">
                <a:sym typeface="Wingdings" panose="05000000000000000000" pitchFamily="2" charset="2"/>
              </a:rPr>
              <a:t>FA + </a:t>
            </a:r>
            <a:r>
              <a:rPr lang="fr-BE" dirty="0" err="1">
                <a:sym typeface="Wingdings" panose="05000000000000000000" pitchFamily="2" charset="2"/>
              </a:rPr>
              <a:t>voor</a:t>
            </a:r>
            <a:r>
              <a:rPr lang="fr-BE" dirty="0">
                <a:sym typeface="Wingdings" panose="05000000000000000000" pitchFamily="2" charset="2"/>
              </a:rPr>
              <a:t> </a:t>
            </a:r>
            <a:r>
              <a:rPr lang="fr-BE" dirty="0" err="1">
                <a:sym typeface="Wingdings" panose="05000000000000000000" pitchFamily="2" charset="2"/>
              </a:rPr>
              <a:t>CVD</a:t>
            </a:r>
            <a:endParaRPr lang="fr-BE" dirty="0">
              <a:sym typeface="Wingdings" panose="05000000000000000000" pitchFamily="2" charset="2"/>
            </a:endParaRPr>
          </a:p>
          <a:p>
            <a:pPr eaLnBrk="1" hangingPunct="1">
              <a:buFont typeface="Wingdings"/>
              <a:buChar char="à"/>
              <a:defRPr/>
            </a:pPr>
            <a:r>
              <a:rPr lang="fr-BE" dirty="0" err="1">
                <a:sym typeface="Wingdings" panose="05000000000000000000" pitchFamily="2" charset="2"/>
              </a:rPr>
              <a:t>Roken</a:t>
            </a:r>
            <a:endParaRPr lang="fr-BE" dirty="0">
              <a:sym typeface="Wingdings" panose="05000000000000000000" pitchFamily="2" charset="2"/>
            </a:endParaRPr>
          </a:p>
          <a:p>
            <a:pPr eaLnBrk="1" hangingPunct="1">
              <a:buFont typeface="Wingdings"/>
              <a:buChar char="à"/>
              <a:defRPr/>
            </a:pPr>
            <a:r>
              <a:rPr lang="fr-BE" dirty="0" err="1">
                <a:sym typeface="Wingdings" panose="05000000000000000000" pitchFamily="2" charset="2"/>
              </a:rPr>
              <a:t>Hypertensie</a:t>
            </a:r>
            <a:endParaRPr lang="fr-BE" dirty="0">
              <a:sym typeface="Wingdings" panose="05000000000000000000" pitchFamily="2" charset="2"/>
            </a:endParaRPr>
          </a:p>
          <a:p>
            <a:pPr eaLnBrk="1" hangingPunct="1">
              <a:buFont typeface="Wingdings"/>
              <a:buChar char="à"/>
              <a:defRPr/>
            </a:pPr>
            <a:r>
              <a:rPr lang="fr-BE" dirty="0" err="1">
                <a:sym typeface="Wingdings" panose="05000000000000000000" pitchFamily="2" charset="2"/>
              </a:rPr>
              <a:t>Dyslipidemie</a:t>
            </a:r>
            <a:endParaRPr lang="fr-BE" dirty="0">
              <a:sym typeface="Wingdings" panose="05000000000000000000" pitchFamily="2" charset="2"/>
            </a:endParaRPr>
          </a:p>
          <a:p>
            <a:pPr eaLnBrk="1" hangingPunct="1">
              <a:buFont typeface="Wingdings"/>
              <a:buChar char="à"/>
              <a:defRPr/>
            </a:pPr>
            <a:r>
              <a:rPr lang="fr-BE" dirty="0" err="1">
                <a:sym typeface="Wingdings" panose="05000000000000000000" pitchFamily="2" charset="2"/>
              </a:rPr>
              <a:t>Obesitas</a:t>
            </a:r>
            <a:r>
              <a:rPr lang="fr-BE" dirty="0">
                <a:sym typeface="Wingdings" panose="05000000000000000000" pitchFamily="2" charset="2"/>
              </a:rPr>
              <a:t> </a:t>
            </a:r>
          </a:p>
          <a:p>
            <a:pPr eaLnBrk="1" hangingPunct="1">
              <a:buFont typeface="Wingdings"/>
              <a:buChar char="à"/>
              <a:defRPr/>
            </a:pPr>
            <a:r>
              <a:rPr lang="fr-BE" dirty="0" err="1">
                <a:sym typeface="Wingdings" panose="05000000000000000000" pitchFamily="2" charset="2"/>
              </a:rPr>
              <a:t>microalbuminurie</a:t>
            </a:r>
            <a:endParaRPr lang="fr-BE" dirty="0"/>
          </a:p>
        </p:txBody>
      </p:sp>
      <p:sp>
        <p:nvSpPr>
          <p:cNvPr id="10957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56063B7-76CA-4FD2-BB79-0179AF1FD454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30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5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Casus 2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altLang="nl-BE" dirty="0">
                <a:ea typeface="Geneva"/>
                <a:cs typeface="Geneva"/>
              </a:rPr>
              <a:t>Man, 52 </a:t>
            </a:r>
            <a:r>
              <a:rPr lang="fr-BE" altLang="nl-BE" dirty="0" err="1">
                <a:ea typeface="Geneva"/>
                <a:cs typeface="Geneva"/>
              </a:rPr>
              <a:t>jaar</a:t>
            </a:r>
            <a:endParaRPr lang="fr-BE" altLang="nl-BE" dirty="0">
              <a:ea typeface="Geneva"/>
              <a:cs typeface="Geneva"/>
            </a:endParaRPr>
          </a:p>
          <a:p>
            <a:r>
              <a:rPr lang="fr-BE" altLang="nl-BE" dirty="0" err="1">
                <a:ea typeface="Geneva"/>
                <a:cs typeface="Geneva"/>
              </a:rPr>
              <a:t>Gewicht</a:t>
            </a:r>
            <a:r>
              <a:rPr lang="fr-BE" altLang="nl-BE" dirty="0">
                <a:ea typeface="Geneva"/>
                <a:cs typeface="Geneva"/>
              </a:rPr>
              <a:t> 102kg, L 180cm, </a:t>
            </a:r>
            <a:r>
              <a:rPr lang="fr-BE" altLang="nl-BE" b="1" dirty="0">
                <a:ea typeface="Geneva"/>
                <a:cs typeface="Geneva"/>
              </a:rPr>
              <a:t>BMI 31.5</a:t>
            </a:r>
            <a:r>
              <a:rPr lang="fr-BE" altLang="nl-BE" dirty="0">
                <a:ea typeface="Geneva"/>
                <a:cs typeface="Geneva"/>
              </a:rPr>
              <a:t>, BD 133/74</a:t>
            </a:r>
          </a:p>
          <a:p>
            <a:r>
              <a:rPr lang="fr-BE" altLang="nl-BE" dirty="0" err="1">
                <a:ea typeface="Geneva"/>
                <a:cs typeface="Geneva"/>
              </a:rPr>
              <a:t>Treinbestuurder</a:t>
            </a:r>
            <a:endParaRPr lang="fr-BE" altLang="nl-BE" dirty="0">
              <a:ea typeface="Geneva"/>
              <a:cs typeface="Geneva"/>
            </a:endParaRPr>
          </a:p>
          <a:p>
            <a:r>
              <a:rPr lang="fr-BE" altLang="nl-BE" dirty="0" err="1">
                <a:ea typeface="Geneva"/>
                <a:cs typeface="Geneva"/>
              </a:rPr>
              <a:t>Voorgschiedenis</a:t>
            </a:r>
            <a:r>
              <a:rPr lang="fr-BE" altLang="nl-BE" dirty="0">
                <a:ea typeface="Geneva"/>
                <a:cs typeface="Geneva"/>
              </a:rPr>
              <a:t>: </a:t>
            </a:r>
            <a:r>
              <a:rPr lang="fr-BE" altLang="nl-BE" dirty="0" err="1">
                <a:ea typeface="Geneva"/>
                <a:cs typeface="Geneva"/>
              </a:rPr>
              <a:t>appendectomie</a:t>
            </a:r>
            <a:r>
              <a:rPr lang="fr-BE" altLang="nl-BE" dirty="0">
                <a:ea typeface="Geneva"/>
                <a:cs typeface="Geneva"/>
              </a:rPr>
              <a:t>, </a:t>
            </a:r>
            <a:r>
              <a:rPr lang="fr-BE" altLang="nl-BE" dirty="0" err="1">
                <a:ea typeface="Geneva"/>
                <a:cs typeface="Geneva"/>
              </a:rPr>
              <a:t>arteriële</a:t>
            </a:r>
            <a:r>
              <a:rPr lang="fr-BE" altLang="nl-BE" dirty="0">
                <a:ea typeface="Geneva"/>
                <a:cs typeface="Geneva"/>
              </a:rPr>
              <a:t> </a:t>
            </a:r>
            <a:r>
              <a:rPr lang="fr-BE" altLang="nl-BE" dirty="0" err="1">
                <a:ea typeface="Geneva"/>
                <a:cs typeface="Geneva"/>
              </a:rPr>
              <a:t>hypertensie</a:t>
            </a:r>
            <a:r>
              <a:rPr lang="fr-BE" altLang="nl-BE" dirty="0">
                <a:ea typeface="Geneva"/>
                <a:cs typeface="Geneva"/>
              </a:rPr>
              <a:t>, </a:t>
            </a:r>
            <a:r>
              <a:rPr lang="fr-BE" altLang="nl-BE" dirty="0" err="1">
                <a:ea typeface="Geneva"/>
                <a:cs typeface="Geneva"/>
              </a:rPr>
              <a:t>hypercholesterolemie</a:t>
            </a:r>
            <a:r>
              <a:rPr lang="fr-BE" altLang="nl-BE" dirty="0">
                <a:ea typeface="Geneva"/>
                <a:cs typeface="Geneva"/>
              </a:rPr>
              <a:t>, </a:t>
            </a:r>
            <a:r>
              <a:rPr lang="fr-BE" altLang="nl-BE" b="1" dirty="0">
                <a:ea typeface="Geneva"/>
                <a:cs typeface="Geneva"/>
              </a:rPr>
              <a:t>12/2017 AMI met </a:t>
            </a:r>
            <a:r>
              <a:rPr lang="fr-BE" altLang="nl-BE" b="1" dirty="0" err="1">
                <a:ea typeface="Geneva"/>
                <a:cs typeface="Geneva"/>
              </a:rPr>
              <a:t>stenting</a:t>
            </a:r>
            <a:r>
              <a:rPr lang="fr-BE" altLang="nl-BE" b="1" dirty="0">
                <a:ea typeface="Geneva"/>
                <a:cs typeface="Geneva"/>
              </a:rPr>
              <a:t> LAD</a:t>
            </a:r>
          </a:p>
          <a:p>
            <a:r>
              <a:rPr lang="fr-BE" altLang="nl-BE" dirty="0">
                <a:ea typeface="Geneva"/>
                <a:cs typeface="Geneva"/>
              </a:rPr>
              <a:t>diagnose </a:t>
            </a:r>
            <a:r>
              <a:rPr lang="fr-BE" altLang="nl-BE" dirty="0" err="1">
                <a:ea typeface="Geneva"/>
                <a:cs typeface="Geneva"/>
              </a:rPr>
              <a:t>diabetes</a:t>
            </a:r>
            <a:r>
              <a:rPr lang="fr-BE" altLang="nl-BE" dirty="0">
                <a:ea typeface="Geneva"/>
                <a:cs typeface="Geneva"/>
              </a:rPr>
              <a:t> </a:t>
            </a:r>
            <a:r>
              <a:rPr lang="fr-BE" altLang="nl-BE" dirty="0" err="1">
                <a:ea typeface="Geneva"/>
                <a:cs typeface="Geneva"/>
              </a:rPr>
              <a:t>mellitus</a:t>
            </a:r>
            <a:r>
              <a:rPr lang="fr-BE" altLang="nl-BE" dirty="0">
                <a:ea typeface="Geneva"/>
                <a:cs typeface="Geneva"/>
              </a:rPr>
              <a:t> type 2 </a:t>
            </a:r>
            <a:r>
              <a:rPr lang="fr-BE" altLang="nl-BE" dirty="0" err="1">
                <a:ea typeface="Geneva"/>
                <a:cs typeface="Geneva"/>
              </a:rPr>
              <a:t>sinds</a:t>
            </a:r>
            <a:r>
              <a:rPr lang="fr-BE" altLang="nl-BE" dirty="0">
                <a:ea typeface="Geneva"/>
                <a:cs typeface="Geneva"/>
              </a:rPr>
              <a:t> 12/2017</a:t>
            </a:r>
          </a:p>
          <a:p>
            <a:r>
              <a:rPr lang="fr-BE" altLang="nl-BE" dirty="0" err="1">
                <a:ea typeface="Geneva"/>
                <a:cs typeface="Geneva"/>
              </a:rPr>
              <a:t>Rookt</a:t>
            </a:r>
            <a:r>
              <a:rPr lang="fr-BE" altLang="nl-BE" dirty="0">
                <a:ea typeface="Geneva"/>
                <a:cs typeface="Geneva"/>
              </a:rPr>
              <a:t> 1 </a:t>
            </a:r>
            <a:r>
              <a:rPr lang="fr-BE" altLang="nl-BE" dirty="0" err="1">
                <a:ea typeface="Geneva"/>
                <a:cs typeface="Geneva"/>
              </a:rPr>
              <a:t>pakje</a:t>
            </a:r>
            <a:r>
              <a:rPr lang="fr-BE" altLang="nl-BE" dirty="0">
                <a:ea typeface="Geneva"/>
                <a:cs typeface="Geneva"/>
              </a:rPr>
              <a:t> per dag</a:t>
            </a:r>
          </a:p>
          <a:p>
            <a:r>
              <a:rPr lang="fr-BE" altLang="nl-BE" dirty="0">
                <a:ea typeface="Geneva"/>
                <a:cs typeface="Geneva"/>
              </a:rPr>
              <a:t>R/ </a:t>
            </a:r>
            <a:r>
              <a:rPr lang="fr-BE" altLang="nl-BE" dirty="0" err="1">
                <a:ea typeface="Geneva"/>
                <a:cs typeface="Geneva"/>
              </a:rPr>
              <a:t>Asaflow</a:t>
            </a:r>
            <a:r>
              <a:rPr lang="fr-BE" altLang="nl-BE" dirty="0">
                <a:ea typeface="Geneva"/>
                <a:cs typeface="Geneva"/>
              </a:rPr>
              <a:t> 80mg, Plavix 75mg/dag, atorvastatine 40mg/dag, </a:t>
            </a:r>
            <a:r>
              <a:rPr lang="fr-BE" altLang="nl-BE" dirty="0" err="1">
                <a:ea typeface="Geneva"/>
                <a:cs typeface="Geneva"/>
              </a:rPr>
              <a:t>Coveram</a:t>
            </a:r>
            <a:r>
              <a:rPr lang="fr-BE" altLang="nl-BE" dirty="0">
                <a:ea typeface="Geneva"/>
                <a:cs typeface="Geneva"/>
              </a:rPr>
              <a:t> 10/10mg/dag, </a:t>
            </a:r>
            <a:r>
              <a:rPr lang="fr-BE" altLang="nl-BE" b="1" dirty="0">
                <a:ea typeface="Geneva"/>
                <a:cs typeface="Geneva"/>
              </a:rPr>
              <a:t>metformine 850mg 2x/dag</a:t>
            </a:r>
          </a:p>
          <a:p>
            <a:pPr marL="0" indent="0">
              <a:buNone/>
            </a:pPr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3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6900411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Casus 2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nl-BE" dirty="0"/>
              <a:t>Labo: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nuchtere glycemie: 167mg/dl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b="1" dirty="0">
                <a:sym typeface="Wingdings" panose="05000000000000000000" pitchFamily="2" charset="2"/>
              </a:rPr>
              <a:t>HbA1c 8,3%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Totaal cholesterol 150mg/dl, HDL 32mg/dl, triglyceriden 99mg/dl, LDL-cholesterol 55mg/dl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normale nierfunctie en leverwaarden</a:t>
            </a:r>
          </a:p>
          <a:p>
            <a:pPr>
              <a:buFont typeface="Wingdings" pitchFamily="2" charset="2"/>
              <a:buChar char="à"/>
              <a:defRPr/>
            </a:pPr>
            <a:endParaRPr lang="nl-BE" dirty="0">
              <a:sym typeface="Wingdings" panose="05000000000000000000" pitchFamily="2" charset="2"/>
            </a:endParaRPr>
          </a:p>
          <a:p>
            <a:pPr marL="0" indent="0">
              <a:buNone/>
              <a:defRPr/>
            </a:pPr>
            <a:endParaRPr lang="nl-BE" dirty="0">
              <a:sym typeface="Wingdings" panose="05000000000000000000" pitchFamily="2" charset="2"/>
            </a:endParaRPr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3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25303633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Verder beleid?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33</a:t>
            </a:fld>
            <a:endParaRPr lang="nl-NL"/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6" y="1261670"/>
            <a:ext cx="6336255" cy="4303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Ovaal 5"/>
          <p:cNvSpPr/>
          <p:nvPr/>
        </p:nvSpPr>
        <p:spPr bwMode="auto">
          <a:xfrm>
            <a:off x="903642" y="2312894"/>
            <a:ext cx="6303982" cy="1871831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18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Ovaal 6"/>
          <p:cNvSpPr>
            <a:spLocks noChangeArrowheads="1"/>
          </p:cNvSpPr>
          <p:nvPr/>
        </p:nvSpPr>
        <p:spPr bwMode="auto">
          <a:xfrm>
            <a:off x="4356847" y="2789041"/>
            <a:ext cx="989704" cy="1288107"/>
          </a:xfrm>
          <a:prstGeom prst="ellipse">
            <a:avLst/>
          </a:prstGeom>
          <a:noFill/>
          <a:ln w="57150" algn="ctr">
            <a:solidFill>
              <a:srgbClr val="97BF0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nl-BE" altLang="nl-BE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816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6"/>
          <p:cNvGrpSpPr>
            <a:grpSpLocks/>
          </p:cNvGrpSpPr>
          <p:nvPr/>
        </p:nvGrpSpPr>
        <p:grpSpPr bwMode="auto">
          <a:xfrm>
            <a:off x="3854450" y="1671638"/>
            <a:ext cx="377825" cy="1438275"/>
            <a:chOff x="3843760" y="1671933"/>
            <a:chExt cx="377825" cy="1438537"/>
          </a:xfrm>
        </p:grpSpPr>
        <p:pic>
          <p:nvPicPr>
            <p:cNvPr id="99371" name="Picture 67" descr="05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1545" y="1671933"/>
              <a:ext cx="359634" cy="1438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9372" name="Picture 50" descr="16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3760" y="2082784"/>
              <a:ext cx="360530" cy="3597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9373" name="Picture 51" descr="17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1055" y="2434273"/>
              <a:ext cx="360530" cy="3597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1513" name="Picture 18" descr="0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788" y="1687513"/>
            <a:ext cx="865187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2" name="Picture 13" descr="04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538" y="2878138"/>
            <a:ext cx="1444625" cy="107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3" name="Picture 19" descr="07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813" y="3509963"/>
            <a:ext cx="1079500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4" name="Picture 28" descr="0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99" t="50081"/>
          <a:stretch>
            <a:fillRect/>
          </a:stretch>
        </p:blipFill>
        <p:spPr bwMode="auto">
          <a:xfrm>
            <a:off x="4629150" y="2963863"/>
            <a:ext cx="914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Freeform 28"/>
          <p:cNvSpPr/>
          <p:nvPr/>
        </p:nvSpPr>
        <p:spPr>
          <a:xfrm>
            <a:off x="7337425" y="3914775"/>
            <a:ext cx="1368425" cy="1068388"/>
          </a:xfrm>
          <a:custGeom>
            <a:avLst/>
            <a:gdLst>
              <a:gd name="connsiteX0" fmla="*/ 353786 w 1368879"/>
              <a:gd name="connsiteY0" fmla="*/ 112939 h 1069522"/>
              <a:gd name="connsiteX1" fmla="*/ 459922 w 1368879"/>
              <a:gd name="connsiteY1" fmla="*/ 47625 h 1069522"/>
              <a:gd name="connsiteX2" fmla="*/ 549729 w 1368879"/>
              <a:gd name="connsiteY2" fmla="*/ 6803 h 1069522"/>
              <a:gd name="connsiteX3" fmla="*/ 737508 w 1368879"/>
              <a:gd name="connsiteY3" fmla="*/ 31296 h 1069522"/>
              <a:gd name="connsiteX4" fmla="*/ 1031422 w 1368879"/>
              <a:gd name="connsiteY4" fmla="*/ 186418 h 1069522"/>
              <a:gd name="connsiteX5" fmla="*/ 1243693 w 1368879"/>
              <a:gd name="connsiteY5" fmla="*/ 880382 h 1069522"/>
              <a:gd name="connsiteX6" fmla="*/ 280308 w 1368879"/>
              <a:gd name="connsiteY6" fmla="*/ 1043668 h 1069522"/>
              <a:gd name="connsiteX7" fmla="*/ 10886 w 1368879"/>
              <a:gd name="connsiteY7" fmla="*/ 725260 h 1069522"/>
              <a:gd name="connsiteX8" fmla="*/ 353786 w 1368879"/>
              <a:gd name="connsiteY8" fmla="*/ 112939 h 1069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8879" h="1069522">
                <a:moveTo>
                  <a:pt x="353786" y="112939"/>
                </a:moveTo>
                <a:cubicBezTo>
                  <a:pt x="428625" y="0"/>
                  <a:pt x="427265" y="65314"/>
                  <a:pt x="459922" y="47625"/>
                </a:cubicBezTo>
                <a:cubicBezTo>
                  <a:pt x="492579" y="29936"/>
                  <a:pt x="503465" y="9524"/>
                  <a:pt x="549729" y="6803"/>
                </a:cubicBezTo>
                <a:cubicBezTo>
                  <a:pt x="595993" y="4082"/>
                  <a:pt x="657226" y="1360"/>
                  <a:pt x="737508" y="31296"/>
                </a:cubicBezTo>
                <a:cubicBezTo>
                  <a:pt x="817790" y="61232"/>
                  <a:pt x="947058" y="44904"/>
                  <a:pt x="1031422" y="186418"/>
                </a:cubicBezTo>
                <a:cubicBezTo>
                  <a:pt x="1115786" y="327932"/>
                  <a:pt x="1368879" y="737507"/>
                  <a:pt x="1243693" y="880382"/>
                </a:cubicBezTo>
                <a:cubicBezTo>
                  <a:pt x="1118507" y="1023257"/>
                  <a:pt x="485776" y="1069522"/>
                  <a:pt x="280308" y="1043668"/>
                </a:cubicBezTo>
                <a:cubicBezTo>
                  <a:pt x="74840" y="1017814"/>
                  <a:pt x="0" y="879021"/>
                  <a:pt x="10886" y="725260"/>
                </a:cubicBezTo>
                <a:cubicBezTo>
                  <a:pt x="21772" y="571499"/>
                  <a:pt x="278947" y="225878"/>
                  <a:pt x="353786" y="11293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>
              <a:defRPr/>
            </a:pPr>
            <a:endParaRPr lang="en-GB" sz="2000" baseline="0">
              <a:solidFill>
                <a:prstClr val="white"/>
              </a:solidFill>
            </a:endParaRPr>
          </a:p>
        </p:txBody>
      </p:sp>
      <p:sp>
        <p:nvSpPr>
          <p:cNvPr id="30" name="Down Arrow 29"/>
          <p:cNvSpPr/>
          <p:nvPr/>
        </p:nvSpPr>
        <p:spPr>
          <a:xfrm>
            <a:off x="7820025" y="3919538"/>
            <a:ext cx="215900" cy="1079500"/>
          </a:xfrm>
          <a:prstGeom prst="downArrow">
            <a:avLst/>
          </a:prstGeom>
          <a:solidFill>
            <a:schemeClr val="accent1">
              <a:alpha val="3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>
              <a:defRPr/>
            </a:pPr>
            <a:endParaRPr lang="en-GB" sz="2000" baseline="0">
              <a:solidFill>
                <a:prstClr val="white"/>
              </a:solidFill>
            </a:endParaRPr>
          </a:p>
        </p:txBody>
      </p:sp>
      <p:pic>
        <p:nvPicPr>
          <p:cNvPr id="99337" name="Picture 24" descr="03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625" y="4289425"/>
            <a:ext cx="792163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8" name="Picture 24" descr="03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625" y="3646488"/>
            <a:ext cx="792163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Box 53"/>
          <p:cNvSpPr txBox="1">
            <a:spLocks noChangeArrowheads="1"/>
          </p:cNvSpPr>
          <p:nvPr/>
        </p:nvSpPr>
        <p:spPr bwMode="auto">
          <a:xfrm>
            <a:off x="6332538" y="1236663"/>
            <a:ext cx="669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2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SGLT2</a:t>
            </a:r>
          </a:p>
        </p:txBody>
      </p:sp>
      <p:pic>
        <p:nvPicPr>
          <p:cNvPr id="56" name="Picture 55" descr="inset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1209675"/>
            <a:ext cx="1985963" cy="142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TextBox 57"/>
          <p:cNvSpPr txBox="1">
            <a:spLocks noChangeArrowheads="1"/>
          </p:cNvSpPr>
          <p:nvPr/>
        </p:nvSpPr>
        <p:spPr bwMode="auto">
          <a:xfrm>
            <a:off x="3195638" y="1192213"/>
            <a:ext cx="17462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Reduced glucose reabsorption</a:t>
            </a:r>
          </a:p>
        </p:txBody>
      </p:sp>
      <p:pic>
        <p:nvPicPr>
          <p:cNvPr id="61" name="Picture 60" descr="14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300" y="3357563"/>
            <a:ext cx="1438275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61" descr="11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2949575"/>
            <a:ext cx="1665288" cy="352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62" descr="12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6413" y="5840413"/>
            <a:ext cx="2159000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45" name="Picture 32" descr="nephron_12Jul1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175" y="1027113"/>
            <a:ext cx="7127875" cy="553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TextBox 63"/>
          <p:cNvSpPr txBox="1">
            <a:spLocks noChangeArrowheads="1"/>
          </p:cNvSpPr>
          <p:nvPr/>
        </p:nvSpPr>
        <p:spPr bwMode="auto">
          <a:xfrm>
            <a:off x="6038850" y="4005263"/>
            <a:ext cx="1846263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Increased urinary excretion of excess glucose 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(~70 g/day, corresponding to </a:t>
            </a:r>
            <a:r>
              <a:rPr lang="en-US" altLang="nl-BE" sz="1400" i="1" baseline="0">
                <a:solidFill>
                  <a:srgbClr val="00B050"/>
                </a:solidFill>
                <a:latin typeface="Avenir 55"/>
                <a:ea typeface="MS PGothic" panose="020B0600070205080204" pitchFamily="34" charset="-128"/>
              </a:rPr>
              <a:t>280 kcal/day*)</a:t>
            </a:r>
          </a:p>
        </p:txBody>
      </p:sp>
      <p:pic>
        <p:nvPicPr>
          <p:cNvPr id="21517" name="Picture 12" descr="0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48" r="34972" b="39708"/>
          <a:stretch>
            <a:fillRect/>
          </a:stretch>
        </p:blipFill>
        <p:spPr bwMode="auto">
          <a:xfrm>
            <a:off x="3851275" y="1739900"/>
            <a:ext cx="288925" cy="147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348" name="TextBox 15"/>
          <p:cNvSpPr txBox="1">
            <a:spLocks noChangeArrowheads="1"/>
          </p:cNvSpPr>
          <p:nvPr/>
        </p:nvSpPr>
        <p:spPr bwMode="auto">
          <a:xfrm>
            <a:off x="3114675" y="3175000"/>
            <a:ext cx="1419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Proximal tubule</a:t>
            </a:r>
          </a:p>
        </p:txBody>
      </p:sp>
      <p:pic>
        <p:nvPicPr>
          <p:cNvPr id="99349" name="Picture 20" descr="06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1538" y="3581400"/>
            <a:ext cx="358775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350" name="TextBox 21"/>
          <p:cNvSpPr txBox="1">
            <a:spLocks noChangeArrowheads="1"/>
          </p:cNvSpPr>
          <p:nvPr/>
        </p:nvSpPr>
        <p:spPr bwMode="auto">
          <a:xfrm>
            <a:off x="1757363" y="4465638"/>
            <a:ext cx="8429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Glucose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filtration</a:t>
            </a:r>
          </a:p>
        </p:txBody>
      </p:sp>
      <p:pic>
        <p:nvPicPr>
          <p:cNvPr id="40" name="Picture 39" descr="0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152"/>
          <a:stretch>
            <a:fillRect/>
          </a:stretch>
        </p:blipFill>
        <p:spPr bwMode="auto">
          <a:xfrm>
            <a:off x="1543050" y="1697038"/>
            <a:ext cx="2319338" cy="244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41" descr="09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2492375"/>
            <a:ext cx="993775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47" descr="16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013" y="2657475"/>
            <a:ext cx="36036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50" descr="16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0281381">
            <a:off x="2840038" y="2611438"/>
            <a:ext cx="360362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1" descr="16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3897589">
            <a:off x="2502694" y="2763044"/>
            <a:ext cx="35877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56" name="Picture 3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42" t="61320" r="68671" b="34875"/>
          <a:stretch>
            <a:fillRect/>
          </a:stretch>
        </p:blipFill>
        <p:spPr bwMode="auto">
          <a:xfrm>
            <a:off x="3897313" y="2895600"/>
            <a:ext cx="395287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58" descr="10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188" y="2554288"/>
            <a:ext cx="3054350" cy="156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78" name="Title 64"/>
          <p:cNvSpPr>
            <a:spLocks noGrp="1"/>
          </p:cNvSpPr>
          <p:nvPr>
            <p:ph type="title"/>
          </p:nvPr>
        </p:nvSpPr>
        <p:spPr>
          <a:xfrm>
            <a:off x="450850" y="215900"/>
            <a:ext cx="8112125" cy="741363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en-GB" altLang="nl-BE" sz="2400" dirty="0">
                <a:ea typeface="Geneva"/>
                <a:cs typeface="Geneva"/>
              </a:rPr>
              <a:t>SGLT-2 </a:t>
            </a:r>
            <a:r>
              <a:rPr lang="en-GB" altLang="nl-BE" sz="2400" dirty="0" err="1">
                <a:ea typeface="Geneva"/>
                <a:cs typeface="Geneva"/>
              </a:rPr>
              <a:t>inhibitoren</a:t>
            </a:r>
            <a:r>
              <a:rPr lang="en-GB" altLang="nl-BE" sz="2400" dirty="0">
                <a:ea typeface="Geneva"/>
                <a:cs typeface="Geneva"/>
              </a:rPr>
              <a:t>: </a:t>
            </a:r>
            <a:r>
              <a:rPr lang="en-GB" altLang="nl-BE" sz="2400" dirty="0" err="1">
                <a:ea typeface="Geneva"/>
                <a:cs typeface="Geneva"/>
              </a:rPr>
              <a:t>werkingsmechanisme</a:t>
            </a:r>
            <a:endParaRPr lang="en-GB" altLang="nl-BE" sz="2400" dirty="0">
              <a:ea typeface="Geneva"/>
              <a:cs typeface="Geneva"/>
            </a:endParaRPr>
          </a:p>
        </p:txBody>
      </p:sp>
      <p:sp>
        <p:nvSpPr>
          <p:cNvPr id="99359" name="Rectangle 24"/>
          <p:cNvSpPr>
            <a:spLocks noChangeArrowheads="1"/>
          </p:cNvSpPr>
          <p:nvPr/>
        </p:nvSpPr>
        <p:spPr bwMode="auto">
          <a:xfrm>
            <a:off x="430213" y="6186803"/>
            <a:ext cx="6518275" cy="461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 anchor="b">
            <a:spAutoFit/>
          </a:bodyPr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zh-CN" sz="900" baseline="30000" dirty="0">
              <a:solidFill>
                <a:srgbClr val="58595B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900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1. Wright EM.</a:t>
            </a:r>
            <a:r>
              <a:rPr lang="en-US" altLang="nl-BE" sz="900" baseline="0" dirty="0">
                <a:solidFill>
                  <a:srgbClr val="58595B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Am J </a:t>
            </a:r>
            <a:r>
              <a:rPr lang="en-US" altLang="zh-CN" sz="900" i="1" baseline="0" dirty="0" err="1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Physiol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Renal </a:t>
            </a:r>
            <a:r>
              <a:rPr lang="en-US" altLang="zh-CN" sz="900" i="1" baseline="0" dirty="0" err="1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Physiol</a:t>
            </a:r>
            <a:r>
              <a:rPr lang="en-US" altLang="zh-CN" sz="900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2001;280:F10–18; 2. Lee YJ, 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et al.</a:t>
            </a:r>
            <a:r>
              <a:rPr lang="en-US" altLang="zh-CN" sz="900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Kidney </a:t>
            </a:r>
            <a:r>
              <a:rPr lang="en-US" altLang="zh-CN" sz="900" i="1" baseline="0" dirty="0" err="1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Int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</a:t>
            </a:r>
            <a:r>
              <a:rPr lang="en-US" altLang="zh-CN" sz="900" i="1" baseline="0" dirty="0" err="1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Suppl</a:t>
            </a:r>
            <a:r>
              <a:rPr lang="en-US" altLang="zh-CN" sz="900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2007;106:S27–35; 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900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3. Hummel CS, 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et al.</a:t>
            </a:r>
            <a:r>
              <a:rPr lang="en-US" altLang="nl-BE" sz="900" baseline="0" dirty="0">
                <a:solidFill>
                  <a:srgbClr val="58595B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Am J </a:t>
            </a:r>
            <a:r>
              <a:rPr lang="en-US" altLang="zh-CN" sz="900" i="1" baseline="0" dirty="0" err="1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Physiol</a:t>
            </a:r>
            <a:r>
              <a:rPr lang="en-US" altLang="zh-CN" sz="900" i="1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Cell </a:t>
            </a:r>
            <a:r>
              <a:rPr lang="en-US" altLang="zh-CN" sz="900" i="1" baseline="0" dirty="0" err="1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Physiol</a:t>
            </a:r>
            <a:r>
              <a:rPr lang="en-US" altLang="zh-CN" sz="900" baseline="0" dirty="0">
                <a:solidFill>
                  <a:srgbClr val="58595B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 2011;300:C14–21; 4.Forxiga</a:t>
            </a:r>
            <a:r>
              <a:rPr lang="en-US" altLang="nl-BE" sz="900" baseline="0" dirty="0">
                <a:solidFill>
                  <a:srgbClr val="58595B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SPC latest</a:t>
            </a:r>
            <a:r>
              <a:rPr lang="en-GB" altLang="nl-BE" sz="900" baseline="0" dirty="0">
                <a:solidFill>
                  <a:srgbClr val="58595B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version.</a:t>
            </a:r>
          </a:p>
        </p:txBody>
      </p:sp>
      <p:grpSp>
        <p:nvGrpSpPr>
          <p:cNvPr id="99360" name="Group 34"/>
          <p:cNvGrpSpPr>
            <a:grpSpLocks/>
          </p:cNvGrpSpPr>
          <p:nvPr/>
        </p:nvGrpSpPr>
        <p:grpSpPr bwMode="auto">
          <a:xfrm>
            <a:off x="196850" y="3871913"/>
            <a:ext cx="1566863" cy="1141412"/>
            <a:chOff x="196228" y="2204864"/>
            <a:chExt cx="1630345" cy="1140746"/>
          </a:xfrm>
        </p:grpSpPr>
        <p:sp>
          <p:nvSpPr>
            <p:cNvPr id="99367" name="TextBox 26"/>
            <p:cNvSpPr txBox="1">
              <a:spLocks noChangeArrowheads="1"/>
            </p:cNvSpPr>
            <p:nvPr/>
          </p:nvSpPr>
          <p:spPr bwMode="auto">
            <a:xfrm>
              <a:off x="778210" y="2625530"/>
              <a:ext cx="657506" cy="261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ts val="800"/>
                </a:spcBef>
                <a:spcAft>
                  <a:spcPts val="200"/>
                </a:spcAft>
                <a:buClr>
                  <a:srgbClr val="404040"/>
                </a:buClr>
                <a:buSzPct val="50000"/>
                <a:buBlip>
                  <a:blip r:embed="rId10"/>
                </a:buBlip>
                <a:defRPr sz="2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1pPr>
              <a:lvl2pPr marL="742950" indent="-285750" eaLnBrk="0" hangingPunct="0">
                <a:spcBef>
                  <a:spcPts val="400"/>
                </a:spcBef>
                <a:buClr>
                  <a:srgbClr val="000000"/>
                </a:buClr>
                <a:buSzPct val="50000"/>
                <a:buBlip>
                  <a:blip r:embed="rId10"/>
                </a:buBlip>
                <a:defRPr sz="16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2pPr>
              <a:lvl3pPr marL="11430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4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3pPr>
              <a:lvl4pPr marL="16002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2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4pPr>
              <a:lvl5pPr marL="20574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nl-BE" sz="1100" i="1" baseline="0">
                  <a:solidFill>
                    <a:srgbClr val="58595B"/>
                  </a:solidFill>
                  <a:latin typeface="Avenir 55"/>
                  <a:ea typeface="MS PGothic" panose="020B0600070205080204" pitchFamily="34" charset="-128"/>
                </a:rPr>
                <a:t>SGLT2</a:t>
              </a:r>
            </a:p>
          </p:txBody>
        </p:sp>
        <p:sp>
          <p:nvSpPr>
            <p:cNvPr id="99368" name="TextBox 27"/>
            <p:cNvSpPr txBox="1">
              <a:spLocks noChangeArrowheads="1"/>
            </p:cNvSpPr>
            <p:nvPr/>
          </p:nvSpPr>
          <p:spPr bwMode="auto">
            <a:xfrm>
              <a:off x="772877" y="2955487"/>
              <a:ext cx="730895" cy="261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ts val="800"/>
                </a:spcBef>
                <a:spcAft>
                  <a:spcPts val="200"/>
                </a:spcAft>
                <a:buClr>
                  <a:srgbClr val="404040"/>
                </a:buClr>
                <a:buSzPct val="50000"/>
                <a:buBlip>
                  <a:blip r:embed="rId10"/>
                </a:buBlip>
                <a:defRPr sz="2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1pPr>
              <a:lvl2pPr marL="742950" indent="-285750" eaLnBrk="0" hangingPunct="0">
                <a:spcBef>
                  <a:spcPts val="400"/>
                </a:spcBef>
                <a:buClr>
                  <a:srgbClr val="000000"/>
                </a:buClr>
                <a:buSzPct val="50000"/>
                <a:buBlip>
                  <a:blip r:embed="rId10"/>
                </a:buBlip>
                <a:defRPr sz="16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2pPr>
              <a:lvl3pPr marL="11430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4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3pPr>
              <a:lvl4pPr marL="16002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2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4pPr>
              <a:lvl5pPr marL="20574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nl-BE" sz="1100" i="1" baseline="0">
                  <a:solidFill>
                    <a:srgbClr val="58595B"/>
                  </a:solidFill>
                  <a:latin typeface="Avenir 55"/>
                  <a:ea typeface="MS PGothic" panose="020B0600070205080204" pitchFamily="34" charset="-128"/>
                </a:rPr>
                <a:t>Glucose</a:t>
              </a:r>
            </a:p>
          </p:txBody>
        </p:sp>
        <p:pic>
          <p:nvPicPr>
            <p:cNvPr id="99369" name="Picture 28" descr="legend.png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228" y="2204864"/>
              <a:ext cx="1630345" cy="11407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9370" name="TextBox 46"/>
            <p:cNvSpPr txBox="1">
              <a:spLocks noChangeArrowheads="1"/>
            </p:cNvSpPr>
            <p:nvPr/>
          </p:nvSpPr>
          <p:spPr bwMode="auto">
            <a:xfrm>
              <a:off x="777668" y="2300058"/>
              <a:ext cx="684193" cy="261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ts val="800"/>
                </a:spcBef>
                <a:spcAft>
                  <a:spcPts val="200"/>
                </a:spcAft>
                <a:buClr>
                  <a:srgbClr val="404040"/>
                </a:buClr>
                <a:buSzPct val="50000"/>
                <a:buBlip>
                  <a:blip r:embed="rId10"/>
                </a:buBlip>
                <a:defRPr sz="2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1pPr>
              <a:lvl2pPr marL="742950" indent="-285750" eaLnBrk="0" hangingPunct="0">
                <a:spcBef>
                  <a:spcPts val="400"/>
                </a:spcBef>
                <a:buClr>
                  <a:srgbClr val="000000"/>
                </a:buClr>
                <a:buSzPct val="50000"/>
                <a:buBlip>
                  <a:blip r:embed="rId10"/>
                </a:buBlip>
                <a:defRPr sz="16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2pPr>
              <a:lvl3pPr marL="11430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4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3pPr>
              <a:lvl4pPr marL="16002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2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4pPr>
              <a:lvl5pPr marL="2057400" indent="-228600" eaLnBrk="0" hangingPunct="0">
                <a:spcBef>
                  <a:spcPts val="400"/>
                </a:spcBef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5pPr>
              <a:lvl6pPr marL="25146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6pPr>
              <a:lvl7pPr marL="29718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7pPr>
              <a:lvl8pPr marL="34290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8pPr>
              <a:lvl9pPr marL="3886200" indent="-228600" eaLnBrk="0" fontAlgn="base" hangingPunct="0">
                <a:spcBef>
                  <a:spcPts val="400"/>
                </a:spcBef>
                <a:spcAft>
                  <a:spcPct val="0"/>
                </a:spcAft>
                <a:buSzPct val="50000"/>
                <a:buBlip>
                  <a:blip r:embed="rId10"/>
                </a:buBlip>
                <a:defRPr sz="1000">
                  <a:solidFill>
                    <a:srgbClr val="333333"/>
                  </a:solidFill>
                  <a:latin typeface="Verdana" panose="020B0604030504040204" pitchFamily="34" charset="0"/>
                  <a:ea typeface="Geneva"/>
                  <a:cs typeface="Geneva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nl-BE" sz="1100" i="1" baseline="0">
                  <a:solidFill>
                    <a:srgbClr val="58595B"/>
                  </a:solidFill>
                  <a:latin typeface="Avenir 55"/>
                  <a:ea typeface="MS PGothic" panose="020B0600070205080204" pitchFamily="34" charset="-128"/>
                </a:rPr>
                <a:t>gliflozin</a:t>
              </a:r>
            </a:p>
          </p:txBody>
        </p:sp>
      </p:grpSp>
      <p:sp>
        <p:nvSpPr>
          <p:cNvPr id="55" name="TextBox 54"/>
          <p:cNvSpPr txBox="1">
            <a:spLocks noChangeArrowheads="1"/>
          </p:cNvSpPr>
          <p:nvPr/>
        </p:nvSpPr>
        <p:spPr bwMode="auto">
          <a:xfrm>
            <a:off x="4610100" y="1741488"/>
            <a:ext cx="11668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1" rIns="91420" bIns="45711">
            <a:spAutoFit/>
          </a:bodyPr>
          <a:lstStyle>
            <a:lvl1pPr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400" i="1" baseline="0">
                <a:solidFill>
                  <a:srgbClr val="EF4130"/>
                </a:solidFill>
                <a:latin typeface="Avenir 55"/>
                <a:ea typeface="MS PGothic" panose="020B0600070205080204" pitchFamily="34" charset="-128"/>
              </a:rPr>
              <a:t>SGLT2inhib </a:t>
            </a:r>
          </a:p>
        </p:txBody>
      </p:sp>
      <p:sp>
        <p:nvSpPr>
          <p:cNvPr id="99362" name="Content Placeholder 3"/>
          <p:cNvSpPr txBox="1">
            <a:spLocks/>
          </p:cNvSpPr>
          <p:nvPr/>
        </p:nvSpPr>
        <p:spPr bwMode="auto">
          <a:xfrm>
            <a:off x="431800" y="5354638"/>
            <a:ext cx="81121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/>
          <a:lstStyle>
            <a:lvl1pPr marL="193675" indent="-193675" defTabSz="455613"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defTabSz="455613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defTabSz="455613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defTabSz="455613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Clr>
                <a:srgbClr val="EF4135"/>
              </a:buClr>
              <a:buSzTx/>
              <a:buFontTx/>
              <a:buNone/>
            </a:pPr>
            <a:r>
              <a:rPr lang="en-GB" altLang="nl-BE" sz="1800" baseline="0">
                <a:solidFill>
                  <a:srgbClr val="1F497D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apagliflozin selectively inhibits SGLT2 in the renal proximal tubule </a:t>
            </a:r>
          </a:p>
        </p:txBody>
      </p:sp>
      <p:sp>
        <p:nvSpPr>
          <p:cNvPr id="49" name="TextBox 14"/>
          <p:cNvSpPr txBox="1">
            <a:spLocks noChangeArrowheads="1"/>
          </p:cNvSpPr>
          <p:nvPr/>
        </p:nvSpPr>
        <p:spPr bwMode="auto">
          <a:xfrm>
            <a:off x="2058988" y="1957388"/>
            <a:ext cx="183515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10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10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10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nl-BE" sz="1200" i="1" baseline="0">
                <a:solidFill>
                  <a:srgbClr val="EF4135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Majority of glucose is reabsorbed by SGLT2 (90%)</a:t>
            </a:r>
          </a:p>
        </p:txBody>
      </p:sp>
      <p:pic>
        <p:nvPicPr>
          <p:cNvPr id="99364" name="Picture 2" descr="kidney_revised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30325"/>
            <a:ext cx="1555750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3" name="Shape 30"/>
          <p:cNvCxnSpPr/>
          <p:nvPr/>
        </p:nvCxnSpPr>
        <p:spPr bwMode="auto">
          <a:xfrm rot="16200000" flipV="1">
            <a:off x="793751" y="2860675"/>
            <a:ext cx="673100" cy="346075"/>
          </a:xfrm>
          <a:prstGeom prst="bentConnector3">
            <a:avLst>
              <a:gd name="adj1" fmla="val 1236"/>
            </a:avLst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366" name="Rechte verbindingslijn met pijl 3"/>
          <p:cNvCxnSpPr>
            <a:cxnSpLocks noChangeShapeType="1"/>
          </p:cNvCxnSpPr>
          <p:nvPr/>
        </p:nvCxnSpPr>
        <p:spPr bwMode="auto">
          <a:xfrm flipH="1">
            <a:off x="4243388" y="2038350"/>
            <a:ext cx="700087" cy="787400"/>
          </a:xfrm>
          <a:prstGeom prst="straightConnector1">
            <a:avLst/>
          </a:prstGeom>
          <a:noFill/>
          <a:ln w="76200" algn="ctr">
            <a:solidFill>
              <a:srgbClr val="00B05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9151922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500"/>
                                        <p:tgtEl>
                                          <p:spTgt spid="53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4" presetClass="exit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in)">
                                      <p:cBhvr>
                                        <p:cTn id="4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8" grpId="0"/>
      <p:bldP spid="53278" grpId="0" animBg="1"/>
      <p:bldP spid="4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B4AFF8E-44D3-40B7-892A-B865914F653C}" type="slidenum">
              <a:rPr lang="en-GB" altLang="en-US" smtClean="0"/>
              <a:pPr>
                <a:defRPr/>
              </a:pPr>
              <a:t>35</a:t>
            </a:fld>
            <a:endParaRPr lang="en-GB" altLang="en-US" dirty="0"/>
          </a:p>
        </p:txBody>
      </p:sp>
      <p:pic>
        <p:nvPicPr>
          <p:cNvPr id="521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457" y="205085"/>
            <a:ext cx="4648201" cy="606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122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27" y="1484784"/>
            <a:ext cx="2321974" cy="306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16068" y="6158925"/>
            <a:ext cx="43344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GB" altLang="en-US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ADA, American Diabetes Association; ASCVD, </a:t>
            </a:r>
            <a:r>
              <a:rPr lang="en-GB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atherosclerotic cardiovascular disease</a:t>
            </a:r>
            <a:endParaRPr lang="en-GB" altLang="en-US" sz="12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  <a:p>
            <a:pPr eaLnBrk="0" hangingPunct="0">
              <a:defRPr/>
            </a:pPr>
            <a:r>
              <a:rPr lang="en-GB" altLang="en-US" sz="1200" i="1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Standards of Medical Care in Diabetes. </a:t>
            </a:r>
            <a:r>
              <a:rPr lang="en-GB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Diabetes Care. 2018 Jan;41(</a:t>
            </a:r>
            <a:r>
              <a:rPr lang="en-GB" sz="1200" dirty="0" err="1">
                <a:solidFill>
                  <a:srgbClr val="FFFFFF">
                    <a:lumMod val="50000"/>
                  </a:srgbClr>
                </a:solidFill>
                <a:latin typeface="Verdana"/>
              </a:rPr>
              <a:t>Suppl</a:t>
            </a:r>
            <a:r>
              <a:rPr lang="en-GB" sz="1200" dirty="0">
                <a:solidFill>
                  <a:srgbClr val="FFFFFF">
                    <a:lumMod val="50000"/>
                  </a:srgbClr>
                </a:solidFill>
                <a:latin typeface="Verdana"/>
              </a:rPr>
              <a:t> 1):S73-S85</a:t>
            </a:r>
            <a:endParaRPr lang="en-GB" altLang="en-US" sz="1200" dirty="0">
              <a:solidFill>
                <a:srgbClr val="FFFFFF">
                  <a:lumMod val="50000"/>
                </a:srgbClr>
              </a:solidFill>
              <a:latin typeface="Verdana"/>
            </a:endParaRPr>
          </a:p>
        </p:txBody>
      </p:sp>
      <p:sp>
        <p:nvSpPr>
          <p:cNvPr id="7" name="Right Arrow 6"/>
          <p:cNvSpPr/>
          <p:nvPr/>
        </p:nvSpPr>
        <p:spPr>
          <a:xfrm rot="19204441">
            <a:off x="4036637" y="3509300"/>
            <a:ext cx="1027854" cy="498994"/>
          </a:xfrm>
          <a:prstGeom prst="right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itle 3"/>
          <p:cNvSpPr txBox="1">
            <a:spLocks/>
          </p:cNvSpPr>
          <p:nvPr/>
        </p:nvSpPr>
        <p:spPr bwMode="auto">
          <a:xfrm>
            <a:off x="619173" y="205084"/>
            <a:ext cx="8635347" cy="501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GB" altLang="en-US" dirty="0">
                <a:solidFill>
                  <a:srgbClr val="7BC518"/>
                </a:solidFill>
              </a:rPr>
              <a:t>ADA </a:t>
            </a:r>
            <a:r>
              <a:rPr lang="en-GB" altLang="en-US" dirty="0" err="1">
                <a:solidFill>
                  <a:srgbClr val="7BC518"/>
                </a:solidFill>
              </a:rPr>
              <a:t>Richtlijnen</a:t>
            </a:r>
            <a:r>
              <a:rPr lang="en-GB" altLang="en-US" dirty="0">
                <a:solidFill>
                  <a:srgbClr val="7BC518"/>
                </a:solidFill>
              </a:rPr>
              <a:t> 2018 </a:t>
            </a:r>
            <a:br>
              <a:rPr lang="en-GB" altLang="en-US" dirty="0"/>
            </a:br>
            <a:endParaRPr lang="en-GB" altLang="en-US" i="1" baseline="30000" dirty="0"/>
          </a:p>
        </p:txBody>
      </p:sp>
      <p:sp>
        <p:nvSpPr>
          <p:cNvPr id="9" name="TextBox 8"/>
          <p:cNvSpPr txBox="1"/>
          <p:nvPr/>
        </p:nvSpPr>
        <p:spPr>
          <a:xfrm>
            <a:off x="8676456" y="5852011"/>
            <a:ext cx="370614" cy="1538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sz="600" dirty="0"/>
              <a:t>Slide 37</a:t>
            </a:r>
          </a:p>
        </p:txBody>
      </p:sp>
    </p:spTree>
    <p:extLst>
      <p:ext uri="{BB962C8B-B14F-4D97-AF65-F5344CB8AC3E}">
        <p14:creationId xmlns:p14="http://schemas.microsoft.com/office/powerpoint/2010/main" val="1910477755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nl-BE" altLang="nl-BE" sz="2800" dirty="0">
                <a:ea typeface="Geneva"/>
                <a:cs typeface="Geneva"/>
              </a:rPr>
              <a:t>Cardiovasculaire veiligheid </a:t>
            </a:r>
          </a:p>
        </p:txBody>
      </p:sp>
      <p:sp>
        <p:nvSpPr>
          <p:cNvPr id="145411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A449226-7D18-4494-8CA3-96E2594B4EFE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36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4541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0600" y="925513"/>
            <a:ext cx="7151688" cy="532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0853840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nl-BE" altLang="nl-BE" sz="2800">
                <a:ea typeface="Geneva"/>
                <a:cs typeface="Geneva"/>
              </a:rPr>
              <a:t>Verminderde cardiovasculaire mortaliteit bij gebruik van empagliflozine </a:t>
            </a:r>
          </a:p>
        </p:txBody>
      </p:sp>
      <p:sp>
        <p:nvSpPr>
          <p:cNvPr id="147459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36854033-F1C3-4771-A27C-318A0E503A8B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37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4746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49313" y="1798638"/>
            <a:ext cx="7162800" cy="43513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3617471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400" dirty="0">
                <a:solidFill>
                  <a:srgbClr val="7BC518"/>
                </a:solidFill>
              </a:rPr>
              <a:t>Canvas trial</a:t>
            </a: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D7133C-5F9C-4F7F-9637-3E296898A784}" type="slidenum">
              <a:rPr lang="nl-BE" smtClean="0">
                <a:solidFill>
                  <a:prstClr val="black">
                    <a:tint val="75000"/>
                  </a:prstClr>
                </a:solidFill>
              </a:rPr>
              <a:pPr algn="l"/>
              <a:t>38</a:t>
            </a:fld>
            <a:endParaRPr lang="nl-B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880" y="1052513"/>
            <a:ext cx="6736080" cy="4663440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678246" y="6287453"/>
            <a:ext cx="36327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BE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Neal B. et al., N </a:t>
            </a:r>
            <a:r>
              <a:rPr lang="nl-BE" dirty="0" err="1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Engl</a:t>
            </a:r>
            <a:r>
              <a:rPr lang="nl-BE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 J </a:t>
            </a:r>
            <a:r>
              <a:rPr lang="nl-BE" dirty="0" err="1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Med</a:t>
            </a:r>
            <a:r>
              <a:rPr lang="nl-BE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, 2017: 377(7):644-657</a:t>
            </a:r>
          </a:p>
        </p:txBody>
      </p:sp>
    </p:spTree>
    <p:extLst>
      <p:ext uri="{BB962C8B-B14F-4D97-AF65-F5344CB8AC3E}">
        <p14:creationId xmlns:p14="http://schemas.microsoft.com/office/powerpoint/2010/main" val="15530290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0622" y="1165380"/>
            <a:ext cx="8510400" cy="391412"/>
          </a:xfrm>
        </p:spPr>
        <p:txBody>
          <a:bodyPr>
            <a:noAutofit/>
          </a:bodyPr>
          <a:lstStyle/>
          <a:p>
            <a:r>
              <a:rPr lang="en-GB" sz="2000" dirty="0" err="1"/>
              <a:t>Verschillend</a:t>
            </a:r>
            <a:r>
              <a:rPr lang="en-GB" sz="2000" dirty="0"/>
              <a:t> CV </a:t>
            </a:r>
            <a:r>
              <a:rPr lang="en-GB" sz="2000" dirty="0" err="1"/>
              <a:t>protectie</a:t>
            </a:r>
            <a:r>
              <a:rPr lang="en-GB" sz="2000" dirty="0"/>
              <a:t> </a:t>
            </a:r>
            <a:r>
              <a:rPr lang="en-GB" sz="2000" dirty="0" err="1"/>
              <a:t>werkingsmechanisme</a:t>
            </a:r>
            <a:r>
              <a:rPr lang="en-GB" sz="2000" dirty="0"/>
              <a:t>  </a:t>
            </a:r>
            <a:br>
              <a:rPr lang="en-GB" sz="2000" dirty="0"/>
            </a:br>
            <a:endParaRPr lang="en-GB" sz="2000" i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316800" y="5677486"/>
            <a:ext cx="7476942" cy="325668"/>
          </a:xfrm>
          <a:prstGeom prst="roundRect">
            <a:avLst>
              <a:gd name="adj" fmla="val 7346"/>
            </a:avLst>
          </a:prstGeom>
          <a:noFill/>
          <a:ln>
            <a:noFill/>
          </a:ln>
        </p:spPr>
        <p:txBody>
          <a:bodyPr wrap="square" lIns="91394" tIns="45697" rIns="91394" bIns="45697" rtlCol="0" anchor="b" anchorCtr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800" baseline="0" dirty="0">
              <a:solidFill>
                <a:srgbClr val="E0DED8">
                  <a:lumMod val="50000"/>
                </a:srgbClr>
              </a:solidFill>
              <a:latin typeface="Verdana"/>
              <a:ea typeface="MS PGothic" pitchFamily="34" charset="-128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1. </a:t>
            </a:r>
            <a:r>
              <a:rPr lang="en-GB" sz="800" baseline="0" dirty="0" err="1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Zinman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 B et al. </a:t>
            </a:r>
            <a:r>
              <a:rPr lang="en-GB" sz="800" i="1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N </a:t>
            </a:r>
            <a:r>
              <a:rPr lang="en-GB" sz="800" i="1" baseline="0" dirty="0" err="1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Engl</a:t>
            </a:r>
            <a:r>
              <a:rPr lang="en-GB" sz="800" i="1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 J Med 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2015;373:2117-2128; 2. </a:t>
            </a:r>
            <a:r>
              <a:rPr lang="en-GB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Marso</a:t>
            </a:r>
            <a:r>
              <a:rPr lang="en-GB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SP et al </a:t>
            </a:r>
            <a:r>
              <a:rPr lang="en-GB" sz="800" i="1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N </a:t>
            </a:r>
            <a:r>
              <a:rPr lang="en-GB" sz="800" i="1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Engl</a:t>
            </a:r>
            <a:r>
              <a:rPr lang="en-GB" sz="800" i="1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J Med</a:t>
            </a:r>
            <a:r>
              <a:rPr lang="en-GB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 2016;375:311‒322</a:t>
            </a:r>
            <a:r>
              <a:rPr lang="en-GB" altLang="en-US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; 3. </a:t>
            </a:r>
            <a:r>
              <a:rPr lang="en-GB" altLang="en-US" sz="800" baseline="0" dirty="0" err="1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Heerspink</a:t>
            </a:r>
            <a:r>
              <a:rPr lang="en-GB" altLang="en-US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 </a:t>
            </a:r>
            <a:r>
              <a:rPr lang="en-GB" altLang="en-US" sz="800" baseline="0" dirty="0">
                <a:solidFill>
                  <a:srgbClr val="82786F"/>
                </a:solidFill>
                <a:latin typeface="Verdana"/>
                <a:ea typeface="MS PGothic" pitchFamily="34" charset="-128"/>
              </a:rPr>
              <a:t>HJL </a:t>
            </a:r>
            <a:r>
              <a:rPr lang="en-GB" sz="8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Circulation. 2016;134:752–772. 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4</a:t>
            </a:r>
            <a:r>
              <a:rPr lang="en-GB" altLang="en-US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. 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Drucker DJ, Cell Metabolism 2016;24(1):15-30; 5. </a:t>
            </a:r>
            <a:r>
              <a:rPr lang="en-GB" sz="800" baseline="0" dirty="0" err="1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Nauck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 MA et al. Lancet </a:t>
            </a:r>
            <a:r>
              <a:rPr lang="en-GB" sz="800" baseline="0" dirty="0" err="1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Diab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 Endo 2016;4(6):525-536; 6. Neal B et al. </a:t>
            </a:r>
            <a:r>
              <a:rPr lang="en-GB" sz="800" i="1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N </a:t>
            </a:r>
            <a:r>
              <a:rPr lang="en-GB" sz="800" i="1" baseline="0" dirty="0" err="1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Engl</a:t>
            </a:r>
            <a:r>
              <a:rPr lang="en-GB" sz="800" i="1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 J Med </a:t>
            </a:r>
            <a:r>
              <a:rPr lang="en-GB" sz="800" baseline="0" dirty="0">
                <a:solidFill>
                  <a:srgbClr val="E0DED8">
                    <a:lumMod val="50000"/>
                  </a:srgbClr>
                </a:solidFill>
                <a:latin typeface="Verdana"/>
                <a:ea typeface="MS PGothic" pitchFamily="34" charset="-128"/>
              </a:rPr>
              <a:t>2017;377:644-657</a:t>
            </a:r>
          </a:p>
        </p:txBody>
      </p:sp>
      <p:sp>
        <p:nvSpPr>
          <p:cNvPr id="38" name="Freeform 4"/>
          <p:cNvSpPr>
            <a:spLocks/>
          </p:cNvSpPr>
          <p:nvPr/>
        </p:nvSpPr>
        <p:spPr bwMode="auto">
          <a:xfrm>
            <a:off x="918282" y="1967614"/>
            <a:ext cx="3388661" cy="1580026"/>
          </a:xfrm>
          <a:custGeom>
            <a:avLst/>
            <a:gdLst>
              <a:gd name="T0" fmla="*/ 0 w 4501661"/>
              <a:gd name="T1" fmla="*/ 0 h 2440745"/>
              <a:gd name="T2" fmla="*/ 0 w 4501661"/>
              <a:gd name="T3" fmla="*/ 2444898 h 2440745"/>
              <a:gd name="T4" fmla="*/ 15564395 w 4501661"/>
              <a:gd name="T5" fmla="*/ 2437852 h 244074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501661" h="2440745">
                <a:moveTo>
                  <a:pt x="0" y="0"/>
                </a:moveTo>
                <a:lnTo>
                  <a:pt x="0" y="2440745"/>
                </a:lnTo>
                <a:lnTo>
                  <a:pt x="4501661" y="2433711"/>
                </a:lnTo>
              </a:path>
            </a:pathLst>
          </a:custGeom>
          <a:noFill/>
          <a:ln w="19050" cap="flat" cmpd="sng" algn="ctr">
            <a:solidFill>
              <a:srgbClr val="001965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5993" tIns="95993" rIns="95993" bIns="95993" anchor="ctr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900" baseline="0" dirty="0">
              <a:solidFill>
                <a:srgbClr val="001965"/>
              </a:solidFill>
              <a:latin typeface="Verdana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39" name="TextBox 33"/>
          <p:cNvSpPr txBox="1">
            <a:spLocks noChangeArrowheads="1"/>
          </p:cNvSpPr>
          <p:nvPr/>
        </p:nvSpPr>
        <p:spPr bwMode="auto">
          <a:xfrm>
            <a:off x="886896" y="3604503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0</a:t>
            </a:r>
          </a:p>
        </p:txBody>
      </p:sp>
      <p:cxnSp>
        <p:nvCxnSpPr>
          <p:cNvPr id="40" name="Straight Connector 34"/>
          <p:cNvCxnSpPr>
            <a:cxnSpLocks noChangeShapeType="1"/>
          </p:cNvCxnSpPr>
          <p:nvPr/>
        </p:nvCxnSpPr>
        <p:spPr bwMode="auto">
          <a:xfrm rot="5400000">
            <a:off x="898813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TextBox 31"/>
          <p:cNvSpPr txBox="1">
            <a:spLocks noChangeArrowheads="1"/>
          </p:cNvSpPr>
          <p:nvPr/>
        </p:nvSpPr>
        <p:spPr bwMode="auto">
          <a:xfrm>
            <a:off x="1309923" y="3604503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6</a:t>
            </a:r>
          </a:p>
        </p:txBody>
      </p:sp>
      <p:cxnSp>
        <p:nvCxnSpPr>
          <p:cNvPr id="42" name="Straight Connector 32"/>
          <p:cNvCxnSpPr>
            <a:cxnSpLocks noChangeShapeType="1"/>
          </p:cNvCxnSpPr>
          <p:nvPr/>
        </p:nvCxnSpPr>
        <p:spPr bwMode="auto">
          <a:xfrm rot="5400000">
            <a:off x="1321843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3" name="TextBox 29"/>
          <p:cNvSpPr txBox="1">
            <a:spLocks noChangeArrowheads="1"/>
          </p:cNvSpPr>
          <p:nvPr/>
        </p:nvSpPr>
        <p:spPr bwMode="auto">
          <a:xfrm>
            <a:off x="1696051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12</a:t>
            </a:r>
          </a:p>
        </p:txBody>
      </p:sp>
      <p:cxnSp>
        <p:nvCxnSpPr>
          <p:cNvPr id="44" name="Straight Connector 30"/>
          <p:cNvCxnSpPr>
            <a:cxnSpLocks noChangeShapeType="1"/>
          </p:cNvCxnSpPr>
          <p:nvPr/>
        </p:nvCxnSpPr>
        <p:spPr bwMode="auto">
          <a:xfrm rot="5400000">
            <a:off x="1740028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5" name="TextBox 27"/>
          <p:cNvSpPr txBox="1">
            <a:spLocks noChangeArrowheads="1"/>
          </p:cNvSpPr>
          <p:nvPr/>
        </p:nvSpPr>
        <p:spPr bwMode="auto">
          <a:xfrm>
            <a:off x="2119303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18</a:t>
            </a:r>
          </a:p>
        </p:txBody>
      </p:sp>
      <p:cxnSp>
        <p:nvCxnSpPr>
          <p:cNvPr id="46" name="Straight Connector 28"/>
          <p:cNvCxnSpPr>
            <a:cxnSpLocks noChangeShapeType="1"/>
          </p:cNvCxnSpPr>
          <p:nvPr/>
        </p:nvCxnSpPr>
        <p:spPr bwMode="auto">
          <a:xfrm rot="5400000">
            <a:off x="2163277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" name="TextBox 25"/>
          <p:cNvSpPr txBox="1">
            <a:spLocks noChangeArrowheads="1"/>
          </p:cNvSpPr>
          <p:nvPr/>
        </p:nvSpPr>
        <p:spPr bwMode="auto">
          <a:xfrm>
            <a:off x="2965810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30</a:t>
            </a:r>
          </a:p>
        </p:txBody>
      </p:sp>
      <p:cxnSp>
        <p:nvCxnSpPr>
          <p:cNvPr id="48" name="Straight Connector 26"/>
          <p:cNvCxnSpPr>
            <a:cxnSpLocks noChangeShapeType="1"/>
          </p:cNvCxnSpPr>
          <p:nvPr/>
        </p:nvCxnSpPr>
        <p:spPr bwMode="auto">
          <a:xfrm rot="5400000">
            <a:off x="3009784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9" name="TextBox 23"/>
          <p:cNvSpPr txBox="1">
            <a:spLocks noChangeArrowheads="1"/>
          </p:cNvSpPr>
          <p:nvPr/>
        </p:nvSpPr>
        <p:spPr bwMode="auto">
          <a:xfrm>
            <a:off x="2542555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24</a:t>
            </a:r>
          </a:p>
        </p:txBody>
      </p:sp>
      <p:cxnSp>
        <p:nvCxnSpPr>
          <p:cNvPr id="50" name="Straight Connector 24"/>
          <p:cNvCxnSpPr>
            <a:cxnSpLocks noChangeShapeType="1"/>
          </p:cNvCxnSpPr>
          <p:nvPr/>
        </p:nvCxnSpPr>
        <p:spPr bwMode="auto">
          <a:xfrm rot="5400000">
            <a:off x="2586530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" name="TextBox 21"/>
          <p:cNvSpPr txBox="1">
            <a:spLocks noChangeArrowheads="1"/>
          </p:cNvSpPr>
          <p:nvPr/>
        </p:nvSpPr>
        <p:spPr bwMode="auto">
          <a:xfrm>
            <a:off x="3812314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42</a:t>
            </a:r>
          </a:p>
        </p:txBody>
      </p:sp>
      <p:cxnSp>
        <p:nvCxnSpPr>
          <p:cNvPr id="52" name="Straight Connector 22"/>
          <p:cNvCxnSpPr>
            <a:cxnSpLocks noChangeShapeType="1"/>
          </p:cNvCxnSpPr>
          <p:nvPr/>
        </p:nvCxnSpPr>
        <p:spPr bwMode="auto">
          <a:xfrm rot="5400000">
            <a:off x="3856291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TextBox 19"/>
          <p:cNvSpPr txBox="1">
            <a:spLocks noChangeArrowheads="1"/>
          </p:cNvSpPr>
          <p:nvPr/>
        </p:nvSpPr>
        <p:spPr bwMode="auto">
          <a:xfrm>
            <a:off x="3389062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36</a:t>
            </a:r>
          </a:p>
        </p:txBody>
      </p:sp>
      <p:cxnSp>
        <p:nvCxnSpPr>
          <p:cNvPr id="54" name="Straight Connector 20"/>
          <p:cNvCxnSpPr>
            <a:cxnSpLocks noChangeShapeType="1"/>
          </p:cNvCxnSpPr>
          <p:nvPr/>
        </p:nvCxnSpPr>
        <p:spPr bwMode="auto">
          <a:xfrm rot="5400000">
            <a:off x="3433036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TextBox 17"/>
          <p:cNvSpPr txBox="1">
            <a:spLocks noChangeArrowheads="1"/>
          </p:cNvSpPr>
          <p:nvPr/>
        </p:nvSpPr>
        <p:spPr bwMode="auto">
          <a:xfrm>
            <a:off x="4235566" y="360450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48</a:t>
            </a:r>
          </a:p>
        </p:txBody>
      </p:sp>
      <p:cxnSp>
        <p:nvCxnSpPr>
          <p:cNvPr id="56" name="Straight Connector 18"/>
          <p:cNvCxnSpPr>
            <a:cxnSpLocks noChangeShapeType="1"/>
          </p:cNvCxnSpPr>
          <p:nvPr/>
        </p:nvCxnSpPr>
        <p:spPr bwMode="auto">
          <a:xfrm rot="5400000">
            <a:off x="4279540" y="3565724"/>
            <a:ext cx="40292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7" name="TextBox 49"/>
          <p:cNvSpPr txBox="1">
            <a:spLocks noChangeArrowheads="1"/>
          </p:cNvSpPr>
          <p:nvPr/>
        </p:nvSpPr>
        <p:spPr bwMode="auto">
          <a:xfrm>
            <a:off x="736882" y="1916248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20</a:t>
            </a:r>
          </a:p>
        </p:txBody>
      </p:sp>
      <p:cxnSp>
        <p:nvCxnSpPr>
          <p:cNvPr id="58" name="Straight Connector 50"/>
          <p:cNvCxnSpPr>
            <a:cxnSpLocks noChangeShapeType="1"/>
          </p:cNvCxnSpPr>
          <p:nvPr/>
        </p:nvCxnSpPr>
        <p:spPr bwMode="auto">
          <a:xfrm>
            <a:off x="883817" y="1975980"/>
            <a:ext cx="3834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TextBox 47"/>
          <p:cNvSpPr txBox="1">
            <a:spLocks noChangeArrowheads="1"/>
          </p:cNvSpPr>
          <p:nvPr/>
        </p:nvSpPr>
        <p:spPr bwMode="auto">
          <a:xfrm>
            <a:off x="736882" y="2702710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10</a:t>
            </a:r>
          </a:p>
        </p:txBody>
      </p:sp>
      <p:cxnSp>
        <p:nvCxnSpPr>
          <p:cNvPr id="60" name="Straight Connector 48"/>
          <p:cNvCxnSpPr>
            <a:cxnSpLocks noChangeShapeType="1"/>
          </p:cNvCxnSpPr>
          <p:nvPr/>
        </p:nvCxnSpPr>
        <p:spPr bwMode="auto">
          <a:xfrm>
            <a:off x="883817" y="2762442"/>
            <a:ext cx="3834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TextBox 45"/>
          <p:cNvSpPr txBox="1">
            <a:spLocks noChangeArrowheads="1"/>
          </p:cNvSpPr>
          <p:nvPr/>
        </p:nvSpPr>
        <p:spPr bwMode="auto">
          <a:xfrm>
            <a:off x="801000" y="3095940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5</a:t>
            </a:r>
          </a:p>
        </p:txBody>
      </p:sp>
      <p:cxnSp>
        <p:nvCxnSpPr>
          <p:cNvPr id="62" name="Straight Connector 46"/>
          <p:cNvCxnSpPr>
            <a:cxnSpLocks noChangeShapeType="1"/>
          </p:cNvCxnSpPr>
          <p:nvPr/>
        </p:nvCxnSpPr>
        <p:spPr bwMode="auto">
          <a:xfrm>
            <a:off x="883812" y="3155673"/>
            <a:ext cx="38344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3" name="TextBox 43"/>
          <p:cNvSpPr txBox="1">
            <a:spLocks noChangeArrowheads="1"/>
          </p:cNvSpPr>
          <p:nvPr/>
        </p:nvSpPr>
        <p:spPr bwMode="auto">
          <a:xfrm>
            <a:off x="801000" y="3489172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0</a:t>
            </a:r>
          </a:p>
        </p:txBody>
      </p:sp>
      <p:cxnSp>
        <p:nvCxnSpPr>
          <p:cNvPr id="64" name="Straight Connector 44"/>
          <p:cNvCxnSpPr>
            <a:cxnSpLocks noChangeShapeType="1"/>
          </p:cNvCxnSpPr>
          <p:nvPr/>
        </p:nvCxnSpPr>
        <p:spPr bwMode="auto">
          <a:xfrm>
            <a:off x="883812" y="3548905"/>
            <a:ext cx="38344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5" name="TextBox 41"/>
          <p:cNvSpPr txBox="1">
            <a:spLocks noChangeArrowheads="1"/>
          </p:cNvSpPr>
          <p:nvPr/>
        </p:nvSpPr>
        <p:spPr bwMode="auto">
          <a:xfrm>
            <a:off x="736882" y="2309479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altLang="en-US" sz="9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15</a:t>
            </a:r>
          </a:p>
        </p:txBody>
      </p:sp>
      <p:cxnSp>
        <p:nvCxnSpPr>
          <p:cNvPr id="66" name="Straight Connector 42"/>
          <p:cNvCxnSpPr>
            <a:cxnSpLocks noChangeShapeType="1"/>
          </p:cNvCxnSpPr>
          <p:nvPr/>
        </p:nvCxnSpPr>
        <p:spPr bwMode="auto">
          <a:xfrm>
            <a:off x="883817" y="2369211"/>
            <a:ext cx="3834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" name="Freeform 66"/>
          <p:cNvSpPr/>
          <p:nvPr/>
        </p:nvSpPr>
        <p:spPr>
          <a:xfrm>
            <a:off x="921193" y="2261428"/>
            <a:ext cx="3377000" cy="1272856"/>
          </a:xfrm>
          <a:custGeom>
            <a:avLst/>
            <a:gdLst>
              <a:gd name="connsiteX0" fmla="*/ 7357035 w 7357035"/>
              <a:gd name="connsiteY0" fmla="*/ 0 h 2623671"/>
              <a:gd name="connsiteX1" fmla="*/ 7261412 w 7357035"/>
              <a:gd name="connsiteY1" fmla="*/ 0 h 2623671"/>
              <a:gd name="connsiteX2" fmla="*/ 7261412 w 7357035"/>
              <a:gd name="connsiteY2" fmla="*/ 89647 h 2623671"/>
              <a:gd name="connsiteX3" fmla="*/ 7171764 w 7357035"/>
              <a:gd name="connsiteY3" fmla="*/ 89647 h 2623671"/>
              <a:gd name="connsiteX4" fmla="*/ 7159812 w 7357035"/>
              <a:gd name="connsiteY4" fmla="*/ 101599 h 2623671"/>
              <a:gd name="connsiteX5" fmla="*/ 7159812 w 7357035"/>
              <a:gd name="connsiteY5" fmla="*/ 161365 h 2623671"/>
              <a:gd name="connsiteX6" fmla="*/ 7123953 w 7357035"/>
              <a:gd name="connsiteY6" fmla="*/ 161365 h 2623671"/>
              <a:gd name="connsiteX7" fmla="*/ 7123953 w 7357035"/>
              <a:gd name="connsiteY7" fmla="*/ 215153 h 2623671"/>
              <a:gd name="connsiteX8" fmla="*/ 6968564 w 7357035"/>
              <a:gd name="connsiteY8" fmla="*/ 215153 h 2623671"/>
              <a:gd name="connsiteX9" fmla="*/ 6968564 w 7357035"/>
              <a:gd name="connsiteY9" fmla="*/ 251012 h 2623671"/>
              <a:gd name="connsiteX10" fmla="*/ 6920753 w 7357035"/>
              <a:gd name="connsiteY10" fmla="*/ 251012 h 2623671"/>
              <a:gd name="connsiteX11" fmla="*/ 6920753 w 7357035"/>
              <a:gd name="connsiteY11" fmla="*/ 268941 h 2623671"/>
              <a:gd name="connsiteX12" fmla="*/ 6872941 w 7357035"/>
              <a:gd name="connsiteY12" fmla="*/ 268941 h 2623671"/>
              <a:gd name="connsiteX13" fmla="*/ 6872941 w 7357035"/>
              <a:gd name="connsiteY13" fmla="*/ 316753 h 2623671"/>
              <a:gd name="connsiteX14" fmla="*/ 6771341 w 7357035"/>
              <a:gd name="connsiteY14" fmla="*/ 316753 h 2623671"/>
              <a:gd name="connsiteX15" fmla="*/ 6771341 w 7357035"/>
              <a:gd name="connsiteY15" fmla="*/ 334682 h 2623671"/>
              <a:gd name="connsiteX16" fmla="*/ 6681694 w 7357035"/>
              <a:gd name="connsiteY16" fmla="*/ 334682 h 2623671"/>
              <a:gd name="connsiteX17" fmla="*/ 6681694 w 7357035"/>
              <a:gd name="connsiteY17" fmla="*/ 358588 h 2623671"/>
              <a:gd name="connsiteX18" fmla="*/ 6627906 w 7357035"/>
              <a:gd name="connsiteY18" fmla="*/ 358588 h 2623671"/>
              <a:gd name="connsiteX19" fmla="*/ 6627906 w 7357035"/>
              <a:gd name="connsiteY19" fmla="*/ 382494 h 2623671"/>
              <a:gd name="connsiteX20" fmla="*/ 6490447 w 7357035"/>
              <a:gd name="connsiteY20" fmla="*/ 382494 h 2623671"/>
              <a:gd name="connsiteX21" fmla="*/ 6490447 w 7357035"/>
              <a:gd name="connsiteY21" fmla="*/ 412376 h 2623671"/>
              <a:gd name="connsiteX22" fmla="*/ 6370917 w 7357035"/>
              <a:gd name="connsiteY22" fmla="*/ 412376 h 2623671"/>
              <a:gd name="connsiteX23" fmla="*/ 6370917 w 7357035"/>
              <a:gd name="connsiteY23" fmla="*/ 436282 h 2623671"/>
              <a:gd name="connsiteX24" fmla="*/ 6329082 w 7357035"/>
              <a:gd name="connsiteY24" fmla="*/ 436282 h 2623671"/>
              <a:gd name="connsiteX25" fmla="*/ 6341035 w 7357035"/>
              <a:gd name="connsiteY25" fmla="*/ 448235 h 2623671"/>
              <a:gd name="connsiteX26" fmla="*/ 6305176 w 7357035"/>
              <a:gd name="connsiteY26" fmla="*/ 448235 h 2623671"/>
              <a:gd name="connsiteX27" fmla="*/ 6305176 w 7357035"/>
              <a:gd name="connsiteY27" fmla="*/ 472141 h 2623671"/>
              <a:gd name="connsiteX28" fmla="*/ 6263341 w 7357035"/>
              <a:gd name="connsiteY28" fmla="*/ 472141 h 2623671"/>
              <a:gd name="connsiteX29" fmla="*/ 6257364 w 7357035"/>
              <a:gd name="connsiteY29" fmla="*/ 478118 h 2623671"/>
              <a:gd name="connsiteX30" fmla="*/ 6209553 w 7357035"/>
              <a:gd name="connsiteY30" fmla="*/ 478118 h 2623671"/>
              <a:gd name="connsiteX31" fmla="*/ 6209553 w 7357035"/>
              <a:gd name="connsiteY31" fmla="*/ 508000 h 2623671"/>
              <a:gd name="connsiteX32" fmla="*/ 6179670 w 7357035"/>
              <a:gd name="connsiteY32" fmla="*/ 508000 h 2623671"/>
              <a:gd name="connsiteX33" fmla="*/ 6191623 w 7357035"/>
              <a:gd name="connsiteY33" fmla="*/ 519953 h 2623671"/>
              <a:gd name="connsiteX34" fmla="*/ 6155764 w 7357035"/>
              <a:gd name="connsiteY34" fmla="*/ 519953 h 2623671"/>
              <a:gd name="connsiteX35" fmla="*/ 6155764 w 7357035"/>
              <a:gd name="connsiteY35" fmla="*/ 549835 h 2623671"/>
              <a:gd name="connsiteX36" fmla="*/ 6119906 w 7357035"/>
              <a:gd name="connsiteY36" fmla="*/ 549835 h 2623671"/>
              <a:gd name="connsiteX37" fmla="*/ 6119906 w 7357035"/>
              <a:gd name="connsiteY37" fmla="*/ 579718 h 2623671"/>
              <a:gd name="connsiteX38" fmla="*/ 6101977 w 7357035"/>
              <a:gd name="connsiteY38" fmla="*/ 597647 h 2623671"/>
              <a:gd name="connsiteX39" fmla="*/ 6078070 w 7357035"/>
              <a:gd name="connsiteY39" fmla="*/ 597647 h 2623671"/>
              <a:gd name="connsiteX40" fmla="*/ 6078070 w 7357035"/>
              <a:gd name="connsiteY40" fmla="*/ 615576 h 2623671"/>
              <a:gd name="connsiteX41" fmla="*/ 6024282 w 7357035"/>
              <a:gd name="connsiteY41" fmla="*/ 615576 h 2623671"/>
              <a:gd name="connsiteX42" fmla="*/ 6030259 w 7357035"/>
              <a:gd name="connsiteY42" fmla="*/ 621553 h 2623671"/>
              <a:gd name="connsiteX43" fmla="*/ 5940612 w 7357035"/>
              <a:gd name="connsiteY43" fmla="*/ 621553 h 2623671"/>
              <a:gd name="connsiteX44" fmla="*/ 5940612 w 7357035"/>
              <a:gd name="connsiteY44" fmla="*/ 645459 h 2623671"/>
              <a:gd name="connsiteX45" fmla="*/ 5934635 w 7357035"/>
              <a:gd name="connsiteY45" fmla="*/ 639482 h 2623671"/>
              <a:gd name="connsiteX46" fmla="*/ 5934635 w 7357035"/>
              <a:gd name="connsiteY46" fmla="*/ 657412 h 2623671"/>
              <a:gd name="connsiteX47" fmla="*/ 5898776 w 7357035"/>
              <a:gd name="connsiteY47" fmla="*/ 657412 h 2623671"/>
              <a:gd name="connsiteX48" fmla="*/ 5898776 w 7357035"/>
              <a:gd name="connsiteY48" fmla="*/ 675341 h 2623671"/>
              <a:gd name="connsiteX49" fmla="*/ 5868894 w 7357035"/>
              <a:gd name="connsiteY49" fmla="*/ 675341 h 2623671"/>
              <a:gd name="connsiteX50" fmla="*/ 5868894 w 7357035"/>
              <a:gd name="connsiteY50" fmla="*/ 687294 h 2623671"/>
              <a:gd name="connsiteX51" fmla="*/ 5850964 w 7357035"/>
              <a:gd name="connsiteY51" fmla="*/ 705224 h 2623671"/>
              <a:gd name="connsiteX52" fmla="*/ 5803153 w 7357035"/>
              <a:gd name="connsiteY52" fmla="*/ 705224 h 2623671"/>
              <a:gd name="connsiteX53" fmla="*/ 5803153 w 7357035"/>
              <a:gd name="connsiteY53" fmla="*/ 741082 h 2623671"/>
              <a:gd name="connsiteX54" fmla="*/ 5677647 w 7357035"/>
              <a:gd name="connsiteY54" fmla="*/ 741082 h 2623671"/>
              <a:gd name="connsiteX55" fmla="*/ 5677647 w 7357035"/>
              <a:gd name="connsiteY55" fmla="*/ 747059 h 2623671"/>
              <a:gd name="connsiteX56" fmla="*/ 5641788 w 7357035"/>
              <a:gd name="connsiteY56" fmla="*/ 747059 h 2623671"/>
              <a:gd name="connsiteX57" fmla="*/ 5641788 w 7357035"/>
              <a:gd name="connsiteY57" fmla="*/ 770965 h 2623671"/>
              <a:gd name="connsiteX58" fmla="*/ 5593976 w 7357035"/>
              <a:gd name="connsiteY58" fmla="*/ 770965 h 2623671"/>
              <a:gd name="connsiteX59" fmla="*/ 5593976 w 7357035"/>
              <a:gd name="connsiteY59" fmla="*/ 794871 h 2623671"/>
              <a:gd name="connsiteX60" fmla="*/ 5492376 w 7357035"/>
              <a:gd name="connsiteY60" fmla="*/ 794871 h 2623671"/>
              <a:gd name="connsiteX61" fmla="*/ 5492376 w 7357035"/>
              <a:gd name="connsiteY61" fmla="*/ 812800 h 2623671"/>
              <a:gd name="connsiteX62" fmla="*/ 5450541 w 7357035"/>
              <a:gd name="connsiteY62" fmla="*/ 812800 h 2623671"/>
              <a:gd name="connsiteX63" fmla="*/ 5450541 w 7357035"/>
              <a:gd name="connsiteY63" fmla="*/ 824753 h 2623671"/>
              <a:gd name="connsiteX64" fmla="*/ 5408706 w 7357035"/>
              <a:gd name="connsiteY64" fmla="*/ 824753 h 2623671"/>
              <a:gd name="connsiteX65" fmla="*/ 5408706 w 7357035"/>
              <a:gd name="connsiteY65" fmla="*/ 842682 h 2623671"/>
              <a:gd name="connsiteX66" fmla="*/ 5331012 w 7357035"/>
              <a:gd name="connsiteY66" fmla="*/ 842682 h 2623671"/>
              <a:gd name="connsiteX67" fmla="*/ 5325035 w 7357035"/>
              <a:gd name="connsiteY67" fmla="*/ 848659 h 2623671"/>
              <a:gd name="connsiteX68" fmla="*/ 5205506 w 7357035"/>
              <a:gd name="connsiteY68" fmla="*/ 848659 h 2623671"/>
              <a:gd name="connsiteX69" fmla="*/ 5205506 w 7357035"/>
              <a:gd name="connsiteY69" fmla="*/ 866588 h 2623671"/>
              <a:gd name="connsiteX70" fmla="*/ 5157694 w 7357035"/>
              <a:gd name="connsiteY70" fmla="*/ 866588 h 2623671"/>
              <a:gd name="connsiteX71" fmla="*/ 5157694 w 7357035"/>
              <a:gd name="connsiteY71" fmla="*/ 884518 h 2623671"/>
              <a:gd name="connsiteX72" fmla="*/ 5127812 w 7357035"/>
              <a:gd name="connsiteY72" fmla="*/ 884518 h 2623671"/>
              <a:gd name="connsiteX73" fmla="*/ 5127812 w 7357035"/>
              <a:gd name="connsiteY73" fmla="*/ 902447 h 2623671"/>
              <a:gd name="connsiteX74" fmla="*/ 5109882 w 7357035"/>
              <a:gd name="connsiteY74" fmla="*/ 902447 h 2623671"/>
              <a:gd name="connsiteX75" fmla="*/ 5109882 w 7357035"/>
              <a:gd name="connsiteY75" fmla="*/ 914400 h 2623671"/>
              <a:gd name="connsiteX76" fmla="*/ 5062070 w 7357035"/>
              <a:gd name="connsiteY76" fmla="*/ 914400 h 2623671"/>
              <a:gd name="connsiteX77" fmla="*/ 5062070 w 7357035"/>
              <a:gd name="connsiteY77" fmla="*/ 926353 h 2623671"/>
              <a:gd name="connsiteX78" fmla="*/ 5020235 w 7357035"/>
              <a:gd name="connsiteY78" fmla="*/ 926353 h 2623671"/>
              <a:gd name="connsiteX79" fmla="*/ 5020235 w 7357035"/>
              <a:gd name="connsiteY79" fmla="*/ 938306 h 2623671"/>
              <a:gd name="connsiteX80" fmla="*/ 4972423 w 7357035"/>
              <a:gd name="connsiteY80" fmla="*/ 938306 h 2623671"/>
              <a:gd name="connsiteX81" fmla="*/ 4972423 w 7357035"/>
              <a:gd name="connsiteY81" fmla="*/ 950259 h 2623671"/>
              <a:gd name="connsiteX82" fmla="*/ 4954494 w 7357035"/>
              <a:gd name="connsiteY82" fmla="*/ 950259 h 2623671"/>
              <a:gd name="connsiteX83" fmla="*/ 4954494 w 7357035"/>
              <a:gd name="connsiteY83" fmla="*/ 968188 h 2623671"/>
              <a:gd name="connsiteX84" fmla="*/ 4888753 w 7357035"/>
              <a:gd name="connsiteY84" fmla="*/ 968188 h 2623671"/>
              <a:gd name="connsiteX85" fmla="*/ 4888753 w 7357035"/>
              <a:gd name="connsiteY85" fmla="*/ 980141 h 2623671"/>
              <a:gd name="connsiteX86" fmla="*/ 4775200 w 7357035"/>
              <a:gd name="connsiteY86" fmla="*/ 980141 h 2623671"/>
              <a:gd name="connsiteX87" fmla="*/ 4775200 w 7357035"/>
              <a:gd name="connsiteY87" fmla="*/ 998071 h 2623671"/>
              <a:gd name="connsiteX88" fmla="*/ 4691529 w 7357035"/>
              <a:gd name="connsiteY88" fmla="*/ 998071 h 2623671"/>
              <a:gd name="connsiteX89" fmla="*/ 4691529 w 7357035"/>
              <a:gd name="connsiteY89" fmla="*/ 1039906 h 2623671"/>
              <a:gd name="connsiteX90" fmla="*/ 4589929 w 7357035"/>
              <a:gd name="connsiteY90" fmla="*/ 1039906 h 2623671"/>
              <a:gd name="connsiteX91" fmla="*/ 4583953 w 7357035"/>
              <a:gd name="connsiteY91" fmla="*/ 1039906 h 2623671"/>
              <a:gd name="connsiteX92" fmla="*/ 4506259 w 7357035"/>
              <a:gd name="connsiteY92" fmla="*/ 1039906 h 2623671"/>
              <a:gd name="connsiteX93" fmla="*/ 4506259 w 7357035"/>
              <a:gd name="connsiteY93" fmla="*/ 1063812 h 2623671"/>
              <a:gd name="connsiteX94" fmla="*/ 4458447 w 7357035"/>
              <a:gd name="connsiteY94" fmla="*/ 1063812 h 2623671"/>
              <a:gd name="connsiteX95" fmla="*/ 4458447 w 7357035"/>
              <a:gd name="connsiteY95" fmla="*/ 1069788 h 2623671"/>
              <a:gd name="connsiteX96" fmla="*/ 4410635 w 7357035"/>
              <a:gd name="connsiteY96" fmla="*/ 1069788 h 2623671"/>
              <a:gd name="connsiteX97" fmla="*/ 4410635 w 7357035"/>
              <a:gd name="connsiteY97" fmla="*/ 1087718 h 2623671"/>
              <a:gd name="connsiteX98" fmla="*/ 4362823 w 7357035"/>
              <a:gd name="connsiteY98" fmla="*/ 1087718 h 2623671"/>
              <a:gd name="connsiteX99" fmla="*/ 4362823 w 7357035"/>
              <a:gd name="connsiteY99" fmla="*/ 1099671 h 2623671"/>
              <a:gd name="connsiteX100" fmla="*/ 4309035 w 7357035"/>
              <a:gd name="connsiteY100" fmla="*/ 1099671 h 2623671"/>
              <a:gd name="connsiteX101" fmla="*/ 4309035 w 7357035"/>
              <a:gd name="connsiteY101" fmla="*/ 1111624 h 2623671"/>
              <a:gd name="connsiteX102" fmla="*/ 4219388 w 7357035"/>
              <a:gd name="connsiteY102" fmla="*/ 1111624 h 2623671"/>
              <a:gd name="connsiteX103" fmla="*/ 4219388 w 7357035"/>
              <a:gd name="connsiteY103" fmla="*/ 1135529 h 2623671"/>
              <a:gd name="connsiteX104" fmla="*/ 4165600 w 7357035"/>
              <a:gd name="connsiteY104" fmla="*/ 1135529 h 2623671"/>
              <a:gd name="connsiteX105" fmla="*/ 4165600 w 7357035"/>
              <a:gd name="connsiteY105" fmla="*/ 1141506 h 2623671"/>
              <a:gd name="connsiteX106" fmla="*/ 4081929 w 7357035"/>
              <a:gd name="connsiteY106" fmla="*/ 1141506 h 2623671"/>
              <a:gd name="connsiteX107" fmla="*/ 4081929 w 7357035"/>
              <a:gd name="connsiteY107" fmla="*/ 1177365 h 2623671"/>
              <a:gd name="connsiteX108" fmla="*/ 4010212 w 7357035"/>
              <a:gd name="connsiteY108" fmla="*/ 1177365 h 2623671"/>
              <a:gd name="connsiteX109" fmla="*/ 4010212 w 7357035"/>
              <a:gd name="connsiteY109" fmla="*/ 1213224 h 2623671"/>
              <a:gd name="connsiteX110" fmla="*/ 4004235 w 7357035"/>
              <a:gd name="connsiteY110" fmla="*/ 1213224 h 2623671"/>
              <a:gd name="connsiteX111" fmla="*/ 4004235 w 7357035"/>
              <a:gd name="connsiteY111" fmla="*/ 1243106 h 2623671"/>
              <a:gd name="connsiteX112" fmla="*/ 3920564 w 7357035"/>
              <a:gd name="connsiteY112" fmla="*/ 1243106 h 2623671"/>
              <a:gd name="connsiteX113" fmla="*/ 3920564 w 7357035"/>
              <a:gd name="connsiteY113" fmla="*/ 1261035 h 2623671"/>
              <a:gd name="connsiteX114" fmla="*/ 3848847 w 7357035"/>
              <a:gd name="connsiteY114" fmla="*/ 1261035 h 2623671"/>
              <a:gd name="connsiteX115" fmla="*/ 3842870 w 7357035"/>
              <a:gd name="connsiteY115" fmla="*/ 1267012 h 2623671"/>
              <a:gd name="connsiteX116" fmla="*/ 3818964 w 7357035"/>
              <a:gd name="connsiteY116" fmla="*/ 1267012 h 2623671"/>
              <a:gd name="connsiteX117" fmla="*/ 3818964 w 7357035"/>
              <a:gd name="connsiteY117" fmla="*/ 1290918 h 2623671"/>
              <a:gd name="connsiteX118" fmla="*/ 3693459 w 7357035"/>
              <a:gd name="connsiteY118" fmla="*/ 1290918 h 2623671"/>
              <a:gd name="connsiteX119" fmla="*/ 3693459 w 7357035"/>
              <a:gd name="connsiteY119" fmla="*/ 1308847 h 2623671"/>
              <a:gd name="connsiteX120" fmla="*/ 3621741 w 7357035"/>
              <a:gd name="connsiteY120" fmla="*/ 1308847 h 2623671"/>
              <a:gd name="connsiteX121" fmla="*/ 3621741 w 7357035"/>
              <a:gd name="connsiteY121" fmla="*/ 1320800 h 2623671"/>
              <a:gd name="connsiteX122" fmla="*/ 3550023 w 7357035"/>
              <a:gd name="connsiteY122" fmla="*/ 1320800 h 2623671"/>
              <a:gd name="connsiteX123" fmla="*/ 3550023 w 7357035"/>
              <a:gd name="connsiteY123" fmla="*/ 1338729 h 2623671"/>
              <a:gd name="connsiteX124" fmla="*/ 3532094 w 7357035"/>
              <a:gd name="connsiteY124" fmla="*/ 1338729 h 2623671"/>
              <a:gd name="connsiteX125" fmla="*/ 3520141 w 7357035"/>
              <a:gd name="connsiteY125" fmla="*/ 1350682 h 2623671"/>
              <a:gd name="connsiteX126" fmla="*/ 3484282 w 7357035"/>
              <a:gd name="connsiteY126" fmla="*/ 1350682 h 2623671"/>
              <a:gd name="connsiteX127" fmla="*/ 3484282 w 7357035"/>
              <a:gd name="connsiteY127" fmla="*/ 1362635 h 2623671"/>
              <a:gd name="connsiteX128" fmla="*/ 3472329 w 7357035"/>
              <a:gd name="connsiteY128" fmla="*/ 1362635 h 2623671"/>
              <a:gd name="connsiteX129" fmla="*/ 3472329 w 7357035"/>
              <a:gd name="connsiteY129" fmla="*/ 1374588 h 2623671"/>
              <a:gd name="connsiteX130" fmla="*/ 3448423 w 7357035"/>
              <a:gd name="connsiteY130" fmla="*/ 1374588 h 2623671"/>
              <a:gd name="connsiteX131" fmla="*/ 3448423 w 7357035"/>
              <a:gd name="connsiteY131" fmla="*/ 1392518 h 2623671"/>
              <a:gd name="connsiteX132" fmla="*/ 3400612 w 7357035"/>
              <a:gd name="connsiteY132" fmla="*/ 1392518 h 2623671"/>
              <a:gd name="connsiteX133" fmla="*/ 3400612 w 7357035"/>
              <a:gd name="connsiteY133" fmla="*/ 1410447 h 2623671"/>
              <a:gd name="connsiteX134" fmla="*/ 3358776 w 7357035"/>
              <a:gd name="connsiteY134" fmla="*/ 1410447 h 2623671"/>
              <a:gd name="connsiteX135" fmla="*/ 3358776 w 7357035"/>
              <a:gd name="connsiteY135" fmla="*/ 1422400 h 2623671"/>
              <a:gd name="connsiteX136" fmla="*/ 3316941 w 7357035"/>
              <a:gd name="connsiteY136" fmla="*/ 1422400 h 2623671"/>
              <a:gd name="connsiteX137" fmla="*/ 3316941 w 7357035"/>
              <a:gd name="connsiteY137" fmla="*/ 1428376 h 2623671"/>
              <a:gd name="connsiteX138" fmla="*/ 3299012 w 7357035"/>
              <a:gd name="connsiteY138" fmla="*/ 1428376 h 2623671"/>
              <a:gd name="connsiteX139" fmla="*/ 3299012 w 7357035"/>
              <a:gd name="connsiteY139" fmla="*/ 1446306 h 2623671"/>
              <a:gd name="connsiteX140" fmla="*/ 3269129 w 7357035"/>
              <a:gd name="connsiteY140" fmla="*/ 1446306 h 2623671"/>
              <a:gd name="connsiteX141" fmla="*/ 3269129 w 7357035"/>
              <a:gd name="connsiteY141" fmla="*/ 1452282 h 2623671"/>
              <a:gd name="connsiteX142" fmla="*/ 3239247 w 7357035"/>
              <a:gd name="connsiteY142" fmla="*/ 1452282 h 2623671"/>
              <a:gd name="connsiteX143" fmla="*/ 3239247 w 7357035"/>
              <a:gd name="connsiteY143" fmla="*/ 1470212 h 2623671"/>
              <a:gd name="connsiteX144" fmla="*/ 3173506 w 7357035"/>
              <a:gd name="connsiteY144" fmla="*/ 1470212 h 2623671"/>
              <a:gd name="connsiteX145" fmla="*/ 3185459 w 7357035"/>
              <a:gd name="connsiteY145" fmla="*/ 1482165 h 2623671"/>
              <a:gd name="connsiteX146" fmla="*/ 3155576 w 7357035"/>
              <a:gd name="connsiteY146" fmla="*/ 1482165 h 2623671"/>
              <a:gd name="connsiteX147" fmla="*/ 3155576 w 7357035"/>
              <a:gd name="connsiteY147" fmla="*/ 1488141 h 2623671"/>
              <a:gd name="connsiteX148" fmla="*/ 3131670 w 7357035"/>
              <a:gd name="connsiteY148" fmla="*/ 1488141 h 2623671"/>
              <a:gd name="connsiteX149" fmla="*/ 3125694 w 7357035"/>
              <a:gd name="connsiteY149" fmla="*/ 1494117 h 2623671"/>
              <a:gd name="connsiteX150" fmla="*/ 2958353 w 7357035"/>
              <a:gd name="connsiteY150" fmla="*/ 1494117 h 2623671"/>
              <a:gd name="connsiteX151" fmla="*/ 2958353 w 7357035"/>
              <a:gd name="connsiteY151" fmla="*/ 1506071 h 2623671"/>
              <a:gd name="connsiteX152" fmla="*/ 2886635 w 7357035"/>
              <a:gd name="connsiteY152" fmla="*/ 1506071 h 2623671"/>
              <a:gd name="connsiteX153" fmla="*/ 2826870 w 7357035"/>
              <a:gd name="connsiteY153" fmla="*/ 1506071 h 2623671"/>
              <a:gd name="connsiteX154" fmla="*/ 2826870 w 7357035"/>
              <a:gd name="connsiteY154" fmla="*/ 1535953 h 2623671"/>
              <a:gd name="connsiteX155" fmla="*/ 2802964 w 7357035"/>
              <a:gd name="connsiteY155" fmla="*/ 1535953 h 2623671"/>
              <a:gd name="connsiteX156" fmla="*/ 2785035 w 7357035"/>
              <a:gd name="connsiteY156" fmla="*/ 1553882 h 2623671"/>
              <a:gd name="connsiteX157" fmla="*/ 2713317 w 7357035"/>
              <a:gd name="connsiteY157" fmla="*/ 1553882 h 2623671"/>
              <a:gd name="connsiteX158" fmla="*/ 2713317 w 7357035"/>
              <a:gd name="connsiteY158" fmla="*/ 1601694 h 2623671"/>
              <a:gd name="connsiteX159" fmla="*/ 2611717 w 7357035"/>
              <a:gd name="connsiteY159" fmla="*/ 1601694 h 2623671"/>
              <a:gd name="connsiteX160" fmla="*/ 2599764 w 7357035"/>
              <a:gd name="connsiteY160" fmla="*/ 1613647 h 2623671"/>
              <a:gd name="connsiteX161" fmla="*/ 2534023 w 7357035"/>
              <a:gd name="connsiteY161" fmla="*/ 1613647 h 2623671"/>
              <a:gd name="connsiteX162" fmla="*/ 2534023 w 7357035"/>
              <a:gd name="connsiteY162" fmla="*/ 1613647 h 2623671"/>
              <a:gd name="connsiteX163" fmla="*/ 2498164 w 7357035"/>
              <a:gd name="connsiteY163" fmla="*/ 1649506 h 2623671"/>
              <a:gd name="connsiteX164" fmla="*/ 2498164 w 7357035"/>
              <a:gd name="connsiteY164" fmla="*/ 1673412 h 2623671"/>
              <a:gd name="connsiteX165" fmla="*/ 2486212 w 7357035"/>
              <a:gd name="connsiteY165" fmla="*/ 1673412 h 2623671"/>
              <a:gd name="connsiteX166" fmla="*/ 2480235 w 7357035"/>
              <a:gd name="connsiteY166" fmla="*/ 1679389 h 2623671"/>
              <a:gd name="connsiteX167" fmla="*/ 2468283 w 7357035"/>
              <a:gd name="connsiteY167" fmla="*/ 1691341 h 2623671"/>
              <a:gd name="connsiteX168" fmla="*/ 2462306 w 7357035"/>
              <a:gd name="connsiteY168" fmla="*/ 1697318 h 2623671"/>
              <a:gd name="connsiteX169" fmla="*/ 2384612 w 7357035"/>
              <a:gd name="connsiteY169" fmla="*/ 1697318 h 2623671"/>
              <a:gd name="connsiteX170" fmla="*/ 2384612 w 7357035"/>
              <a:gd name="connsiteY170" fmla="*/ 1715247 h 2623671"/>
              <a:gd name="connsiteX171" fmla="*/ 2360706 w 7357035"/>
              <a:gd name="connsiteY171" fmla="*/ 1715247 h 2623671"/>
              <a:gd name="connsiteX172" fmla="*/ 2360706 w 7357035"/>
              <a:gd name="connsiteY172" fmla="*/ 1745129 h 2623671"/>
              <a:gd name="connsiteX173" fmla="*/ 2312894 w 7357035"/>
              <a:gd name="connsiteY173" fmla="*/ 1745129 h 2623671"/>
              <a:gd name="connsiteX174" fmla="*/ 2312894 w 7357035"/>
              <a:gd name="connsiteY174" fmla="*/ 1769035 h 2623671"/>
              <a:gd name="connsiteX175" fmla="*/ 2283012 w 7357035"/>
              <a:gd name="connsiteY175" fmla="*/ 1769035 h 2623671"/>
              <a:gd name="connsiteX176" fmla="*/ 2283012 w 7357035"/>
              <a:gd name="connsiteY176" fmla="*/ 1792941 h 2623671"/>
              <a:gd name="connsiteX177" fmla="*/ 2265082 w 7357035"/>
              <a:gd name="connsiteY177" fmla="*/ 1792941 h 2623671"/>
              <a:gd name="connsiteX178" fmla="*/ 2265082 w 7357035"/>
              <a:gd name="connsiteY178" fmla="*/ 1810871 h 2623671"/>
              <a:gd name="connsiteX179" fmla="*/ 2193364 w 7357035"/>
              <a:gd name="connsiteY179" fmla="*/ 1810871 h 2623671"/>
              <a:gd name="connsiteX180" fmla="*/ 2193364 w 7357035"/>
              <a:gd name="connsiteY180" fmla="*/ 1828800 h 2623671"/>
              <a:gd name="connsiteX181" fmla="*/ 2169459 w 7357035"/>
              <a:gd name="connsiteY181" fmla="*/ 1828800 h 2623671"/>
              <a:gd name="connsiteX182" fmla="*/ 2163482 w 7357035"/>
              <a:gd name="connsiteY182" fmla="*/ 1834777 h 2623671"/>
              <a:gd name="connsiteX183" fmla="*/ 2133600 w 7357035"/>
              <a:gd name="connsiteY183" fmla="*/ 1834777 h 2623671"/>
              <a:gd name="connsiteX184" fmla="*/ 2133600 w 7357035"/>
              <a:gd name="connsiteY184" fmla="*/ 1852706 h 2623671"/>
              <a:gd name="connsiteX185" fmla="*/ 2103717 w 7357035"/>
              <a:gd name="connsiteY185" fmla="*/ 1852706 h 2623671"/>
              <a:gd name="connsiteX186" fmla="*/ 2103717 w 7357035"/>
              <a:gd name="connsiteY186" fmla="*/ 1864659 h 2623671"/>
              <a:gd name="connsiteX187" fmla="*/ 2073835 w 7357035"/>
              <a:gd name="connsiteY187" fmla="*/ 1864659 h 2623671"/>
              <a:gd name="connsiteX188" fmla="*/ 2079812 w 7357035"/>
              <a:gd name="connsiteY188" fmla="*/ 1870636 h 2623671"/>
              <a:gd name="connsiteX189" fmla="*/ 2055906 w 7357035"/>
              <a:gd name="connsiteY189" fmla="*/ 1870636 h 2623671"/>
              <a:gd name="connsiteX190" fmla="*/ 2055906 w 7357035"/>
              <a:gd name="connsiteY190" fmla="*/ 1894541 h 2623671"/>
              <a:gd name="connsiteX191" fmla="*/ 2026023 w 7357035"/>
              <a:gd name="connsiteY191" fmla="*/ 1894541 h 2623671"/>
              <a:gd name="connsiteX192" fmla="*/ 2026023 w 7357035"/>
              <a:gd name="connsiteY192" fmla="*/ 1906494 h 2623671"/>
              <a:gd name="connsiteX193" fmla="*/ 1936376 w 7357035"/>
              <a:gd name="connsiteY193" fmla="*/ 1906494 h 2623671"/>
              <a:gd name="connsiteX194" fmla="*/ 1936376 w 7357035"/>
              <a:gd name="connsiteY194" fmla="*/ 1930400 h 2623671"/>
              <a:gd name="connsiteX195" fmla="*/ 1918447 w 7357035"/>
              <a:gd name="connsiteY195" fmla="*/ 1930400 h 2623671"/>
              <a:gd name="connsiteX196" fmla="*/ 1918447 w 7357035"/>
              <a:gd name="connsiteY196" fmla="*/ 1942353 h 2623671"/>
              <a:gd name="connsiteX197" fmla="*/ 1888564 w 7357035"/>
              <a:gd name="connsiteY197" fmla="*/ 1942353 h 2623671"/>
              <a:gd name="connsiteX198" fmla="*/ 1888564 w 7357035"/>
              <a:gd name="connsiteY198" fmla="*/ 1966259 h 2623671"/>
              <a:gd name="connsiteX199" fmla="*/ 1870635 w 7357035"/>
              <a:gd name="connsiteY199" fmla="*/ 1966259 h 2623671"/>
              <a:gd name="connsiteX200" fmla="*/ 1870635 w 7357035"/>
              <a:gd name="connsiteY200" fmla="*/ 1984188 h 2623671"/>
              <a:gd name="connsiteX201" fmla="*/ 1822823 w 7357035"/>
              <a:gd name="connsiteY201" fmla="*/ 1984188 h 2623671"/>
              <a:gd name="connsiteX202" fmla="*/ 1822823 w 7357035"/>
              <a:gd name="connsiteY202" fmla="*/ 2002118 h 2623671"/>
              <a:gd name="connsiteX203" fmla="*/ 1780988 w 7357035"/>
              <a:gd name="connsiteY203" fmla="*/ 2002118 h 2623671"/>
              <a:gd name="connsiteX204" fmla="*/ 1780988 w 7357035"/>
              <a:gd name="connsiteY204" fmla="*/ 2014071 h 2623671"/>
              <a:gd name="connsiteX205" fmla="*/ 1751106 w 7357035"/>
              <a:gd name="connsiteY205" fmla="*/ 2014071 h 2623671"/>
              <a:gd name="connsiteX206" fmla="*/ 1751106 w 7357035"/>
              <a:gd name="connsiteY206" fmla="*/ 2026024 h 2623671"/>
              <a:gd name="connsiteX207" fmla="*/ 1751106 w 7357035"/>
              <a:gd name="connsiteY207" fmla="*/ 2026024 h 2623671"/>
              <a:gd name="connsiteX208" fmla="*/ 1727201 w 7357035"/>
              <a:gd name="connsiteY208" fmla="*/ 2049929 h 2623671"/>
              <a:gd name="connsiteX209" fmla="*/ 1643529 w 7357035"/>
              <a:gd name="connsiteY209" fmla="*/ 2049929 h 2623671"/>
              <a:gd name="connsiteX210" fmla="*/ 1649506 w 7357035"/>
              <a:gd name="connsiteY210" fmla="*/ 2055906 h 2623671"/>
              <a:gd name="connsiteX211" fmla="*/ 1613647 w 7357035"/>
              <a:gd name="connsiteY211" fmla="*/ 2055906 h 2623671"/>
              <a:gd name="connsiteX212" fmla="*/ 1613647 w 7357035"/>
              <a:gd name="connsiteY212" fmla="*/ 2055906 h 2623671"/>
              <a:gd name="connsiteX213" fmla="*/ 1589741 w 7357035"/>
              <a:gd name="connsiteY213" fmla="*/ 2079812 h 2623671"/>
              <a:gd name="connsiteX214" fmla="*/ 1571812 w 7357035"/>
              <a:gd name="connsiteY214" fmla="*/ 2097741 h 2623671"/>
              <a:gd name="connsiteX215" fmla="*/ 1541929 w 7357035"/>
              <a:gd name="connsiteY215" fmla="*/ 2097741 h 2623671"/>
              <a:gd name="connsiteX216" fmla="*/ 1541929 w 7357035"/>
              <a:gd name="connsiteY216" fmla="*/ 2115671 h 2623671"/>
              <a:gd name="connsiteX217" fmla="*/ 1506070 w 7357035"/>
              <a:gd name="connsiteY217" fmla="*/ 2115671 h 2623671"/>
              <a:gd name="connsiteX218" fmla="*/ 1506070 w 7357035"/>
              <a:gd name="connsiteY218" fmla="*/ 2127624 h 2623671"/>
              <a:gd name="connsiteX219" fmla="*/ 1446306 w 7357035"/>
              <a:gd name="connsiteY219" fmla="*/ 2127624 h 2623671"/>
              <a:gd name="connsiteX220" fmla="*/ 1446306 w 7357035"/>
              <a:gd name="connsiteY220" fmla="*/ 2139576 h 2623671"/>
              <a:gd name="connsiteX221" fmla="*/ 1398494 w 7357035"/>
              <a:gd name="connsiteY221" fmla="*/ 2139576 h 2623671"/>
              <a:gd name="connsiteX222" fmla="*/ 1398494 w 7357035"/>
              <a:gd name="connsiteY222" fmla="*/ 2151529 h 2623671"/>
              <a:gd name="connsiteX223" fmla="*/ 1344706 w 7357035"/>
              <a:gd name="connsiteY223" fmla="*/ 2151529 h 2623671"/>
              <a:gd name="connsiteX224" fmla="*/ 1344706 w 7357035"/>
              <a:gd name="connsiteY224" fmla="*/ 2169459 h 2623671"/>
              <a:gd name="connsiteX225" fmla="*/ 1296894 w 7357035"/>
              <a:gd name="connsiteY225" fmla="*/ 2169459 h 2623671"/>
              <a:gd name="connsiteX226" fmla="*/ 1296894 w 7357035"/>
              <a:gd name="connsiteY226" fmla="*/ 2175435 h 2623671"/>
              <a:gd name="connsiteX227" fmla="*/ 1261035 w 7357035"/>
              <a:gd name="connsiteY227" fmla="*/ 2175435 h 2623671"/>
              <a:gd name="connsiteX228" fmla="*/ 1261035 w 7357035"/>
              <a:gd name="connsiteY228" fmla="*/ 2181412 h 2623671"/>
              <a:gd name="connsiteX229" fmla="*/ 1213223 w 7357035"/>
              <a:gd name="connsiteY229" fmla="*/ 2181412 h 2623671"/>
              <a:gd name="connsiteX230" fmla="*/ 1213223 w 7357035"/>
              <a:gd name="connsiteY230" fmla="*/ 2193365 h 2623671"/>
              <a:gd name="connsiteX231" fmla="*/ 1123576 w 7357035"/>
              <a:gd name="connsiteY231" fmla="*/ 2193365 h 2623671"/>
              <a:gd name="connsiteX232" fmla="*/ 1123576 w 7357035"/>
              <a:gd name="connsiteY232" fmla="*/ 2217271 h 2623671"/>
              <a:gd name="connsiteX233" fmla="*/ 1057835 w 7357035"/>
              <a:gd name="connsiteY233" fmla="*/ 2217271 h 2623671"/>
              <a:gd name="connsiteX234" fmla="*/ 1051859 w 7357035"/>
              <a:gd name="connsiteY234" fmla="*/ 2223247 h 2623671"/>
              <a:gd name="connsiteX235" fmla="*/ 1004047 w 7357035"/>
              <a:gd name="connsiteY235" fmla="*/ 2223247 h 2623671"/>
              <a:gd name="connsiteX236" fmla="*/ 1004047 w 7357035"/>
              <a:gd name="connsiteY236" fmla="*/ 2253129 h 2623671"/>
              <a:gd name="connsiteX237" fmla="*/ 968188 w 7357035"/>
              <a:gd name="connsiteY237" fmla="*/ 2253129 h 2623671"/>
              <a:gd name="connsiteX238" fmla="*/ 968188 w 7357035"/>
              <a:gd name="connsiteY238" fmla="*/ 2277035 h 2623671"/>
              <a:gd name="connsiteX239" fmla="*/ 884517 w 7357035"/>
              <a:gd name="connsiteY239" fmla="*/ 2277035 h 2623671"/>
              <a:gd name="connsiteX240" fmla="*/ 884517 w 7357035"/>
              <a:gd name="connsiteY240" fmla="*/ 2300941 h 2623671"/>
              <a:gd name="connsiteX241" fmla="*/ 818776 w 7357035"/>
              <a:gd name="connsiteY241" fmla="*/ 2300941 h 2623671"/>
              <a:gd name="connsiteX242" fmla="*/ 818776 w 7357035"/>
              <a:gd name="connsiteY242" fmla="*/ 2300941 h 2623671"/>
              <a:gd name="connsiteX243" fmla="*/ 788893 w 7357035"/>
              <a:gd name="connsiteY243" fmla="*/ 2330824 h 2623671"/>
              <a:gd name="connsiteX244" fmla="*/ 764988 w 7357035"/>
              <a:gd name="connsiteY244" fmla="*/ 2354729 h 2623671"/>
              <a:gd name="connsiteX245" fmla="*/ 693270 w 7357035"/>
              <a:gd name="connsiteY245" fmla="*/ 2354729 h 2623671"/>
              <a:gd name="connsiteX246" fmla="*/ 693270 w 7357035"/>
              <a:gd name="connsiteY246" fmla="*/ 2372659 h 2623671"/>
              <a:gd name="connsiteX247" fmla="*/ 627529 w 7357035"/>
              <a:gd name="connsiteY247" fmla="*/ 2372659 h 2623671"/>
              <a:gd name="connsiteX248" fmla="*/ 627529 w 7357035"/>
              <a:gd name="connsiteY248" fmla="*/ 2390588 h 2623671"/>
              <a:gd name="connsiteX249" fmla="*/ 591670 w 7357035"/>
              <a:gd name="connsiteY249" fmla="*/ 2390588 h 2623671"/>
              <a:gd name="connsiteX250" fmla="*/ 591670 w 7357035"/>
              <a:gd name="connsiteY250" fmla="*/ 2432424 h 2623671"/>
              <a:gd name="connsiteX251" fmla="*/ 555812 w 7357035"/>
              <a:gd name="connsiteY251" fmla="*/ 2432424 h 2623671"/>
              <a:gd name="connsiteX252" fmla="*/ 555812 w 7357035"/>
              <a:gd name="connsiteY252" fmla="*/ 2450353 h 2623671"/>
              <a:gd name="connsiteX253" fmla="*/ 513976 w 7357035"/>
              <a:gd name="connsiteY253" fmla="*/ 2450353 h 2623671"/>
              <a:gd name="connsiteX254" fmla="*/ 513976 w 7357035"/>
              <a:gd name="connsiteY254" fmla="*/ 2498165 h 2623671"/>
              <a:gd name="connsiteX255" fmla="*/ 448235 w 7357035"/>
              <a:gd name="connsiteY255" fmla="*/ 2498165 h 2623671"/>
              <a:gd name="connsiteX256" fmla="*/ 448235 w 7357035"/>
              <a:gd name="connsiteY256" fmla="*/ 2545976 h 2623671"/>
              <a:gd name="connsiteX257" fmla="*/ 400423 w 7357035"/>
              <a:gd name="connsiteY257" fmla="*/ 2545976 h 2623671"/>
              <a:gd name="connsiteX258" fmla="*/ 346635 w 7357035"/>
              <a:gd name="connsiteY258" fmla="*/ 2545976 h 2623671"/>
              <a:gd name="connsiteX259" fmla="*/ 346635 w 7357035"/>
              <a:gd name="connsiteY259" fmla="*/ 2569882 h 2623671"/>
              <a:gd name="connsiteX260" fmla="*/ 298823 w 7357035"/>
              <a:gd name="connsiteY260" fmla="*/ 2569882 h 2623671"/>
              <a:gd name="connsiteX261" fmla="*/ 298823 w 7357035"/>
              <a:gd name="connsiteY261" fmla="*/ 2593788 h 2623671"/>
              <a:gd name="connsiteX262" fmla="*/ 245035 w 7357035"/>
              <a:gd name="connsiteY262" fmla="*/ 2593788 h 2623671"/>
              <a:gd name="connsiteX263" fmla="*/ 245035 w 7357035"/>
              <a:gd name="connsiteY263" fmla="*/ 2623671 h 2623671"/>
              <a:gd name="connsiteX264" fmla="*/ 71717 w 7357035"/>
              <a:gd name="connsiteY264" fmla="*/ 2623671 h 2623671"/>
              <a:gd name="connsiteX265" fmla="*/ 0 w 7357035"/>
              <a:gd name="connsiteY265" fmla="*/ 2623671 h 262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7357035" h="2623671">
                <a:moveTo>
                  <a:pt x="7357035" y="0"/>
                </a:moveTo>
                <a:lnTo>
                  <a:pt x="7261412" y="0"/>
                </a:lnTo>
                <a:lnTo>
                  <a:pt x="7261412" y="89647"/>
                </a:lnTo>
                <a:lnTo>
                  <a:pt x="7171764" y="89647"/>
                </a:lnTo>
                <a:lnTo>
                  <a:pt x="7159812" y="101599"/>
                </a:lnTo>
                <a:lnTo>
                  <a:pt x="7159812" y="161365"/>
                </a:lnTo>
                <a:lnTo>
                  <a:pt x="7123953" y="161365"/>
                </a:lnTo>
                <a:lnTo>
                  <a:pt x="7123953" y="215153"/>
                </a:lnTo>
                <a:lnTo>
                  <a:pt x="6968564" y="215153"/>
                </a:lnTo>
                <a:lnTo>
                  <a:pt x="6968564" y="251012"/>
                </a:lnTo>
                <a:lnTo>
                  <a:pt x="6920753" y="251012"/>
                </a:lnTo>
                <a:lnTo>
                  <a:pt x="6920753" y="268941"/>
                </a:lnTo>
                <a:lnTo>
                  <a:pt x="6872941" y="268941"/>
                </a:lnTo>
                <a:lnTo>
                  <a:pt x="6872941" y="316753"/>
                </a:lnTo>
                <a:lnTo>
                  <a:pt x="6771341" y="316753"/>
                </a:lnTo>
                <a:lnTo>
                  <a:pt x="6771341" y="334682"/>
                </a:lnTo>
                <a:lnTo>
                  <a:pt x="6681694" y="334682"/>
                </a:lnTo>
                <a:lnTo>
                  <a:pt x="6681694" y="358588"/>
                </a:lnTo>
                <a:lnTo>
                  <a:pt x="6627906" y="358588"/>
                </a:lnTo>
                <a:lnTo>
                  <a:pt x="6627906" y="382494"/>
                </a:lnTo>
                <a:lnTo>
                  <a:pt x="6490447" y="382494"/>
                </a:lnTo>
                <a:lnTo>
                  <a:pt x="6490447" y="412376"/>
                </a:lnTo>
                <a:lnTo>
                  <a:pt x="6370917" y="412376"/>
                </a:lnTo>
                <a:lnTo>
                  <a:pt x="6370917" y="436282"/>
                </a:lnTo>
                <a:lnTo>
                  <a:pt x="6329082" y="436282"/>
                </a:lnTo>
                <a:lnTo>
                  <a:pt x="6341035" y="448235"/>
                </a:lnTo>
                <a:lnTo>
                  <a:pt x="6305176" y="448235"/>
                </a:lnTo>
                <a:lnTo>
                  <a:pt x="6305176" y="472141"/>
                </a:lnTo>
                <a:lnTo>
                  <a:pt x="6263341" y="472141"/>
                </a:lnTo>
                <a:lnTo>
                  <a:pt x="6257364" y="478118"/>
                </a:lnTo>
                <a:lnTo>
                  <a:pt x="6209553" y="478118"/>
                </a:lnTo>
                <a:lnTo>
                  <a:pt x="6209553" y="508000"/>
                </a:lnTo>
                <a:lnTo>
                  <a:pt x="6179670" y="508000"/>
                </a:lnTo>
                <a:lnTo>
                  <a:pt x="6191623" y="519953"/>
                </a:lnTo>
                <a:lnTo>
                  <a:pt x="6155764" y="519953"/>
                </a:lnTo>
                <a:lnTo>
                  <a:pt x="6155764" y="549835"/>
                </a:lnTo>
                <a:lnTo>
                  <a:pt x="6119906" y="549835"/>
                </a:lnTo>
                <a:lnTo>
                  <a:pt x="6119906" y="579718"/>
                </a:lnTo>
                <a:lnTo>
                  <a:pt x="6101977" y="597647"/>
                </a:lnTo>
                <a:lnTo>
                  <a:pt x="6078070" y="597647"/>
                </a:lnTo>
                <a:lnTo>
                  <a:pt x="6078070" y="615576"/>
                </a:lnTo>
                <a:lnTo>
                  <a:pt x="6024282" y="615576"/>
                </a:lnTo>
                <a:lnTo>
                  <a:pt x="6030259" y="621553"/>
                </a:lnTo>
                <a:lnTo>
                  <a:pt x="5940612" y="621553"/>
                </a:lnTo>
                <a:lnTo>
                  <a:pt x="5940612" y="645459"/>
                </a:lnTo>
                <a:lnTo>
                  <a:pt x="5934635" y="639482"/>
                </a:lnTo>
                <a:lnTo>
                  <a:pt x="5934635" y="657412"/>
                </a:lnTo>
                <a:lnTo>
                  <a:pt x="5898776" y="657412"/>
                </a:lnTo>
                <a:lnTo>
                  <a:pt x="5898776" y="675341"/>
                </a:lnTo>
                <a:lnTo>
                  <a:pt x="5868894" y="675341"/>
                </a:lnTo>
                <a:lnTo>
                  <a:pt x="5868894" y="687294"/>
                </a:lnTo>
                <a:lnTo>
                  <a:pt x="5850964" y="705224"/>
                </a:lnTo>
                <a:lnTo>
                  <a:pt x="5803153" y="705224"/>
                </a:lnTo>
                <a:lnTo>
                  <a:pt x="5803153" y="741082"/>
                </a:lnTo>
                <a:lnTo>
                  <a:pt x="5677647" y="741082"/>
                </a:lnTo>
                <a:lnTo>
                  <a:pt x="5677647" y="747059"/>
                </a:lnTo>
                <a:lnTo>
                  <a:pt x="5641788" y="747059"/>
                </a:lnTo>
                <a:lnTo>
                  <a:pt x="5641788" y="770965"/>
                </a:lnTo>
                <a:lnTo>
                  <a:pt x="5593976" y="770965"/>
                </a:lnTo>
                <a:lnTo>
                  <a:pt x="5593976" y="794871"/>
                </a:lnTo>
                <a:lnTo>
                  <a:pt x="5492376" y="794871"/>
                </a:lnTo>
                <a:lnTo>
                  <a:pt x="5492376" y="812800"/>
                </a:lnTo>
                <a:lnTo>
                  <a:pt x="5450541" y="812800"/>
                </a:lnTo>
                <a:lnTo>
                  <a:pt x="5450541" y="824753"/>
                </a:lnTo>
                <a:lnTo>
                  <a:pt x="5408706" y="824753"/>
                </a:lnTo>
                <a:lnTo>
                  <a:pt x="5408706" y="842682"/>
                </a:lnTo>
                <a:lnTo>
                  <a:pt x="5331012" y="842682"/>
                </a:lnTo>
                <a:lnTo>
                  <a:pt x="5325035" y="848659"/>
                </a:lnTo>
                <a:lnTo>
                  <a:pt x="5205506" y="848659"/>
                </a:lnTo>
                <a:lnTo>
                  <a:pt x="5205506" y="866588"/>
                </a:lnTo>
                <a:lnTo>
                  <a:pt x="5157694" y="866588"/>
                </a:lnTo>
                <a:lnTo>
                  <a:pt x="5157694" y="884518"/>
                </a:lnTo>
                <a:lnTo>
                  <a:pt x="5127812" y="884518"/>
                </a:lnTo>
                <a:lnTo>
                  <a:pt x="5127812" y="902447"/>
                </a:lnTo>
                <a:lnTo>
                  <a:pt x="5109882" y="902447"/>
                </a:lnTo>
                <a:lnTo>
                  <a:pt x="5109882" y="914400"/>
                </a:lnTo>
                <a:lnTo>
                  <a:pt x="5062070" y="914400"/>
                </a:lnTo>
                <a:lnTo>
                  <a:pt x="5062070" y="926353"/>
                </a:lnTo>
                <a:lnTo>
                  <a:pt x="5020235" y="926353"/>
                </a:lnTo>
                <a:lnTo>
                  <a:pt x="5020235" y="938306"/>
                </a:lnTo>
                <a:lnTo>
                  <a:pt x="4972423" y="938306"/>
                </a:lnTo>
                <a:lnTo>
                  <a:pt x="4972423" y="950259"/>
                </a:lnTo>
                <a:lnTo>
                  <a:pt x="4954494" y="950259"/>
                </a:lnTo>
                <a:lnTo>
                  <a:pt x="4954494" y="968188"/>
                </a:lnTo>
                <a:lnTo>
                  <a:pt x="4888753" y="968188"/>
                </a:lnTo>
                <a:lnTo>
                  <a:pt x="4888753" y="980141"/>
                </a:lnTo>
                <a:lnTo>
                  <a:pt x="4775200" y="980141"/>
                </a:lnTo>
                <a:lnTo>
                  <a:pt x="4775200" y="998071"/>
                </a:lnTo>
                <a:lnTo>
                  <a:pt x="4691529" y="998071"/>
                </a:lnTo>
                <a:lnTo>
                  <a:pt x="4691529" y="1039906"/>
                </a:lnTo>
                <a:lnTo>
                  <a:pt x="4589929" y="1039906"/>
                </a:lnTo>
                <a:lnTo>
                  <a:pt x="4583953" y="1039906"/>
                </a:lnTo>
                <a:lnTo>
                  <a:pt x="4506259" y="1039906"/>
                </a:lnTo>
                <a:lnTo>
                  <a:pt x="4506259" y="1063812"/>
                </a:lnTo>
                <a:lnTo>
                  <a:pt x="4458447" y="1063812"/>
                </a:lnTo>
                <a:lnTo>
                  <a:pt x="4458447" y="1069788"/>
                </a:lnTo>
                <a:lnTo>
                  <a:pt x="4410635" y="1069788"/>
                </a:lnTo>
                <a:lnTo>
                  <a:pt x="4410635" y="1087718"/>
                </a:lnTo>
                <a:lnTo>
                  <a:pt x="4362823" y="1087718"/>
                </a:lnTo>
                <a:lnTo>
                  <a:pt x="4362823" y="1099671"/>
                </a:lnTo>
                <a:lnTo>
                  <a:pt x="4309035" y="1099671"/>
                </a:lnTo>
                <a:lnTo>
                  <a:pt x="4309035" y="1111624"/>
                </a:lnTo>
                <a:lnTo>
                  <a:pt x="4219388" y="1111624"/>
                </a:lnTo>
                <a:lnTo>
                  <a:pt x="4219388" y="1135529"/>
                </a:lnTo>
                <a:lnTo>
                  <a:pt x="4165600" y="1135529"/>
                </a:lnTo>
                <a:lnTo>
                  <a:pt x="4165600" y="1141506"/>
                </a:lnTo>
                <a:lnTo>
                  <a:pt x="4081929" y="1141506"/>
                </a:lnTo>
                <a:lnTo>
                  <a:pt x="4081929" y="1177365"/>
                </a:lnTo>
                <a:lnTo>
                  <a:pt x="4010212" y="1177365"/>
                </a:lnTo>
                <a:lnTo>
                  <a:pt x="4010212" y="1213224"/>
                </a:lnTo>
                <a:lnTo>
                  <a:pt x="4004235" y="1213224"/>
                </a:lnTo>
                <a:lnTo>
                  <a:pt x="4004235" y="1243106"/>
                </a:lnTo>
                <a:lnTo>
                  <a:pt x="3920564" y="1243106"/>
                </a:lnTo>
                <a:lnTo>
                  <a:pt x="3920564" y="1261035"/>
                </a:lnTo>
                <a:lnTo>
                  <a:pt x="3848847" y="1261035"/>
                </a:lnTo>
                <a:lnTo>
                  <a:pt x="3842870" y="1267012"/>
                </a:lnTo>
                <a:lnTo>
                  <a:pt x="3818964" y="1267012"/>
                </a:lnTo>
                <a:lnTo>
                  <a:pt x="3818964" y="1290918"/>
                </a:lnTo>
                <a:lnTo>
                  <a:pt x="3693459" y="1290918"/>
                </a:lnTo>
                <a:lnTo>
                  <a:pt x="3693459" y="1308847"/>
                </a:lnTo>
                <a:lnTo>
                  <a:pt x="3621741" y="1308847"/>
                </a:lnTo>
                <a:lnTo>
                  <a:pt x="3621741" y="1320800"/>
                </a:lnTo>
                <a:lnTo>
                  <a:pt x="3550023" y="1320800"/>
                </a:lnTo>
                <a:lnTo>
                  <a:pt x="3550023" y="1338729"/>
                </a:lnTo>
                <a:lnTo>
                  <a:pt x="3532094" y="1338729"/>
                </a:lnTo>
                <a:lnTo>
                  <a:pt x="3520141" y="1350682"/>
                </a:lnTo>
                <a:lnTo>
                  <a:pt x="3484282" y="1350682"/>
                </a:lnTo>
                <a:lnTo>
                  <a:pt x="3484282" y="1362635"/>
                </a:lnTo>
                <a:lnTo>
                  <a:pt x="3472329" y="1362635"/>
                </a:lnTo>
                <a:lnTo>
                  <a:pt x="3472329" y="1374588"/>
                </a:lnTo>
                <a:lnTo>
                  <a:pt x="3448423" y="1374588"/>
                </a:lnTo>
                <a:lnTo>
                  <a:pt x="3448423" y="1392518"/>
                </a:lnTo>
                <a:lnTo>
                  <a:pt x="3400612" y="1392518"/>
                </a:lnTo>
                <a:lnTo>
                  <a:pt x="3400612" y="1410447"/>
                </a:lnTo>
                <a:lnTo>
                  <a:pt x="3358776" y="1410447"/>
                </a:lnTo>
                <a:lnTo>
                  <a:pt x="3358776" y="1422400"/>
                </a:lnTo>
                <a:lnTo>
                  <a:pt x="3316941" y="1422400"/>
                </a:lnTo>
                <a:lnTo>
                  <a:pt x="3316941" y="1428376"/>
                </a:lnTo>
                <a:lnTo>
                  <a:pt x="3299012" y="1428376"/>
                </a:lnTo>
                <a:lnTo>
                  <a:pt x="3299012" y="1446306"/>
                </a:lnTo>
                <a:lnTo>
                  <a:pt x="3269129" y="1446306"/>
                </a:lnTo>
                <a:lnTo>
                  <a:pt x="3269129" y="1452282"/>
                </a:lnTo>
                <a:lnTo>
                  <a:pt x="3239247" y="1452282"/>
                </a:lnTo>
                <a:lnTo>
                  <a:pt x="3239247" y="1470212"/>
                </a:lnTo>
                <a:lnTo>
                  <a:pt x="3173506" y="1470212"/>
                </a:lnTo>
                <a:lnTo>
                  <a:pt x="3185459" y="1482165"/>
                </a:lnTo>
                <a:lnTo>
                  <a:pt x="3155576" y="1482165"/>
                </a:lnTo>
                <a:lnTo>
                  <a:pt x="3155576" y="1488141"/>
                </a:lnTo>
                <a:lnTo>
                  <a:pt x="3131670" y="1488141"/>
                </a:lnTo>
                <a:lnTo>
                  <a:pt x="3125694" y="1494117"/>
                </a:lnTo>
                <a:lnTo>
                  <a:pt x="2958353" y="1494117"/>
                </a:lnTo>
                <a:lnTo>
                  <a:pt x="2958353" y="1506071"/>
                </a:lnTo>
                <a:lnTo>
                  <a:pt x="2886635" y="1506071"/>
                </a:lnTo>
                <a:lnTo>
                  <a:pt x="2826870" y="1506071"/>
                </a:lnTo>
                <a:lnTo>
                  <a:pt x="2826870" y="1535953"/>
                </a:lnTo>
                <a:lnTo>
                  <a:pt x="2802964" y="1535953"/>
                </a:lnTo>
                <a:lnTo>
                  <a:pt x="2785035" y="1553882"/>
                </a:lnTo>
                <a:lnTo>
                  <a:pt x="2713317" y="1553882"/>
                </a:lnTo>
                <a:lnTo>
                  <a:pt x="2713317" y="1601694"/>
                </a:lnTo>
                <a:lnTo>
                  <a:pt x="2611717" y="1601694"/>
                </a:lnTo>
                <a:lnTo>
                  <a:pt x="2599764" y="1613647"/>
                </a:lnTo>
                <a:lnTo>
                  <a:pt x="2534023" y="1613647"/>
                </a:lnTo>
                <a:lnTo>
                  <a:pt x="2534023" y="1613647"/>
                </a:lnTo>
                <a:lnTo>
                  <a:pt x="2498164" y="1649506"/>
                </a:lnTo>
                <a:lnTo>
                  <a:pt x="2498164" y="1673412"/>
                </a:lnTo>
                <a:lnTo>
                  <a:pt x="2486212" y="1673412"/>
                </a:lnTo>
                <a:lnTo>
                  <a:pt x="2480235" y="1679389"/>
                </a:lnTo>
                <a:lnTo>
                  <a:pt x="2468283" y="1691341"/>
                </a:lnTo>
                <a:lnTo>
                  <a:pt x="2462306" y="1697318"/>
                </a:lnTo>
                <a:lnTo>
                  <a:pt x="2384612" y="1697318"/>
                </a:lnTo>
                <a:lnTo>
                  <a:pt x="2384612" y="1715247"/>
                </a:lnTo>
                <a:lnTo>
                  <a:pt x="2360706" y="1715247"/>
                </a:lnTo>
                <a:lnTo>
                  <a:pt x="2360706" y="1745129"/>
                </a:lnTo>
                <a:lnTo>
                  <a:pt x="2312894" y="1745129"/>
                </a:lnTo>
                <a:lnTo>
                  <a:pt x="2312894" y="1769035"/>
                </a:lnTo>
                <a:lnTo>
                  <a:pt x="2283012" y="1769035"/>
                </a:lnTo>
                <a:lnTo>
                  <a:pt x="2283012" y="1792941"/>
                </a:lnTo>
                <a:lnTo>
                  <a:pt x="2265082" y="1792941"/>
                </a:lnTo>
                <a:lnTo>
                  <a:pt x="2265082" y="1810871"/>
                </a:lnTo>
                <a:lnTo>
                  <a:pt x="2193364" y="1810871"/>
                </a:lnTo>
                <a:lnTo>
                  <a:pt x="2193364" y="1828800"/>
                </a:lnTo>
                <a:lnTo>
                  <a:pt x="2169459" y="1828800"/>
                </a:lnTo>
                <a:lnTo>
                  <a:pt x="2163482" y="1834777"/>
                </a:lnTo>
                <a:lnTo>
                  <a:pt x="2133600" y="1834777"/>
                </a:lnTo>
                <a:lnTo>
                  <a:pt x="2133600" y="1852706"/>
                </a:lnTo>
                <a:lnTo>
                  <a:pt x="2103717" y="1852706"/>
                </a:lnTo>
                <a:lnTo>
                  <a:pt x="2103717" y="1864659"/>
                </a:lnTo>
                <a:lnTo>
                  <a:pt x="2073835" y="1864659"/>
                </a:lnTo>
                <a:lnTo>
                  <a:pt x="2079812" y="1870636"/>
                </a:lnTo>
                <a:lnTo>
                  <a:pt x="2055906" y="1870636"/>
                </a:lnTo>
                <a:lnTo>
                  <a:pt x="2055906" y="1894541"/>
                </a:lnTo>
                <a:lnTo>
                  <a:pt x="2026023" y="1894541"/>
                </a:lnTo>
                <a:lnTo>
                  <a:pt x="2026023" y="1906494"/>
                </a:lnTo>
                <a:lnTo>
                  <a:pt x="1936376" y="1906494"/>
                </a:lnTo>
                <a:lnTo>
                  <a:pt x="1936376" y="1930400"/>
                </a:lnTo>
                <a:lnTo>
                  <a:pt x="1918447" y="1930400"/>
                </a:lnTo>
                <a:lnTo>
                  <a:pt x="1918447" y="1942353"/>
                </a:lnTo>
                <a:lnTo>
                  <a:pt x="1888564" y="1942353"/>
                </a:lnTo>
                <a:lnTo>
                  <a:pt x="1888564" y="1966259"/>
                </a:lnTo>
                <a:lnTo>
                  <a:pt x="1870635" y="1966259"/>
                </a:lnTo>
                <a:lnTo>
                  <a:pt x="1870635" y="1984188"/>
                </a:lnTo>
                <a:lnTo>
                  <a:pt x="1822823" y="1984188"/>
                </a:lnTo>
                <a:lnTo>
                  <a:pt x="1822823" y="2002118"/>
                </a:lnTo>
                <a:lnTo>
                  <a:pt x="1780988" y="2002118"/>
                </a:lnTo>
                <a:lnTo>
                  <a:pt x="1780988" y="2014071"/>
                </a:lnTo>
                <a:lnTo>
                  <a:pt x="1751106" y="2014071"/>
                </a:lnTo>
                <a:lnTo>
                  <a:pt x="1751106" y="2026024"/>
                </a:lnTo>
                <a:lnTo>
                  <a:pt x="1751106" y="2026024"/>
                </a:lnTo>
                <a:lnTo>
                  <a:pt x="1727201" y="2049929"/>
                </a:lnTo>
                <a:lnTo>
                  <a:pt x="1643529" y="2049929"/>
                </a:lnTo>
                <a:lnTo>
                  <a:pt x="1649506" y="2055906"/>
                </a:lnTo>
                <a:lnTo>
                  <a:pt x="1613647" y="2055906"/>
                </a:lnTo>
                <a:lnTo>
                  <a:pt x="1613647" y="2055906"/>
                </a:lnTo>
                <a:lnTo>
                  <a:pt x="1589741" y="2079812"/>
                </a:lnTo>
                <a:lnTo>
                  <a:pt x="1571812" y="2097741"/>
                </a:lnTo>
                <a:lnTo>
                  <a:pt x="1541929" y="2097741"/>
                </a:lnTo>
                <a:lnTo>
                  <a:pt x="1541929" y="2115671"/>
                </a:lnTo>
                <a:lnTo>
                  <a:pt x="1506070" y="2115671"/>
                </a:lnTo>
                <a:lnTo>
                  <a:pt x="1506070" y="2127624"/>
                </a:lnTo>
                <a:lnTo>
                  <a:pt x="1446306" y="2127624"/>
                </a:lnTo>
                <a:lnTo>
                  <a:pt x="1446306" y="2139576"/>
                </a:lnTo>
                <a:lnTo>
                  <a:pt x="1398494" y="2139576"/>
                </a:lnTo>
                <a:lnTo>
                  <a:pt x="1398494" y="2151529"/>
                </a:lnTo>
                <a:lnTo>
                  <a:pt x="1344706" y="2151529"/>
                </a:lnTo>
                <a:lnTo>
                  <a:pt x="1344706" y="2169459"/>
                </a:lnTo>
                <a:lnTo>
                  <a:pt x="1296894" y="2169459"/>
                </a:lnTo>
                <a:lnTo>
                  <a:pt x="1296894" y="2175435"/>
                </a:lnTo>
                <a:lnTo>
                  <a:pt x="1261035" y="2175435"/>
                </a:lnTo>
                <a:lnTo>
                  <a:pt x="1261035" y="2181412"/>
                </a:lnTo>
                <a:lnTo>
                  <a:pt x="1213223" y="2181412"/>
                </a:lnTo>
                <a:lnTo>
                  <a:pt x="1213223" y="2193365"/>
                </a:lnTo>
                <a:lnTo>
                  <a:pt x="1123576" y="2193365"/>
                </a:lnTo>
                <a:lnTo>
                  <a:pt x="1123576" y="2217271"/>
                </a:lnTo>
                <a:lnTo>
                  <a:pt x="1057835" y="2217271"/>
                </a:lnTo>
                <a:lnTo>
                  <a:pt x="1051859" y="2223247"/>
                </a:lnTo>
                <a:lnTo>
                  <a:pt x="1004047" y="2223247"/>
                </a:lnTo>
                <a:lnTo>
                  <a:pt x="1004047" y="2253129"/>
                </a:lnTo>
                <a:lnTo>
                  <a:pt x="968188" y="2253129"/>
                </a:lnTo>
                <a:lnTo>
                  <a:pt x="968188" y="2277035"/>
                </a:lnTo>
                <a:lnTo>
                  <a:pt x="884517" y="2277035"/>
                </a:lnTo>
                <a:lnTo>
                  <a:pt x="884517" y="2300941"/>
                </a:lnTo>
                <a:lnTo>
                  <a:pt x="818776" y="2300941"/>
                </a:lnTo>
                <a:lnTo>
                  <a:pt x="818776" y="2300941"/>
                </a:lnTo>
                <a:lnTo>
                  <a:pt x="788893" y="2330824"/>
                </a:lnTo>
                <a:lnTo>
                  <a:pt x="764988" y="2354729"/>
                </a:lnTo>
                <a:lnTo>
                  <a:pt x="693270" y="2354729"/>
                </a:lnTo>
                <a:lnTo>
                  <a:pt x="693270" y="2372659"/>
                </a:lnTo>
                <a:lnTo>
                  <a:pt x="627529" y="2372659"/>
                </a:lnTo>
                <a:lnTo>
                  <a:pt x="627529" y="2390588"/>
                </a:lnTo>
                <a:lnTo>
                  <a:pt x="591670" y="2390588"/>
                </a:lnTo>
                <a:lnTo>
                  <a:pt x="591670" y="2432424"/>
                </a:lnTo>
                <a:lnTo>
                  <a:pt x="555812" y="2432424"/>
                </a:lnTo>
                <a:lnTo>
                  <a:pt x="555812" y="2450353"/>
                </a:lnTo>
                <a:lnTo>
                  <a:pt x="513976" y="2450353"/>
                </a:lnTo>
                <a:lnTo>
                  <a:pt x="513976" y="2498165"/>
                </a:lnTo>
                <a:lnTo>
                  <a:pt x="448235" y="2498165"/>
                </a:lnTo>
                <a:lnTo>
                  <a:pt x="448235" y="2545976"/>
                </a:lnTo>
                <a:lnTo>
                  <a:pt x="400423" y="2545976"/>
                </a:lnTo>
                <a:lnTo>
                  <a:pt x="346635" y="2545976"/>
                </a:lnTo>
                <a:lnTo>
                  <a:pt x="346635" y="2569882"/>
                </a:lnTo>
                <a:lnTo>
                  <a:pt x="298823" y="2569882"/>
                </a:lnTo>
                <a:lnTo>
                  <a:pt x="298823" y="2593788"/>
                </a:lnTo>
                <a:lnTo>
                  <a:pt x="245035" y="2593788"/>
                </a:lnTo>
                <a:lnTo>
                  <a:pt x="245035" y="2623671"/>
                </a:lnTo>
                <a:lnTo>
                  <a:pt x="71717" y="2623671"/>
                </a:lnTo>
                <a:lnTo>
                  <a:pt x="0" y="2623671"/>
                </a:lnTo>
              </a:path>
            </a:pathLst>
          </a:custGeom>
          <a:noFill/>
          <a:ln w="12700">
            <a:solidFill>
              <a:srgbClr val="82786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 baseline="0" dirty="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68" name="Freeform 67"/>
          <p:cNvSpPr/>
          <p:nvPr/>
        </p:nvSpPr>
        <p:spPr>
          <a:xfrm>
            <a:off x="921193" y="2527509"/>
            <a:ext cx="3377000" cy="1012943"/>
          </a:xfrm>
          <a:custGeom>
            <a:avLst/>
            <a:gdLst>
              <a:gd name="connsiteX0" fmla="*/ 7357035 w 7357035"/>
              <a:gd name="connsiteY0" fmla="*/ 0 h 2085789"/>
              <a:gd name="connsiteX1" fmla="*/ 6980517 w 7357035"/>
              <a:gd name="connsiteY1" fmla="*/ 0 h 2085789"/>
              <a:gd name="connsiteX2" fmla="*/ 6980517 w 7357035"/>
              <a:gd name="connsiteY2" fmla="*/ 23906 h 2085789"/>
              <a:gd name="connsiteX3" fmla="*/ 6920753 w 7357035"/>
              <a:gd name="connsiteY3" fmla="*/ 23906 h 2085789"/>
              <a:gd name="connsiteX4" fmla="*/ 6932706 w 7357035"/>
              <a:gd name="connsiteY4" fmla="*/ 35859 h 2085789"/>
              <a:gd name="connsiteX5" fmla="*/ 6789270 w 7357035"/>
              <a:gd name="connsiteY5" fmla="*/ 35859 h 2085789"/>
              <a:gd name="connsiteX6" fmla="*/ 6789270 w 7357035"/>
              <a:gd name="connsiteY6" fmla="*/ 47812 h 2085789"/>
              <a:gd name="connsiteX7" fmla="*/ 6717553 w 7357035"/>
              <a:gd name="connsiteY7" fmla="*/ 47812 h 2085789"/>
              <a:gd name="connsiteX8" fmla="*/ 6717553 w 7357035"/>
              <a:gd name="connsiteY8" fmla="*/ 59765 h 2085789"/>
              <a:gd name="connsiteX9" fmla="*/ 6663764 w 7357035"/>
              <a:gd name="connsiteY9" fmla="*/ 59765 h 2085789"/>
              <a:gd name="connsiteX10" fmla="*/ 6663764 w 7357035"/>
              <a:gd name="connsiteY10" fmla="*/ 83671 h 2085789"/>
              <a:gd name="connsiteX11" fmla="*/ 6639859 w 7357035"/>
              <a:gd name="connsiteY11" fmla="*/ 83671 h 2085789"/>
              <a:gd name="connsiteX12" fmla="*/ 6639859 w 7357035"/>
              <a:gd name="connsiteY12" fmla="*/ 95624 h 2085789"/>
              <a:gd name="connsiteX13" fmla="*/ 6412753 w 7357035"/>
              <a:gd name="connsiteY13" fmla="*/ 95624 h 2085789"/>
              <a:gd name="connsiteX14" fmla="*/ 6406776 w 7357035"/>
              <a:gd name="connsiteY14" fmla="*/ 101601 h 2085789"/>
              <a:gd name="connsiteX15" fmla="*/ 6335059 w 7357035"/>
              <a:gd name="connsiteY15" fmla="*/ 101601 h 2085789"/>
              <a:gd name="connsiteX16" fmla="*/ 6335059 w 7357035"/>
              <a:gd name="connsiteY16" fmla="*/ 125506 h 2085789"/>
              <a:gd name="connsiteX17" fmla="*/ 6257364 w 7357035"/>
              <a:gd name="connsiteY17" fmla="*/ 125506 h 2085789"/>
              <a:gd name="connsiteX18" fmla="*/ 6257364 w 7357035"/>
              <a:gd name="connsiteY18" fmla="*/ 161365 h 2085789"/>
              <a:gd name="connsiteX19" fmla="*/ 6215529 w 7357035"/>
              <a:gd name="connsiteY19" fmla="*/ 161365 h 2085789"/>
              <a:gd name="connsiteX20" fmla="*/ 6215529 w 7357035"/>
              <a:gd name="connsiteY20" fmla="*/ 185271 h 2085789"/>
              <a:gd name="connsiteX21" fmla="*/ 6197600 w 7357035"/>
              <a:gd name="connsiteY21" fmla="*/ 185271 h 2085789"/>
              <a:gd name="connsiteX22" fmla="*/ 6209553 w 7357035"/>
              <a:gd name="connsiteY22" fmla="*/ 197224 h 2085789"/>
              <a:gd name="connsiteX23" fmla="*/ 6173694 w 7357035"/>
              <a:gd name="connsiteY23" fmla="*/ 197224 h 2085789"/>
              <a:gd name="connsiteX24" fmla="*/ 6173694 w 7357035"/>
              <a:gd name="connsiteY24" fmla="*/ 221130 h 2085789"/>
              <a:gd name="connsiteX25" fmla="*/ 5994400 w 7357035"/>
              <a:gd name="connsiteY25" fmla="*/ 221130 h 2085789"/>
              <a:gd name="connsiteX26" fmla="*/ 5994400 w 7357035"/>
              <a:gd name="connsiteY26" fmla="*/ 239059 h 2085789"/>
              <a:gd name="connsiteX27" fmla="*/ 5964517 w 7357035"/>
              <a:gd name="connsiteY27" fmla="*/ 239059 h 2085789"/>
              <a:gd name="connsiteX28" fmla="*/ 5964517 w 7357035"/>
              <a:gd name="connsiteY28" fmla="*/ 256989 h 2085789"/>
              <a:gd name="connsiteX29" fmla="*/ 5868894 w 7357035"/>
              <a:gd name="connsiteY29" fmla="*/ 256989 h 2085789"/>
              <a:gd name="connsiteX30" fmla="*/ 5868894 w 7357035"/>
              <a:gd name="connsiteY30" fmla="*/ 274918 h 2085789"/>
              <a:gd name="connsiteX31" fmla="*/ 5850964 w 7357035"/>
              <a:gd name="connsiteY31" fmla="*/ 274918 h 2085789"/>
              <a:gd name="connsiteX32" fmla="*/ 5850964 w 7357035"/>
              <a:gd name="connsiteY32" fmla="*/ 292847 h 2085789"/>
              <a:gd name="connsiteX33" fmla="*/ 5809129 w 7357035"/>
              <a:gd name="connsiteY33" fmla="*/ 292847 h 2085789"/>
              <a:gd name="connsiteX34" fmla="*/ 5809129 w 7357035"/>
              <a:gd name="connsiteY34" fmla="*/ 316753 h 2085789"/>
              <a:gd name="connsiteX35" fmla="*/ 5761317 w 7357035"/>
              <a:gd name="connsiteY35" fmla="*/ 316753 h 2085789"/>
              <a:gd name="connsiteX36" fmla="*/ 5761317 w 7357035"/>
              <a:gd name="connsiteY36" fmla="*/ 340659 h 2085789"/>
              <a:gd name="connsiteX37" fmla="*/ 5749364 w 7357035"/>
              <a:gd name="connsiteY37" fmla="*/ 340659 h 2085789"/>
              <a:gd name="connsiteX38" fmla="*/ 5749364 w 7357035"/>
              <a:gd name="connsiteY38" fmla="*/ 358589 h 2085789"/>
              <a:gd name="connsiteX39" fmla="*/ 5707529 w 7357035"/>
              <a:gd name="connsiteY39" fmla="*/ 358589 h 2085789"/>
              <a:gd name="connsiteX40" fmla="*/ 5707529 w 7357035"/>
              <a:gd name="connsiteY40" fmla="*/ 376518 h 2085789"/>
              <a:gd name="connsiteX41" fmla="*/ 5576047 w 7357035"/>
              <a:gd name="connsiteY41" fmla="*/ 376518 h 2085789"/>
              <a:gd name="connsiteX42" fmla="*/ 5576047 w 7357035"/>
              <a:gd name="connsiteY42" fmla="*/ 394447 h 2085789"/>
              <a:gd name="connsiteX43" fmla="*/ 5522259 w 7357035"/>
              <a:gd name="connsiteY43" fmla="*/ 394447 h 2085789"/>
              <a:gd name="connsiteX44" fmla="*/ 5522259 w 7357035"/>
              <a:gd name="connsiteY44" fmla="*/ 424330 h 2085789"/>
              <a:gd name="connsiteX45" fmla="*/ 5444564 w 7357035"/>
              <a:gd name="connsiteY45" fmla="*/ 424330 h 2085789"/>
              <a:gd name="connsiteX46" fmla="*/ 5444564 w 7357035"/>
              <a:gd name="connsiteY46" fmla="*/ 454212 h 2085789"/>
              <a:gd name="connsiteX47" fmla="*/ 5444564 w 7357035"/>
              <a:gd name="connsiteY47" fmla="*/ 454212 h 2085789"/>
              <a:gd name="connsiteX48" fmla="*/ 5402729 w 7357035"/>
              <a:gd name="connsiteY48" fmla="*/ 454212 h 2085789"/>
              <a:gd name="connsiteX49" fmla="*/ 5331012 w 7357035"/>
              <a:gd name="connsiteY49" fmla="*/ 454212 h 2085789"/>
              <a:gd name="connsiteX50" fmla="*/ 5331012 w 7357035"/>
              <a:gd name="connsiteY50" fmla="*/ 484094 h 2085789"/>
              <a:gd name="connsiteX51" fmla="*/ 5307106 w 7357035"/>
              <a:gd name="connsiteY51" fmla="*/ 484094 h 2085789"/>
              <a:gd name="connsiteX52" fmla="*/ 5307106 w 7357035"/>
              <a:gd name="connsiteY52" fmla="*/ 508000 h 2085789"/>
              <a:gd name="connsiteX53" fmla="*/ 5259294 w 7357035"/>
              <a:gd name="connsiteY53" fmla="*/ 508000 h 2085789"/>
              <a:gd name="connsiteX54" fmla="*/ 5259294 w 7357035"/>
              <a:gd name="connsiteY54" fmla="*/ 537883 h 2085789"/>
              <a:gd name="connsiteX55" fmla="*/ 5193553 w 7357035"/>
              <a:gd name="connsiteY55" fmla="*/ 537883 h 2085789"/>
              <a:gd name="connsiteX56" fmla="*/ 5187576 w 7357035"/>
              <a:gd name="connsiteY56" fmla="*/ 543860 h 2085789"/>
              <a:gd name="connsiteX57" fmla="*/ 5115859 w 7357035"/>
              <a:gd name="connsiteY57" fmla="*/ 543860 h 2085789"/>
              <a:gd name="connsiteX58" fmla="*/ 5127812 w 7357035"/>
              <a:gd name="connsiteY58" fmla="*/ 555813 h 2085789"/>
              <a:gd name="connsiteX59" fmla="*/ 5062070 w 7357035"/>
              <a:gd name="connsiteY59" fmla="*/ 555813 h 2085789"/>
              <a:gd name="connsiteX60" fmla="*/ 5062070 w 7357035"/>
              <a:gd name="connsiteY60" fmla="*/ 579718 h 2085789"/>
              <a:gd name="connsiteX61" fmla="*/ 4996329 w 7357035"/>
              <a:gd name="connsiteY61" fmla="*/ 579718 h 2085789"/>
              <a:gd name="connsiteX62" fmla="*/ 5014258 w 7357035"/>
              <a:gd name="connsiteY62" fmla="*/ 597647 h 2085789"/>
              <a:gd name="connsiteX63" fmla="*/ 4948517 w 7357035"/>
              <a:gd name="connsiteY63" fmla="*/ 597647 h 2085789"/>
              <a:gd name="connsiteX64" fmla="*/ 4948517 w 7357035"/>
              <a:gd name="connsiteY64" fmla="*/ 609600 h 2085789"/>
              <a:gd name="connsiteX65" fmla="*/ 4858870 w 7357035"/>
              <a:gd name="connsiteY65" fmla="*/ 609600 h 2085789"/>
              <a:gd name="connsiteX66" fmla="*/ 4840940 w 7357035"/>
              <a:gd name="connsiteY66" fmla="*/ 627530 h 2085789"/>
              <a:gd name="connsiteX67" fmla="*/ 4769223 w 7357035"/>
              <a:gd name="connsiteY67" fmla="*/ 627530 h 2085789"/>
              <a:gd name="connsiteX68" fmla="*/ 4781176 w 7357035"/>
              <a:gd name="connsiteY68" fmla="*/ 639483 h 2085789"/>
              <a:gd name="connsiteX69" fmla="*/ 4757270 w 7357035"/>
              <a:gd name="connsiteY69" fmla="*/ 639483 h 2085789"/>
              <a:gd name="connsiteX70" fmla="*/ 4757270 w 7357035"/>
              <a:gd name="connsiteY70" fmla="*/ 651436 h 2085789"/>
              <a:gd name="connsiteX71" fmla="*/ 4691529 w 7357035"/>
              <a:gd name="connsiteY71" fmla="*/ 651436 h 2085789"/>
              <a:gd name="connsiteX72" fmla="*/ 4709459 w 7357035"/>
              <a:gd name="connsiteY72" fmla="*/ 669366 h 2085789"/>
              <a:gd name="connsiteX73" fmla="*/ 4637741 w 7357035"/>
              <a:gd name="connsiteY73" fmla="*/ 669366 h 2085789"/>
              <a:gd name="connsiteX74" fmla="*/ 4637741 w 7357035"/>
              <a:gd name="connsiteY74" fmla="*/ 699247 h 2085789"/>
              <a:gd name="connsiteX75" fmla="*/ 4572000 w 7357035"/>
              <a:gd name="connsiteY75" fmla="*/ 699247 h 2085789"/>
              <a:gd name="connsiteX76" fmla="*/ 4572000 w 7357035"/>
              <a:gd name="connsiteY76" fmla="*/ 717177 h 2085789"/>
              <a:gd name="connsiteX77" fmla="*/ 4506259 w 7357035"/>
              <a:gd name="connsiteY77" fmla="*/ 717177 h 2085789"/>
              <a:gd name="connsiteX78" fmla="*/ 4506259 w 7357035"/>
              <a:gd name="connsiteY78" fmla="*/ 759012 h 2085789"/>
              <a:gd name="connsiteX79" fmla="*/ 4464423 w 7357035"/>
              <a:gd name="connsiteY79" fmla="*/ 759012 h 2085789"/>
              <a:gd name="connsiteX80" fmla="*/ 4464423 w 7357035"/>
              <a:gd name="connsiteY80" fmla="*/ 782918 h 2085789"/>
              <a:gd name="connsiteX81" fmla="*/ 4386729 w 7357035"/>
              <a:gd name="connsiteY81" fmla="*/ 782918 h 2085789"/>
              <a:gd name="connsiteX82" fmla="*/ 4386729 w 7357035"/>
              <a:gd name="connsiteY82" fmla="*/ 788894 h 2085789"/>
              <a:gd name="connsiteX83" fmla="*/ 4332941 w 7357035"/>
              <a:gd name="connsiteY83" fmla="*/ 788894 h 2085789"/>
              <a:gd name="connsiteX84" fmla="*/ 4332941 w 7357035"/>
              <a:gd name="connsiteY84" fmla="*/ 812800 h 2085789"/>
              <a:gd name="connsiteX85" fmla="*/ 4267200 w 7357035"/>
              <a:gd name="connsiteY85" fmla="*/ 812800 h 2085789"/>
              <a:gd name="connsiteX86" fmla="*/ 4267200 w 7357035"/>
              <a:gd name="connsiteY86" fmla="*/ 836706 h 2085789"/>
              <a:gd name="connsiteX87" fmla="*/ 4183529 w 7357035"/>
              <a:gd name="connsiteY87" fmla="*/ 836706 h 2085789"/>
              <a:gd name="connsiteX88" fmla="*/ 4183529 w 7357035"/>
              <a:gd name="connsiteY88" fmla="*/ 854636 h 2085789"/>
              <a:gd name="connsiteX89" fmla="*/ 4111812 w 7357035"/>
              <a:gd name="connsiteY89" fmla="*/ 854636 h 2085789"/>
              <a:gd name="connsiteX90" fmla="*/ 4111812 w 7357035"/>
              <a:gd name="connsiteY90" fmla="*/ 878541 h 2085789"/>
              <a:gd name="connsiteX91" fmla="*/ 4046070 w 7357035"/>
              <a:gd name="connsiteY91" fmla="*/ 878541 h 2085789"/>
              <a:gd name="connsiteX92" fmla="*/ 4046070 w 7357035"/>
              <a:gd name="connsiteY92" fmla="*/ 902447 h 2085789"/>
              <a:gd name="connsiteX93" fmla="*/ 3968376 w 7357035"/>
              <a:gd name="connsiteY93" fmla="*/ 902447 h 2085789"/>
              <a:gd name="connsiteX94" fmla="*/ 3968376 w 7357035"/>
              <a:gd name="connsiteY94" fmla="*/ 926353 h 2085789"/>
              <a:gd name="connsiteX95" fmla="*/ 3902635 w 7357035"/>
              <a:gd name="connsiteY95" fmla="*/ 926353 h 2085789"/>
              <a:gd name="connsiteX96" fmla="*/ 3902635 w 7357035"/>
              <a:gd name="connsiteY96" fmla="*/ 938306 h 2085789"/>
              <a:gd name="connsiteX97" fmla="*/ 3854823 w 7357035"/>
              <a:gd name="connsiteY97" fmla="*/ 938306 h 2085789"/>
              <a:gd name="connsiteX98" fmla="*/ 3854823 w 7357035"/>
              <a:gd name="connsiteY98" fmla="*/ 956236 h 2085789"/>
              <a:gd name="connsiteX99" fmla="*/ 3789082 w 7357035"/>
              <a:gd name="connsiteY99" fmla="*/ 956236 h 2085789"/>
              <a:gd name="connsiteX100" fmla="*/ 3789082 w 7357035"/>
              <a:gd name="connsiteY100" fmla="*/ 968189 h 2085789"/>
              <a:gd name="connsiteX101" fmla="*/ 3759200 w 7357035"/>
              <a:gd name="connsiteY101" fmla="*/ 968189 h 2085789"/>
              <a:gd name="connsiteX102" fmla="*/ 3759200 w 7357035"/>
              <a:gd name="connsiteY102" fmla="*/ 992094 h 2085789"/>
              <a:gd name="connsiteX103" fmla="*/ 3729317 w 7357035"/>
              <a:gd name="connsiteY103" fmla="*/ 992094 h 2085789"/>
              <a:gd name="connsiteX104" fmla="*/ 3729317 w 7357035"/>
              <a:gd name="connsiteY104" fmla="*/ 1021977 h 2085789"/>
              <a:gd name="connsiteX105" fmla="*/ 3669553 w 7357035"/>
              <a:gd name="connsiteY105" fmla="*/ 1021977 h 2085789"/>
              <a:gd name="connsiteX106" fmla="*/ 3681506 w 7357035"/>
              <a:gd name="connsiteY106" fmla="*/ 1021977 h 2085789"/>
              <a:gd name="connsiteX107" fmla="*/ 3603812 w 7357035"/>
              <a:gd name="connsiteY107" fmla="*/ 1021977 h 2085789"/>
              <a:gd name="connsiteX108" fmla="*/ 3603812 w 7357035"/>
              <a:gd name="connsiteY108" fmla="*/ 1045883 h 2085789"/>
              <a:gd name="connsiteX109" fmla="*/ 3544047 w 7357035"/>
              <a:gd name="connsiteY109" fmla="*/ 1045883 h 2085789"/>
              <a:gd name="connsiteX110" fmla="*/ 3544047 w 7357035"/>
              <a:gd name="connsiteY110" fmla="*/ 1063812 h 2085789"/>
              <a:gd name="connsiteX111" fmla="*/ 3490259 w 7357035"/>
              <a:gd name="connsiteY111" fmla="*/ 1063812 h 2085789"/>
              <a:gd name="connsiteX112" fmla="*/ 3490259 w 7357035"/>
              <a:gd name="connsiteY112" fmla="*/ 1087718 h 2085789"/>
              <a:gd name="connsiteX113" fmla="*/ 3424517 w 7357035"/>
              <a:gd name="connsiteY113" fmla="*/ 1087718 h 2085789"/>
              <a:gd name="connsiteX114" fmla="*/ 3424517 w 7357035"/>
              <a:gd name="connsiteY114" fmla="*/ 1123577 h 2085789"/>
              <a:gd name="connsiteX115" fmla="*/ 3382682 w 7357035"/>
              <a:gd name="connsiteY115" fmla="*/ 1123577 h 2085789"/>
              <a:gd name="connsiteX116" fmla="*/ 3382682 w 7357035"/>
              <a:gd name="connsiteY116" fmla="*/ 1141506 h 2085789"/>
              <a:gd name="connsiteX117" fmla="*/ 3257176 w 7357035"/>
              <a:gd name="connsiteY117" fmla="*/ 1141506 h 2085789"/>
              <a:gd name="connsiteX118" fmla="*/ 3257176 w 7357035"/>
              <a:gd name="connsiteY118" fmla="*/ 1171389 h 2085789"/>
              <a:gd name="connsiteX119" fmla="*/ 3203388 w 7357035"/>
              <a:gd name="connsiteY119" fmla="*/ 1171389 h 2085789"/>
              <a:gd name="connsiteX120" fmla="*/ 3209364 w 7357035"/>
              <a:gd name="connsiteY120" fmla="*/ 1177365 h 2085789"/>
              <a:gd name="connsiteX121" fmla="*/ 3179482 w 7357035"/>
              <a:gd name="connsiteY121" fmla="*/ 1177365 h 2085789"/>
              <a:gd name="connsiteX122" fmla="*/ 3179482 w 7357035"/>
              <a:gd name="connsiteY122" fmla="*/ 1195294 h 2085789"/>
              <a:gd name="connsiteX123" fmla="*/ 3107764 w 7357035"/>
              <a:gd name="connsiteY123" fmla="*/ 1195294 h 2085789"/>
              <a:gd name="connsiteX124" fmla="*/ 3107764 w 7357035"/>
              <a:gd name="connsiteY124" fmla="*/ 1225177 h 2085789"/>
              <a:gd name="connsiteX125" fmla="*/ 3042023 w 7357035"/>
              <a:gd name="connsiteY125" fmla="*/ 1225177 h 2085789"/>
              <a:gd name="connsiteX126" fmla="*/ 3024094 w 7357035"/>
              <a:gd name="connsiteY126" fmla="*/ 1243106 h 2085789"/>
              <a:gd name="connsiteX127" fmla="*/ 2934447 w 7357035"/>
              <a:gd name="connsiteY127" fmla="*/ 1243106 h 2085789"/>
              <a:gd name="connsiteX128" fmla="*/ 2934447 w 7357035"/>
              <a:gd name="connsiteY128" fmla="*/ 1267012 h 2085789"/>
              <a:gd name="connsiteX129" fmla="*/ 2886635 w 7357035"/>
              <a:gd name="connsiteY129" fmla="*/ 1267012 h 2085789"/>
              <a:gd name="connsiteX130" fmla="*/ 2886635 w 7357035"/>
              <a:gd name="connsiteY130" fmla="*/ 1296894 h 2085789"/>
              <a:gd name="connsiteX131" fmla="*/ 2779059 w 7357035"/>
              <a:gd name="connsiteY131" fmla="*/ 1296894 h 2085789"/>
              <a:gd name="connsiteX132" fmla="*/ 2761129 w 7357035"/>
              <a:gd name="connsiteY132" fmla="*/ 1314824 h 2085789"/>
              <a:gd name="connsiteX133" fmla="*/ 2725270 w 7357035"/>
              <a:gd name="connsiteY133" fmla="*/ 1314824 h 2085789"/>
              <a:gd name="connsiteX134" fmla="*/ 2725270 w 7357035"/>
              <a:gd name="connsiteY134" fmla="*/ 1326777 h 2085789"/>
              <a:gd name="connsiteX135" fmla="*/ 2653553 w 7357035"/>
              <a:gd name="connsiteY135" fmla="*/ 1326777 h 2085789"/>
              <a:gd name="connsiteX136" fmla="*/ 2653553 w 7357035"/>
              <a:gd name="connsiteY136" fmla="*/ 1344706 h 2085789"/>
              <a:gd name="connsiteX137" fmla="*/ 2611717 w 7357035"/>
              <a:gd name="connsiteY137" fmla="*/ 1344706 h 2085789"/>
              <a:gd name="connsiteX138" fmla="*/ 2605741 w 7357035"/>
              <a:gd name="connsiteY138" fmla="*/ 1350682 h 2085789"/>
              <a:gd name="connsiteX139" fmla="*/ 2569882 w 7357035"/>
              <a:gd name="connsiteY139" fmla="*/ 1350682 h 2085789"/>
              <a:gd name="connsiteX140" fmla="*/ 2569882 w 7357035"/>
              <a:gd name="connsiteY140" fmla="*/ 1368612 h 2085789"/>
              <a:gd name="connsiteX141" fmla="*/ 2540000 w 7357035"/>
              <a:gd name="connsiteY141" fmla="*/ 1368612 h 2085789"/>
              <a:gd name="connsiteX142" fmla="*/ 2528047 w 7357035"/>
              <a:gd name="connsiteY142" fmla="*/ 1380565 h 2085789"/>
              <a:gd name="connsiteX143" fmla="*/ 2492188 w 7357035"/>
              <a:gd name="connsiteY143" fmla="*/ 1380565 h 2085789"/>
              <a:gd name="connsiteX144" fmla="*/ 2492188 w 7357035"/>
              <a:gd name="connsiteY144" fmla="*/ 1380565 h 2085789"/>
              <a:gd name="connsiteX145" fmla="*/ 2408517 w 7357035"/>
              <a:gd name="connsiteY145" fmla="*/ 1380565 h 2085789"/>
              <a:gd name="connsiteX146" fmla="*/ 2408517 w 7357035"/>
              <a:gd name="connsiteY146" fmla="*/ 1410447 h 2085789"/>
              <a:gd name="connsiteX147" fmla="*/ 2336800 w 7357035"/>
              <a:gd name="connsiteY147" fmla="*/ 1410447 h 2085789"/>
              <a:gd name="connsiteX148" fmla="*/ 2336800 w 7357035"/>
              <a:gd name="connsiteY148" fmla="*/ 1434353 h 2085789"/>
              <a:gd name="connsiteX149" fmla="*/ 2235200 w 7357035"/>
              <a:gd name="connsiteY149" fmla="*/ 1434353 h 2085789"/>
              <a:gd name="connsiteX150" fmla="*/ 2235200 w 7357035"/>
              <a:gd name="connsiteY150" fmla="*/ 1464236 h 2085789"/>
              <a:gd name="connsiteX151" fmla="*/ 2229223 w 7357035"/>
              <a:gd name="connsiteY151" fmla="*/ 1464236 h 2085789"/>
              <a:gd name="connsiteX152" fmla="*/ 2229223 w 7357035"/>
              <a:gd name="connsiteY152" fmla="*/ 1476189 h 2085789"/>
              <a:gd name="connsiteX153" fmla="*/ 2211294 w 7357035"/>
              <a:gd name="connsiteY153" fmla="*/ 1476189 h 2085789"/>
              <a:gd name="connsiteX154" fmla="*/ 2211294 w 7357035"/>
              <a:gd name="connsiteY154" fmla="*/ 1494118 h 2085789"/>
              <a:gd name="connsiteX155" fmla="*/ 2163482 w 7357035"/>
              <a:gd name="connsiteY155" fmla="*/ 1494118 h 2085789"/>
              <a:gd name="connsiteX156" fmla="*/ 2145553 w 7357035"/>
              <a:gd name="connsiteY156" fmla="*/ 1512047 h 2085789"/>
              <a:gd name="connsiteX157" fmla="*/ 2073835 w 7357035"/>
              <a:gd name="connsiteY157" fmla="*/ 1512047 h 2085789"/>
              <a:gd name="connsiteX158" fmla="*/ 2073835 w 7357035"/>
              <a:gd name="connsiteY158" fmla="*/ 1535953 h 2085789"/>
              <a:gd name="connsiteX159" fmla="*/ 2043953 w 7357035"/>
              <a:gd name="connsiteY159" fmla="*/ 1535953 h 2085789"/>
              <a:gd name="connsiteX160" fmla="*/ 2043953 w 7357035"/>
              <a:gd name="connsiteY160" fmla="*/ 1553883 h 2085789"/>
              <a:gd name="connsiteX161" fmla="*/ 2002117 w 7357035"/>
              <a:gd name="connsiteY161" fmla="*/ 1553883 h 2085789"/>
              <a:gd name="connsiteX162" fmla="*/ 2002117 w 7357035"/>
              <a:gd name="connsiteY162" fmla="*/ 1559859 h 2085789"/>
              <a:gd name="connsiteX163" fmla="*/ 1996140 w 7357035"/>
              <a:gd name="connsiteY163" fmla="*/ 1565836 h 2085789"/>
              <a:gd name="connsiteX164" fmla="*/ 1984188 w 7357035"/>
              <a:gd name="connsiteY164" fmla="*/ 1577788 h 2085789"/>
              <a:gd name="connsiteX165" fmla="*/ 1924423 w 7357035"/>
              <a:gd name="connsiteY165" fmla="*/ 1577788 h 2085789"/>
              <a:gd name="connsiteX166" fmla="*/ 1924423 w 7357035"/>
              <a:gd name="connsiteY166" fmla="*/ 1589741 h 2085789"/>
              <a:gd name="connsiteX167" fmla="*/ 1876612 w 7357035"/>
              <a:gd name="connsiteY167" fmla="*/ 1589741 h 2085789"/>
              <a:gd name="connsiteX168" fmla="*/ 1864659 w 7357035"/>
              <a:gd name="connsiteY168" fmla="*/ 1601694 h 2085789"/>
              <a:gd name="connsiteX169" fmla="*/ 1804894 w 7357035"/>
              <a:gd name="connsiteY169" fmla="*/ 1601694 h 2085789"/>
              <a:gd name="connsiteX170" fmla="*/ 1804894 w 7357035"/>
              <a:gd name="connsiteY170" fmla="*/ 1631577 h 2085789"/>
              <a:gd name="connsiteX171" fmla="*/ 1757082 w 7357035"/>
              <a:gd name="connsiteY171" fmla="*/ 1631577 h 2085789"/>
              <a:gd name="connsiteX172" fmla="*/ 1757082 w 7357035"/>
              <a:gd name="connsiteY172" fmla="*/ 1655483 h 2085789"/>
              <a:gd name="connsiteX173" fmla="*/ 1691341 w 7357035"/>
              <a:gd name="connsiteY173" fmla="*/ 1655483 h 2085789"/>
              <a:gd name="connsiteX174" fmla="*/ 1691341 w 7357035"/>
              <a:gd name="connsiteY174" fmla="*/ 1673412 h 2085789"/>
              <a:gd name="connsiteX175" fmla="*/ 1619623 w 7357035"/>
              <a:gd name="connsiteY175" fmla="*/ 1673412 h 2085789"/>
              <a:gd name="connsiteX176" fmla="*/ 1619623 w 7357035"/>
              <a:gd name="connsiteY176" fmla="*/ 1691341 h 2085789"/>
              <a:gd name="connsiteX177" fmla="*/ 1553882 w 7357035"/>
              <a:gd name="connsiteY177" fmla="*/ 1691341 h 2085789"/>
              <a:gd name="connsiteX178" fmla="*/ 1547906 w 7357035"/>
              <a:gd name="connsiteY178" fmla="*/ 1697317 h 2085789"/>
              <a:gd name="connsiteX179" fmla="*/ 1482164 w 7357035"/>
              <a:gd name="connsiteY179" fmla="*/ 1697317 h 2085789"/>
              <a:gd name="connsiteX180" fmla="*/ 1482164 w 7357035"/>
              <a:gd name="connsiteY180" fmla="*/ 1715247 h 2085789"/>
              <a:gd name="connsiteX181" fmla="*/ 1446306 w 7357035"/>
              <a:gd name="connsiteY181" fmla="*/ 1715247 h 2085789"/>
              <a:gd name="connsiteX182" fmla="*/ 1446306 w 7357035"/>
              <a:gd name="connsiteY182" fmla="*/ 1733177 h 2085789"/>
              <a:gd name="connsiteX183" fmla="*/ 1362635 w 7357035"/>
              <a:gd name="connsiteY183" fmla="*/ 1733177 h 2085789"/>
              <a:gd name="connsiteX184" fmla="*/ 1362635 w 7357035"/>
              <a:gd name="connsiteY184" fmla="*/ 1757083 h 2085789"/>
              <a:gd name="connsiteX185" fmla="*/ 1308847 w 7357035"/>
              <a:gd name="connsiteY185" fmla="*/ 1757083 h 2085789"/>
              <a:gd name="connsiteX186" fmla="*/ 1308847 w 7357035"/>
              <a:gd name="connsiteY186" fmla="*/ 1780989 h 2085789"/>
              <a:gd name="connsiteX187" fmla="*/ 1249082 w 7357035"/>
              <a:gd name="connsiteY187" fmla="*/ 1780989 h 2085789"/>
              <a:gd name="connsiteX188" fmla="*/ 1249082 w 7357035"/>
              <a:gd name="connsiteY188" fmla="*/ 1798918 h 2085789"/>
              <a:gd name="connsiteX189" fmla="*/ 1189317 w 7357035"/>
              <a:gd name="connsiteY189" fmla="*/ 1798918 h 2085789"/>
              <a:gd name="connsiteX190" fmla="*/ 1189317 w 7357035"/>
              <a:gd name="connsiteY190" fmla="*/ 1822824 h 2085789"/>
              <a:gd name="connsiteX191" fmla="*/ 1123576 w 7357035"/>
              <a:gd name="connsiteY191" fmla="*/ 1822824 h 2085789"/>
              <a:gd name="connsiteX192" fmla="*/ 1111623 w 7357035"/>
              <a:gd name="connsiteY192" fmla="*/ 1834777 h 2085789"/>
              <a:gd name="connsiteX193" fmla="*/ 1069788 w 7357035"/>
              <a:gd name="connsiteY193" fmla="*/ 1834777 h 2085789"/>
              <a:gd name="connsiteX194" fmla="*/ 1069788 w 7357035"/>
              <a:gd name="connsiteY194" fmla="*/ 1864659 h 2085789"/>
              <a:gd name="connsiteX195" fmla="*/ 1004047 w 7357035"/>
              <a:gd name="connsiteY195" fmla="*/ 1864659 h 2085789"/>
              <a:gd name="connsiteX196" fmla="*/ 1004047 w 7357035"/>
              <a:gd name="connsiteY196" fmla="*/ 1882589 h 2085789"/>
              <a:gd name="connsiteX197" fmla="*/ 950259 w 7357035"/>
              <a:gd name="connsiteY197" fmla="*/ 1882589 h 2085789"/>
              <a:gd name="connsiteX198" fmla="*/ 950259 w 7357035"/>
              <a:gd name="connsiteY198" fmla="*/ 1882589 h 2085789"/>
              <a:gd name="connsiteX199" fmla="*/ 878541 w 7357035"/>
              <a:gd name="connsiteY199" fmla="*/ 1882589 h 2085789"/>
              <a:gd name="connsiteX200" fmla="*/ 878541 w 7357035"/>
              <a:gd name="connsiteY200" fmla="*/ 1906494 h 2085789"/>
              <a:gd name="connsiteX201" fmla="*/ 836706 w 7357035"/>
              <a:gd name="connsiteY201" fmla="*/ 1906494 h 2085789"/>
              <a:gd name="connsiteX202" fmla="*/ 836706 w 7357035"/>
              <a:gd name="connsiteY202" fmla="*/ 1936377 h 2085789"/>
              <a:gd name="connsiteX203" fmla="*/ 770964 w 7357035"/>
              <a:gd name="connsiteY203" fmla="*/ 1936377 h 2085789"/>
              <a:gd name="connsiteX204" fmla="*/ 770964 w 7357035"/>
              <a:gd name="connsiteY204" fmla="*/ 1936377 h 2085789"/>
              <a:gd name="connsiteX205" fmla="*/ 717176 w 7357035"/>
              <a:gd name="connsiteY205" fmla="*/ 1936377 h 2085789"/>
              <a:gd name="connsiteX206" fmla="*/ 717176 w 7357035"/>
              <a:gd name="connsiteY206" fmla="*/ 1954306 h 2085789"/>
              <a:gd name="connsiteX207" fmla="*/ 621553 w 7357035"/>
              <a:gd name="connsiteY207" fmla="*/ 1954306 h 2085789"/>
              <a:gd name="connsiteX208" fmla="*/ 621553 w 7357035"/>
              <a:gd name="connsiteY208" fmla="*/ 1972236 h 2085789"/>
              <a:gd name="connsiteX209" fmla="*/ 561788 w 7357035"/>
              <a:gd name="connsiteY209" fmla="*/ 1972236 h 2085789"/>
              <a:gd name="connsiteX210" fmla="*/ 573741 w 7357035"/>
              <a:gd name="connsiteY210" fmla="*/ 1984189 h 2085789"/>
              <a:gd name="connsiteX211" fmla="*/ 490070 w 7357035"/>
              <a:gd name="connsiteY211" fmla="*/ 1984189 h 2085789"/>
              <a:gd name="connsiteX212" fmla="*/ 490070 w 7357035"/>
              <a:gd name="connsiteY212" fmla="*/ 2014071 h 2085789"/>
              <a:gd name="connsiteX213" fmla="*/ 430306 w 7357035"/>
              <a:gd name="connsiteY213" fmla="*/ 2014071 h 2085789"/>
              <a:gd name="connsiteX214" fmla="*/ 430306 w 7357035"/>
              <a:gd name="connsiteY214" fmla="*/ 2037977 h 2085789"/>
              <a:gd name="connsiteX215" fmla="*/ 334682 w 7357035"/>
              <a:gd name="connsiteY215" fmla="*/ 2037977 h 2085789"/>
              <a:gd name="connsiteX216" fmla="*/ 334682 w 7357035"/>
              <a:gd name="connsiteY216" fmla="*/ 2043953 h 2085789"/>
              <a:gd name="connsiteX217" fmla="*/ 233082 w 7357035"/>
              <a:gd name="connsiteY217" fmla="*/ 2043953 h 2085789"/>
              <a:gd name="connsiteX218" fmla="*/ 233082 w 7357035"/>
              <a:gd name="connsiteY218" fmla="*/ 2085789 h 2085789"/>
              <a:gd name="connsiteX219" fmla="*/ 0 w 7357035"/>
              <a:gd name="connsiteY219" fmla="*/ 2085789 h 208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</a:cxnLst>
            <a:rect l="l" t="t" r="r" b="b"/>
            <a:pathLst>
              <a:path w="7357035" h="2085789">
                <a:moveTo>
                  <a:pt x="7357035" y="0"/>
                </a:moveTo>
                <a:lnTo>
                  <a:pt x="6980517" y="0"/>
                </a:lnTo>
                <a:lnTo>
                  <a:pt x="6980517" y="23906"/>
                </a:lnTo>
                <a:lnTo>
                  <a:pt x="6920753" y="23906"/>
                </a:lnTo>
                <a:lnTo>
                  <a:pt x="6932706" y="35859"/>
                </a:lnTo>
                <a:lnTo>
                  <a:pt x="6789270" y="35859"/>
                </a:lnTo>
                <a:lnTo>
                  <a:pt x="6789270" y="47812"/>
                </a:lnTo>
                <a:lnTo>
                  <a:pt x="6717553" y="47812"/>
                </a:lnTo>
                <a:lnTo>
                  <a:pt x="6717553" y="59765"/>
                </a:lnTo>
                <a:lnTo>
                  <a:pt x="6663764" y="59765"/>
                </a:lnTo>
                <a:lnTo>
                  <a:pt x="6663764" y="83671"/>
                </a:lnTo>
                <a:lnTo>
                  <a:pt x="6639859" y="83671"/>
                </a:lnTo>
                <a:lnTo>
                  <a:pt x="6639859" y="95624"/>
                </a:lnTo>
                <a:lnTo>
                  <a:pt x="6412753" y="95624"/>
                </a:lnTo>
                <a:lnTo>
                  <a:pt x="6406776" y="101601"/>
                </a:lnTo>
                <a:lnTo>
                  <a:pt x="6335059" y="101601"/>
                </a:lnTo>
                <a:lnTo>
                  <a:pt x="6335059" y="125506"/>
                </a:lnTo>
                <a:lnTo>
                  <a:pt x="6257364" y="125506"/>
                </a:lnTo>
                <a:lnTo>
                  <a:pt x="6257364" y="161365"/>
                </a:lnTo>
                <a:lnTo>
                  <a:pt x="6215529" y="161365"/>
                </a:lnTo>
                <a:lnTo>
                  <a:pt x="6215529" y="185271"/>
                </a:lnTo>
                <a:lnTo>
                  <a:pt x="6197600" y="185271"/>
                </a:lnTo>
                <a:lnTo>
                  <a:pt x="6209553" y="197224"/>
                </a:lnTo>
                <a:lnTo>
                  <a:pt x="6173694" y="197224"/>
                </a:lnTo>
                <a:lnTo>
                  <a:pt x="6173694" y="221130"/>
                </a:lnTo>
                <a:lnTo>
                  <a:pt x="5994400" y="221130"/>
                </a:lnTo>
                <a:lnTo>
                  <a:pt x="5994400" y="239059"/>
                </a:lnTo>
                <a:lnTo>
                  <a:pt x="5964517" y="239059"/>
                </a:lnTo>
                <a:lnTo>
                  <a:pt x="5964517" y="256989"/>
                </a:lnTo>
                <a:lnTo>
                  <a:pt x="5868894" y="256989"/>
                </a:lnTo>
                <a:lnTo>
                  <a:pt x="5868894" y="274918"/>
                </a:lnTo>
                <a:lnTo>
                  <a:pt x="5850964" y="274918"/>
                </a:lnTo>
                <a:lnTo>
                  <a:pt x="5850964" y="292847"/>
                </a:lnTo>
                <a:lnTo>
                  <a:pt x="5809129" y="292847"/>
                </a:lnTo>
                <a:lnTo>
                  <a:pt x="5809129" y="316753"/>
                </a:lnTo>
                <a:lnTo>
                  <a:pt x="5761317" y="316753"/>
                </a:lnTo>
                <a:lnTo>
                  <a:pt x="5761317" y="340659"/>
                </a:lnTo>
                <a:lnTo>
                  <a:pt x="5749364" y="340659"/>
                </a:lnTo>
                <a:lnTo>
                  <a:pt x="5749364" y="358589"/>
                </a:lnTo>
                <a:lnTo>
                  <a:pt x="5707529" y="358589"/>
                </a:lnTo>
                <a:lnTo>
                  <a:pt x="5707529" y="376518"/>
                </a:lnTo>
                <a:lnTo>
                  <a:pt x="5576047" y="376518"/>
                </a:lnTo>
                <a:lnTo>
                  <a:pt x="5576047" y="394447"/>
                </a:lnTo>
                <a:lnTo>
                  <a:pt x="5522259" y="394447"/>
                </a:lnTo>
                <a:lnTo>
                  <a:pt x="5522259" y="424330"/>
                </a:lnTo>
                <a:lnTo>
                  <a:pt x="5444564" y="424330"/>
                </a:lnTo>
                <a:lnTo>
                  <a:pt x="5444564" y="454212"/>
                </a:lnTo>
                <a:lnTo>
                  <a:pt x="5444564" y="454212"/>
                </a:lnTo>
                <a:lnTo>
                  <a:pt x="5402729" y="454212"/>
                </a:lnTo>
                <a:lnTo>
                  <a:pt x="5331012" y="454212"/>
                </a:lnTo>
                <a:lnTo>
                  <a:pt x="5331012" y="484094"/>
                </a:lnTo>
                <a:lnTo>
                  <a:pt x="5307106" y="484094"/>
                </a:lnTo>
                <a:lnTo>
                  <a:pt x="5307106" y="508000"/>
                </a:lnTo>
                <a:lnTo>
                  <a:pt x="5259294" y="508000"/>
                </a:lnTo>
                <a:lnTo>
                  <a:pt x="5259294" y="537883"/>
                </a:lnTo>
                <a:lnTo>
                  <a:pt x="5193553" y="537883"/>
                </a:lnTo>
                <a:lnTo>
                  <a:pt x="5187576" y="543860"/>
                </a:lnTo>
                <a:lnTo>
                  <a:pt x="5115859" y="543860"/>
                </a:lnTo>
                <a:lnTo>
                  <a:pt x="5127812" y="555813"/>
                </a:lnTo>
                <a:lnTo>
                  <a:pt x="5062070" y="555813"/>
                </a:lnTo>
                <a:lnTo>
                  <a:pt x="5062070" y="579718"/>
                </a:lnTo>
                <a:lnTo>
                  <a:pt x="4996329" y="579718"/>
                </a:lnTo>
                <a:lnTo>
                  <a:pt x="5014258" y="597647"/>
                </a:lnTo>
                <a:lnTo>
                  <a:pt x="4948517" y="597647"/>
                </a:lnTo>
                <a:lnTo>
                  <a:pt x="4948517" y="609600"/>
                </a:lnTo>
                <a:lnTo>
                  <a:pt x="4858870" y="609600"/>
                </a:lnTo>
                <a:lnTo>
                  <a:pt x="4840940" y="627530"/>
                </a:lnTo>
                <a:lnTo>
                  <a:pt x="4769223" y="627530"/>
                </a:lnTo>
                <a:lnTo>
                  <a:pt x="4781176" y="639483"/>
                </a:lnTo>
                <a:lnTo>
                  <a:pt x="4757270" y="639483"/>
                </a:lnTo>
                <a:lnTo>
                  <a:pt x="4757270" y="651436"/>
                </a:lnTo>
                <a:lnTo>
                  <a:pt x="4691529" y="651436"/>
                </a:lnTo>
                <a:lnTo>
                  <a:pt x="4709459" y="669366"/>
                </a:lnTo>
                <a:lnTo>
                  <a:pt x="4637741" y="669366"/>
                </a:lnTo>
                <a:lnTo>
                  <a:pt x="4637741" y="699247"/>
                </a:lnTo>
                <a:lnTo>
                  <a:pt x="4572000" y="699247"/>
                </a:lnTo>
                <a:lnTo>
                  <a:pt x="4572000" y="717177"/>
                </a:lnTo>
                <a:lnTo>
                  <a:pt x="4506259" y="717177"/>
                </a:lnTo>
                <a:lnTo>
                  <a:pt x="4506259" y="759012"/>
                </a:lnTo>
                <a:lnTo>
                  <a:pt x="4464423" y="759012"/>
                </a:lnTo>
                <a:lnTo>
                  <a:pt x="4464423" y="782918"/>
                </a:lnTo>
                <a:lnTo>
                  <a:pt x="4386729" y="782918"/>
                </a:lnTo>
                <a:lnTo>
                  <a:pt x="4386729" y="788894"/>
                </a:lnTo>
                <a:lnTo>
                  <a:pt x="4332941" y="788894"/>
                </a:lnTo>
                <a:lnTo>
                  <a:pt x="4332941" y="812800"/>
                </a:lnTo>
                <a:lnTo>
                  <a:pt x="4267200" y="812800"/>
                </a:lnTo>
                <a:lnTo>
                  <a:pt x="4267200" y="836706"/>
                </a:lnTo>
                <a:lnTo>
                  <a:pt x="4183529" y="836706"/>
                </a:lnTo>
                <a:lnTo>
                  <a:pt x="4183529" y="854636"/>
                </a:lnTo>
                <a:lnTo>
                  <a:pt x="4111812" y="854636"/>
                </a:lnTo>
                <a:lnTo>
                  <a:pt x="4111812" y="878541"/>
                </a:lnTo>
                <a:lnTo>
                  <a:pt x="4046070" y="878541"/>
                </a:lnTo>
                <a:lnTo>
                  <a:pt x="4046070" y="902447"/>
                </a:lnTo>
                <a:lnTo>
                  <a:pt x="3968376" y="902447"/>
                </a:lnTo>
                <a:lnTo>
                  <a:pt x="3968376" y="926353"/>
                </a:lnTo>
                <a:lnTo>
                  <a:pt x="3902635" y="926353"/>
                </a:lnTo>
                <a:lnTo>
                  <a:pt x="3902635" y="938306"/>
                </a:lnTo>
                <a:lnTo>
                  <a:pt x="3854823" y="938306"/>
                </a:lnTo>
                <a:lnTo>
                  <a:pt x="3854823" y="956236"/>
                </a:lnTo>
                <a:lnTo>
                  <a:pt x="3789082" y="956236"/>
                </a:lnTo>
                <a:lnTo>
                  <a:pt x="3789082" y="968189"/>
                </a:lnTo>
                <a:lnTo>
                  <a:pt x="3759200" y="968189"/>
                </a:lnTo>
                <a:lnTo>
                  <a:pt x="3759200" y="992094"/>
                </a:lnTo>
                <a:lnTo>
                  <a:pt x="3729317" y="992094"/>
                </a:lnTo>
                <a:lnTo>
                  <a:pt x="3729317" y="1021977"/>
                </a:lnTo>
                <a:lnTo>
                  <a:pt x="3669553" y="1021977"/>
                </a:lnTo>
                <a:lnTo>
                  <a:pt x="3681506" y="1021977"/>
                </a:lnTo>
                <a:lnTo>
                  <a:pt x="3603812" y="1021977"/>
                </a:lnTo>
                <a:lnTo>
                  <a:pt x="3603812" y="1045883"/>
                </a:lnTo>
                <a:lnTo>
                  <a:pt x="3544047" y="1045883"/>
                </a:lnTo>
                <a:lnTo>
                  <a:pt x="3544047" y="1063812"/>
                </a:lnTo>
                <a:lnTo>
                  <a:pt x="3490259" y="1063812"/>
                </a:lnTo>
                <a:lnTo>
                  <a:pt x="3490259" y="1087718"/>
                </a:lnTo>
                <a:lnTo>
                  <a:pt x="3424517" y="1087718"/>
                </a:lnTo>
                <a:lnTo>
                  <a:pt x="3424517" y="1123577"/>
                </a:lnTo>
                <a:lnTo>
                  <a:pt x="3382682" y="1123577"/>
                </a:lnTo>
                <a:lnTo>
                  <a:pt x="3382682" y="1141506"/>
                </a:lnTo>
                <a:lnTo>
                  <a:pt x="3257176" y="1141506"/>
                </a:lnTo>
                <a:lnTo>
                  <a:pt x="3257176" y="1171389"/>
                </a:lnTo>
                <a:lnTo>
                  <a:pt x="3203388" y="1171389"/>
                </a:lnTo>
                <a:lnTo>
                  <a:pt x="3209364" y="1177365"/>
                </a:lnTo>
                <a:lnTo>
                  <a:pt x="3179482" y="1177365"/>
                </a:lnTo>
                <a:lnTo>
                  <a:pt x="3179482" y="1195294"/>
                </a:lnTo>
                <a:lnTo>
                  <a:pt x="3107764" y="1195294"/>
                </a:lnTo>
                <a:lnTo>
                  <a:pt x="3107764" y="1225177"/>
                </a:lnTo>
                <a:lnTo>
                  <a:pt x="3042023" y="1225177"/>
                </a:lnTo>
                <a:lnTo>
                  <a:pt x="3024094" y="1243106"/>
                </a:lnTo>
                <a:lnTo>
                  <a:pt x="2934447" y="1243106"/>
                </a:lnTo>
                <a:lnTo>
                  <a:pt x="2934447" y="1267012"/>
                </a:lnTo>
                <a:lnTo>
                  <a:pt x="2886635" y="1267012"/>
                </a:lnTo>
                <a:lnTo>
                  <a:pt x="2886635" y="1296894"/>
                </a:lnTo>
                <a:lnTo>
                  <a:pt x="2779059" y="1296894"/>
                </a:lnTo>
                <a:lnTo>
                  <a:pt x="2761129" y="1314824"/>
                </a:lnTo>
                <a:lnTo>
                  <a:pt x="2725270" y="1314824"/>
                </a:lnTo>
                <a:lnTo>
                  <a:pt x="2725270" y="1326777"/>
                </a:lnTo>
                <a:lnTo>
                  <a:pt x="2653553" y="1326777"/>
                </a:lnTo>
                <a:lnTo>
                  <a:pt x="2653553" y="1344706"/>
                </a:lnTo>
                <a:lnTo>
                  <a:pt x="2611717" y="1344706"/>
                </a:lnTo>
                <a:lnTo>
                  <a:pt x="2605741" y="1350682"/>
                </a:lnTo>
                <a:lnTo>
                  <a:pt x="2569882" y="1350682"/>
                </a:lnTo>
                <a:lnTo>
                  <a:pt x="2569882" y="1368612"/>
                </a:lnTo>
                <a:lnTo>
                  <a:pt x="2540000" y="1368612"/>
                </a:lnTo>
                <a:lnTo>
                  <a:pt x="2528047" y="1380565"/>
                </a:lnTo>
                <a:lnTo>
                  <a:pt x="2492188" y="1380565"/>
                </a:lnTo>
                <a:lnTo>
                  <a:pt x="2492188" y="1380565"/>
                </a:lnTo>
                <a:lnTo>
                  <a:pt x="2408517" y="1380565"/>
                </a:lnTo>
                <a:lnTo>
                  <a:pt x="2408517" y="1410447"/>
                </a:lnTo>
                <a:lnTo>
                  <a:pt x="2336800" y="1410447"/>
                </a:lnTo>
                <a:lnTo>
                  <a:pt x="2336800" y="1434353"/>
                </a:lnTo>
                <a:lnTo>
                  <a:pt x="2235200" y="1434353"/>
                </a:lnTo>
                <a:lnTo>
                  <a:pt x="2235200" y="1464236"/>
                </a:lnTo>
                <a:lnTo>
                  <a:pt x="2229223" y="1464236"/>
                </a:lnTo>
                <a:lnTo>
                  <a:pt x="2229223" y="1476189"/>
                </a:lnTo>
                <a:lnTo>
                  <a:pt x="2211294" y="1476189"/>
                </a:lnTo>
                <a:lnTo>
                  <a:pt x="2211294" y="1494118"/>
                </a:lnTo>
                <a:lnTo>
                  <a:pt x="2163482" y="1494118"/>
                </a:lnTo>
                <a:lnTo>
                  <a:pt x="2145553" y="1512047"/>
                </a:lnTo>
                <a:lnTo>
                  <a:pt x="2073835" y="1512047"/>
                </a:lnTo>
                <a:lnTo>
                  <a:pt x="2073835" y="1535953"/>
                </a:lnTo>
                <a:lnTo>
                  <a:pt x="2043953" y="1535953"/>
                </a:lnTo>
                <a:lnTo>
                  <a:pt x="2043953" y="1553883"/>
                </a:lnTo>
                <a:lnTo>
                  <a:pt x="2002117" y="1553883"/>
                </a:lnTo>
                <a:lnTo>
                  <a:pt x="2002117" y="1559859"/>
                </a:lnTo>
                <a:lnTo>
                  <a:pt x="1996140" y="1565836"/>
                </a:lnTo>
                <a:lnTo>
                  <a:pt x="1984188" y="1577788"/>
                </a:lnTo>
                <a:lnTo>
                  <a:pt x="1924423" y="1577788"/>
                </a:lnTo>
                <a:lnTo>
                  <a:pt x="1924423" y="1589741"/>
                </a:lnTo>
                <a:lnTo>
                  <a:pt x="1876612" y="1589741"/>
                </a:lnTo>
                <a:lnTo>
                  <a:pt x="1864659" y="1601694"/>
                </a:lnTo>
                <a:lnTo>
                  <a:pt x="1804894" y="1601694"/>
                </a:lnTo>
                <a:lnTo>
                  <a:pt x="1804894" y="1631577"/>
                </a:lnTo>
                <a:lnTo>
                  <a:pt x="1757082" y="1631577"/>
                </a:lnTo>
                <a:lnTo>
                  <a:pt x="1757082" y="1655483"/>
                </a:lnTo>
                <a:lnTo>
                  <a:pt x="1691341" y="1655483"/>
                </a:lnTo>
                <a:lnTo>
                  <a:pt x="1691341" y="1673412"/>
                </a:lnTo>
                <a:lnTo>
                  <a:pt x="1619623" y="1673412"/>
                </a:lnTo>
                <a:lnTo>
                  <a:pt x="1619623" y="1691341"/>
                </a:lnTo>
                <a:lnTo>
                  <a:pt x="1553882" y="1691341"/>
                </a:lnTo>
                <a:lnTo>
                  <a:pt x="1547906" y="1697317"/>
                </a:lnTo>
                <a:lnTo>
                  <a:pt x="1482164" y="1697317"/>
                </a:lnTo>
                <a:lnTo>
                  <a:pt x="1482164" y="1715247"/>
                </a:lnTo>
                <a:lnTo>
                  <a:pt x="1446306" y="1715247"/>
                </a:lnTo>
                <a:lnTo>
                  <a:pt x="1446306" y="1733177"/>
                </a:lnTo>
                <a:lnTo>
                  <a:pt x="1362635" y="1733177"/>
                </a:lnTo>
                <a:lnTo>
                  <a:pt x="1362635" y="1757083"/>
                </a:lnTo>
                <a:lnTo>
                  <a:pt x="1308847" y="1757083"/>
                </a:lnTo>
                <a:lnTo>
                  <a:pt x="1308847" y="1780989"/>
                </a:lnTo>
                <a:lnTo>
                  <a:pt x="1249082" y="1780989"/>
                </a:lnTo>
                <a:lnTo>
                  <a:pt x="1249082" y="1798918"/>
                </a:lnTo>
                <a:lnTo>
                  <a:pt x="1189317" y="1798918"/>
                </a:lnTo>
                <a:lnTo>
                  <a:pt x="1189317" y="1822824"/>
                </a:lnTo>
                <a:lnTo>
                  <a:pt x="1123576" y="1822824"/>
                </a:lnTo>
                <a:lnTo>
                  <a:pt x="1111623" y="1834777"/>
                </a:lnTo>
                <a:lnTo>
                  <a:pt x="1069788" y="1834777"/>
                </a:lnTo>
                <a:lnTo>
                  <a:pt x="1069788" y="1864659"/>
                </a:lnTo>
                <a:lnTo>
                  <a:pt x="1004047" y="1864659"/>
                </a:lnTo>
                <a:lnTo>
                  <a:pt x="1004047" y="1882589"/>
                </a:lnTo>
                <a:lnTo>
                  <a:pt x="950259" y="1882589"/>
                </a:lnTo>
                <a:lnTo>
                  <a:pt x="950259" y="1882589"/>
                </a:lnTo>
                <a:lnTo>
                  <a:pt x="878541" y="1882589"/>
                </a:lnTo>
                <a:lnTo>
                  <a:pt x="878541" y="1906494"/>
                </a:lnTo>
                <a:lnTo>
                  <a:pt x="836706" y="1906494"/>
                </a:lnTo>
                <a:lnTo>
                  <a:pt x="836706" y="1936377"/>
                </a:lnTo>
                <a:lnTo>
                  <a:pt x="770964" y="1936377"/>
                </a:lnTo>
                <a:lnTo>
                  <a:pt x="770964" y="1936377"/>
                </a:lnTo>
                <a:lnTo>
                  <a:pt x="717176" y="1936377"/>
                </a:lnTo>
                <a:lnTo>
                  <a:pt x="717176" y="1954306"/>
                </a:lnTo>
                <a:lnTo>
                  <a:pt x="621553" y="1954306"/>
                </a:lnTo>
                <a:lnTo>
                  <a:pt x="621553" y="1972236"/>
                </a:lnTo>
                <a:lnTo>
                  <a:pt x="561788" y="1972236"/>
                </a:lnTo>
                <a:lnTo>
                  <a:pt x="573741" y="1984189"/>
                </a:lnTo>
                <a:lnTo>
                  <a:pt x="490070" y="1984189"/>
                </a:lnTo>
                <a:lnTo>
                  <a:pt x="490070" y="2014071"/>
                </a:lnTo>
                <a:lnTo>
                  <a:pt x="430306" y="2014071"/>
                </a:lnTo>
                <a:lnTo>
                  <a:pt x="430306" y="2037977"/>
                </a:lnTo>
                <a:lnTo>
                  <a:pt x="334682" y="2037977"/>
                </a:lnTo>
                <a:lnTo>
                  <a:pt x="334682" y="2043953"/>
                </a:lnTo>
                <a:lnTo>
                  <a:pt x="233082" y="2043953"/>
                </a:lnTo>
                <a:lnTo>
                  <a:pt x="233082" y="2085789"/>
                </a:lnTo>
                <a:lnTo>
                  <a:pt x="0" y="2085789"/>
                </a:lnTo>
              </a:path>
            </a:pathLst>
          </a:custGeom>
          <a:noFill/>
          <a:ln w="12700">
            <a:solidFill>
              <a:srgbClr val="3F9C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 baseline="0" dirty="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 rot="16200000">
            <a:off x="-333721" y="2624980"/>
            <a:ext cx="1865045" cy="230794"/>
          </a:xfrm>
          <a:prstGeom prst="rect">
            <a:avLst/>
          </a:prstGeom>
          <a:solidFill>
            <a:srgbClr val="FFFFFF"/>
          </a:solidFill>
        </p:spPr>
        <p:txBody>
          <a:bodyPr wrap="square" lIns="91394" tIns="45697" rIns="91394" bIns="45697" rtlCol="0">
            <a:normAutofit fontScale="925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90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Patients with an event (%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08394" y="3676835"/>
            <a:ext cx="4042110" cy="230792"/>
          </a:xfrm>
          <a:prstGeom prst="rect">
            <a:avLst/>
          </a:prstGeom>
          <a:noFill/>
        </p:spPr>
        <p:txBody>
          <a:bodyPr wrap="square" lIns="91394" tIns="45697" rIns="91394" bIns="45697" rtlCol="0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90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Time from randomisation (months)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793187" y="1988805"/>
            <a:ext cx="772754" cy="253910"/>
          </a:xfrm>
          <a:prstGeom prst="rect">
            <a:avLst/>
          </a:prstGeom>
          <a:noFill/>
          <a:ln>
            <a:noFill/>
          </a:ln>
        </p:spPr>
        <p:txBody>
          <a:bodyPr wrap="square" lIns="91434" tIns="45717" rIns="91434" bIns="45717" rtlCol="0" anchor="b" anchorCtr="0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050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Placebo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3744783" y="2544689"/>
            <a:ext cx="1210366" cy="253910"/>
          </a:xfrm>
          <a:prstGeom prst="rect">
            <a:avLst/>
          </a:prstGeom>
          <a:noFill/>
          <a:ln>
            <a:noFill/>
          </a:ln>
        </p:spPr>
        <p:txBody>
          <a:bodyPr wrap="square" lIns="91434" tIns="45717" rIns="91434" bIns="45717" rtlCol="0" anchor="b" anchorCtr="0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050" baseline="0" dirty="0" err="1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Empagliflozin</a:t>
            </a:r>
            <a:endParaRPr lang="en-GB" sz="1050" baseline="0" dirty="0">
              <a:solidFill>
                <a:srgbClr val="001965"/>
              </a:solidFill>
              <a:latin typeface="Verdana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97" name="Rounded Rectangle 96"/>
          <p:cNvSpPr/>
          <p:nvPr/>
        </p:nvSpPr>
        <p:spPr>
          <a:xfrm>
            <a:off x="2807280" y="2906847"/>
            <a:ext cx="1843224" cy="61232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baseline="0" dirty="0">
                <a:solidFill>
                  <a:srgbClr val="001965"/>
                </a:solidFill>
                <a:cs typeface="Arial" panose="020B0604020202020204" pitchFamily="34" charset="0"/>
              </a:rPr>
              <a:t>HR: 0.8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aseline="0" dirty="0">
                <a:solidFill>
                  <a:srgbClr val="001965"/>
                </a:solidFill>
                <a:cs typeface="Arial" panose="020B0604020202020204" pitchFamily="34" charset="0"/>
              </a:rPr>
              <a:t>95.02% CI (0.74 ; 0.99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aseline="0" dirty="0">
                <a:solidFill>
                  <a:srgbClr val="001965"/>
                </a:solidFill>
                <a:cs typeface="Arial" panose="020B0604020202020204" pitchFamily="34" charset="0"/>
              </a:rPr>
              <a:t>p=0.04</a:t>
            </a:r>
          </a:p>
        </p:txBody>
      </p:sp>
      <p:sp>
        <p:nvSpPr>
          <p:cNvPr id="98" name="TextBox 97"/>
          <p:cNvSpPr txBox="1"/>
          <p:nvPr/>
        </p:nvSpPr>
        <p:spPr>
          <a:xfrm rot="16200000">
            <a:off x="4130734" y="2624980"/>
            <a:ext cx="1865045" cy="230794"/>
          </a:xfrm>
          <a:prstGeom prst="rect">
            <a:avLst/>
          </a:prstGeom>
          <a:solidFill>
            <a:srgbClr val="FFFFFF"/>
          </a:solidFill>
        </p:spPr>
        <p:txBody>
          <a:bodyPr wrap="square" lIns="91394" tIns="45697" rIns="91394" bIns="45697" rtlCol="0">
            <a:normAutofit fontScale="925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90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Patients with an event (%)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7866657" y="2089665"/>
            <a:ext cx="969524" cy="253910"/>
          </a:xfrm>
          <a:prstGeom prst="rect">
            <a:avLst/>
          </a:prstGeom>
          <a:noFill/>
          <a:ln>
            <a:noFill/>
          </a:ln>
        </p:spPr>
        <p:txBody>
          <a:bodyPr wrap="square" lIns="91434" tIns="45717" rIns="91434" bIns="45717" rtlCol="0" anchor="b" anchorCtr="0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050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Placebo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7818256" y="2590957"/>
            <a:ext cx="1111988" cy="253910"/>
          </a:xfrm>
          <a:prstGeom prst="rect">
            <a:avLst/>
          </a:prstGeom>
          <a:noFill/>
          <a:ln>
            <a:noFill/>
          </a:ln>
        </p:spPr>
        <p:txBody>
          <a:bodyPr wrap="square" lIns="91434" tIns="45717" rIns="91434" bIns="45717" rtlCol="0" anchor="b" anchorCtr="0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050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Liraglutide</a:t>
            </a:r>
          </a:p>
        </p:txBody>
      </p:sp>
      <p:sp>
        <p:nvSpPr>
          <p:cNvPr id="100" name="Title 2"/>
          <p:cNvSpPr txBox="1">
            <a:spLocks/>
          </p:cNvSpPr>
          <p:nvPr/>
        </p:nvSpPr>
        <p:spPr>
          <a:xfrm>
            <a:off x="287540" y="1412776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GB" sz="1400" baseline="0" dirty="0">
                <a:solidFill>
                  <a:srgbClr val="009FDA"/>
                </a:solidFill>
                <a:latin typeface="Verdana"/>
              </a:rPr>
              <a:t>SGLT2 inhibitor</a:t>
            </a:r>
            <a:r>
              <a:rPr lang="en-GB" sz="1400" baseline="30000" dirty="0">
                <a:solidFill>
                  <a:srgbClr val="009FDA"/>
                </a:solidFill>
                <a:latin typeface="Verdana"/>
              </a:rPr>
              <a:t>1,6</a:t>
            </a:r>
            <a:r>
              <a:rPr lang="en-GB" sz="1400" baseline="0" dirty="0">
                <a:solidFill>
                  <a:srgbClr val="009FDA"/>
                </a:solidFill>
                <a:latin typeface="Verdana"/>
              </a:rPr>
              <a:t>	</a:t>
            </a:r>
            <a:r>
              <a:rPr lang="en-GB" sz="1400" baseline="0" dirty="0">
                <a:solidFill>
                  <a:srgbClr val="001965"/>
                </a:solidFill>
                <a:latin typeface="Verdana"/>
              </a:rPr>
              <a:t>			   </a:t>
            </a:r>
            <a:r>
              <a:rPr lang="en-GB" sz="1400" baseline="0" dirty="0">
                <a:solidFill>
                  <a:srgbClr val="009FDA"/>
                </a:solidFill>
                <a:latin typeface="Verdana"/>
              </a:rPr>
              <a:t>Liraglutide</a:t>
            </a:r>
            <a:r>
              <a:rPr lang="en-GB" sz="1400" baseline="30000" dirty="0">
                <a:solidFill>
                  <a:srgbClr val="009FDA"/>
                </a:solidFill>
                <a:latin typeface="Verdana"/>
              </a:rPr>
              <a:t>2</a:t>
            </a:r>
            <a:endParaRPr lang="en-GB" sz="1400" b="0" baseline="0" dirty="0">
              <a:solidFill>
                <a:srgbClr val="009FDA"/>
              </a:solidFill>
              <a:latin typeface="Verdana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026330" y="3676835"/>
            <a:ext cx="4042110" cy="230792"/>
          </a:xfrm>
          <a:prstGeom prst="rect">
            <a:avLst/>
          </a:prstGeom>
          <a:noFill/>
        </p:spPr>
        <p:txBody>
          <a:bodyPr wrap="square" lIns="91394" tIns="45697" rIns="91394" bIns="45697" rtlCol="0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90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panose="020B0604020202020204" pitchFamily="34" charset="0"/>
              </a:rPr>
              <a:t>Time from randomisation (months)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/>
          </p:nvPr>
        </p:nvGraphicFramePr>
        <p:xfrm>
          <a:off x="4954481" y="1915194"/>
          <a:ext cx="3781425" cy="1874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Prism 6" r:id="rId4" imgW="5406513" imgH="2829658" progId="Prism6.Document">
                  <p:embed/>
                </p:oleObj>
              </mc:Choice>
              <mc:Fallback>
                <p:oleObj name="Prism 6" r:id="rId4" imgW="5406513" imgH="2829658" progId="Prism6.Document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4481" y="1915194"/>
                        <a:ext cx="3781425" cy="18748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" name="Rounded Rectangle 126"/>
          <p:cNvSpPr/>
          <p:nvPr/>
        </p:nvSpPr>
        <p:spPr>
          <a:xfrm>
            <a:off x="6964646" y="2906847"/>
            <a:ext cx="1660181" cy="612321"/>
          </a:xfrm>
          <a:prstGeom prst="round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7" rIns="91394" bIns="45697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="1" baseline="0" dirty="0">
                <a:solidFill>
                  <a:srgbClr val="001965"/>
                </a:solidFill>
                <a:cs typeface="Arial" panose="020B0604020202020204" pitchFamily="34" charset="0"/>
              </a:rPr>
              <a:t>HR: 0.8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aseline="0" dirty="0">
                <a:solidFill>
                  <a:srgbClr val="001965"/>
                </a:solidFill>
                <a:cs typeface="Arial" panose="020B0604020202020204" pitchFamily="34" charset="0"/>
              </a:rPr>
              <a:t>95% CI (0.78 ; 0.97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000" baseline="0" dirty="0">
                <a:solidFill>
                  <a:srgbClr val="001965"/>
                </a:solidFill>
                <a:cs typeface="Arial" panose="020B0604020202020204" pitchFamily="34" charset="0"/>
              </a:rPr>
              <a:t>p=0.01</a:t>
            </a:r>
          </a:p>
        </p:txBody>
      </p:sp>
      <p:sp>
        <p:nvSpPr>
          <p:cNvPr id="4" name="Rectangle 3"/>
          <p:cNvSpPr/>
          <p:nvPr/>
        </p:nvSpPr>
        <p:spPr>
          <a:xfrm>
            <a:off x="486660" y="1815169"/>
            <a:ext cx="4263064" cy="224526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baseline="0">
              <a:solidFill>
                <a:srgbClr val="FFFFFF"/>
              </a:solidFill>
            </a:endParaRPr>
          </a:p>
        </p:txBody>
      </p:sp>
      <p:sp>
        <p:nvSpPr>
          <p:cNvPr id="467" name="Rectangle 466"/>
          <p:cNvSpPr/>
          <p:nvPr/>
        </p:nvSpPr>
        <p:spPr>
          <a:xfrm>
            <a:off x="4872350" y="1831647"/>
            <a:ext cx="4263064" cy="224526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baseline="0">
              <a:solidFill>
                <a:srgbClr val="FFFFFF"/>
              </a:solidFill>
            </a:endParaRPr>
          </a:p>
        </p:txBody>
      </p:sp>
      <p:grpSp>
        <p:nvGrpSpPr>
          <p:cNvPr id="245" name="Group 244"/>
          <p:cNvGrpSpPr/>
          <p:nvPr/>
        </p:nvGrpSpPr>
        <p:grpSpPr>
          <a:xfrm>
            <a:off x="318376" y="1820201"/>
            <a:ext cx="4291849" cy="3046552"/>
            <a:chOff x="2519363" y="308174"/>
            <a:chExt cx="8945872" cy="6404331"/>
          </a:xfrm>
        </p:grpSpPr>
        <p:sp>
          <p:nvSpPr>
            <p:cNvPr id="246" name="Rechteck 253"/>
            <p:cNvSpPr/>
            <p:nvPr/>
          </p:nvSpPr>
          <p:spPr>
            <a:xfrm>
              <a:off x="5229390" y="308174"/>
              <a:ext cx="1994863" cy="600546"/>
            </a:xfrm>
            <a:prstGeom prst="rect">
              <a:avLst/>
            </a:prstGeom>
            <a:gradFill flip="none" rotWithShape="1">
              <a:gsLst>
                <a:gs pos="0">
                  <a:srgbClr val="FDC270"/>
                </a:gs>
                <a:gs pos="10000">
                  <a:srgbClr val="FFDCB9">
                    <a:shade val="67500"/>
                    <a:satMod val="115000"/>
                  </a:srgbClr>
                </a:gs>
                <a:gs pos="100000">
                  <a:srgbClr val="9A3204"/>
                </a:gs>
              </a:gsLst>
              <a:path path="circle">
                <a:fillToRect l="100000" t="100000"/>
              </a:path>
              <a:tileRect r="-100000" b="-100000"/>
            </a:gra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grpSp>
          <p:nvGrpSpPr>
            <p:cNvPr id="248" name="Gruppieren 38"/>
            <p:cNvGrpSpPr>
              <a:grpSpLocks/>
            </p:cNvGrpSpPr>
            <p:nvPr/>
          </p:nvGrpSpPr>
          <p:grpSpPr bwMode="auto">
            <a:xfrm>
              <a:off x="2519363" y="3121025"/>
              <a:ext cx="2105025" cy="3011488"/>
              <a:chOff x="-2174355" y="2617327"/>
              <a:chExt cx="2105639" cy="3011520"/>
            </a:xfrm>
          </p:grpSpPr>
          <p:sp>
            <p:nvSpPr>
              <p:cNvPr id="615" name="Freeform 174"/>
              <p:cNvSpPr>
                <a:spLocks/>
              </p:cNvSpPr>
              <p:nvPr/>
            </p:nvSpPr>
            <p:spPr bwMode="auto">
              <a:xfrm>
                <a:off x="-2174355" y="2617327"/>
                <a:ext cx="1869032" cy="3011520"/>
              </a:xfrm>
              <a:custGeom>
                <a:avLst/>
                <a:gdLst>
                  <a:gd name="T0" fmla="*/ 183 w 503"/>
                  <a:gd name="T1" fmla="*/ 3585 h 760"/>
                  <a:gd name="T2" fmla="*/ 358 w 503"/>
                  <a:gd name="T3" fmla="*/ 4113 h 760"/>
                  <a:gd name="T4" fmla="*/ 1796 w 503"/>
                  <a:gd name="T5" fmla="*/ 5292 h 760"/>
                  <a:gd name="T6" fmla="*/ 1796 w 503"/>
                  <a:gd name="T7" fmla="*/ 5292 h 760"/>
                  <a:gd name="T8" fmla="*/ 1958 w 503"/>
                  <a:gd name="T9" fmla="*/ 5270 h 760"/>
                  <a:gd name="T10" fmla="*/ 2826 w 503"/>
                  <a:gd name="T11" fmla="*/ 4438 h 760"/>
                  <a:gd name="T12" fmla="*/ 2834 w 503"/>
                  <a:gd name="T13" fmla="*/ 3387 h 760"/>
                  <a:gd name="T14" fmla="*/ 2671 w 503"/>
                  <a:gd name="T15" fmla="*/ 2774 h 760"/>
                  <a:gd name="T16" fmla="*/ 2851 w 503"/>
                  <a:gd name="T17" fmla="*/ 2083 h 760"/>
                  <a:gd name="T18" fmla="*/ 3126 w 503"/>
                  <a:gd name="T19" fmla="*/ 1144 h 760"/>
                  <a:gd name="T20" fmla="*/ 1976 w 503"/>
                  <a:gd name="T21" fmla="*/ 8 h 760"/>
                  <a:gd name="T22" fmla="*/ 745 w 503"/>
                  <a:gd name="T23" fmla="*/ 619 h 760"/>
                  <a:gd name="T24" fmla="*/ 583 w 503"/>
                  <a:gd name="T25" fmla="*/ 925 h 760"/>
                  <a:gd name="T26" fmla="*/ 313 w 503"/>
                  <a:gd name="T27" fmla="*/ 1566 h 760"/>
                  <a:gd name="T28" fmla="*/ 120 w 503"/>
                  <a:gd name="T29" fmla="*/ 2270 h 760"/>
                  <a:gd name="T30" fmla="*/ 183 w 503"/>
                  <a:gd name="T31" fmla="*/ 3585 h 76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03" h="760">
                    <a:moveTo>
                      <a:pt x="29" y="504"/>
                    </a:moveTo>
                    <a:cubicBezTo>
                      <a:pt x="38" y="531"/>
                      <a:pt x="53" y="567"/>
                      <a:pt x="57" y="578"/>
                    </a:cubicBezTo>
                    <a:cubicBezTo>
                      <a:pt x="75" y="633"/>
                      <a:pt x="151" y="760"/>
                      <a:pt x="287" y="744"/>
                    </a:cubicBezTo>
                    <a:cubicBezTo>
                      <a:pt x="287" y="744"/>
                      <a:pt x="287" y="744"/>
                      <a:pt x="287" y="744"/>
                    </a:cubicBezTo>
                    <a:cubicBezTo>
                      <a:pt x="296" y="744"/>
                      <a:pt x="304" y="743"/>
                      <a:pt x="313" y="741"/>
                    </a:cubicBezTo>
                    <a:cubicBezTo>
                      <a:pt x="401" y="727"/>
                      <a:pt x="440" y="674"/>
                      <a:pt x="452" y="624"/>
                    </a:cubicBezTo>
                    <a:cubicBezTo>
                      <a:pt x="461" y="585"/>
                      <a:pt x="466" y="513"/>
                      <a:pt x="453" y="476"/>
                    </a:cubicBezTo>
                    <a:cubicBezTo>
                      <a:pt x="441" y="439"/>
                      <a:pt x="429" y="426"/>
                      <a:pt x="427" y="390"/>
                    </a:cubicBezTo>
                    <a:cubicBezTo>
                      <a:pt x="426" y="353"/>
                      <a:pt x="440" y="316"/>
                      <a:pt x="456" y="293"/>
                    </a:cubicBezTo>
                    <a:cubicBezTo>
                      <a:pt x="472" y="270"/>
                      <a:pt x="503" y="230"/>
                      <a:pt x="500" y="161"/>
                    </a:cubicBezTo>
                    <a:cubicBezTo>
                      <a:pt x="493" y="86"/>
                      <a:pt x="448" y="5"/>
                      <a:pt x="316" y="1"/>
                    </a:cubicBezTo>
                    <a:cubicBezTo>
                      <a:pt x="237" y="0"/>
                      <a:pt x="164" y="23"/>
                      <a:pt x="119" y="87"/>
                    </a:cubicBezTo>
                    <a:cubicBezTo>
                      <a:pt x="106" y="105"/>
                      <a:pt x="98" y="119"/>
                      <a:pt x="93" y="130"/>
                    </a:cubicBezTo>
                    <a:cubicBezTo>
                      <a:pt x="82" y="157"/>
                      <a:pt x="62" y="197"/>
                      <a:pt x="50" y="220"/>
                    </a:cubicBezTo>
                    <a:cubicBezTo>
                      <a:pt x="40" y="241"/>
                      <a:pt x="28" y="272"/>
                      <a:pt x="19" y="319"/>
                    </a:cubicBezTo>
                    <a:cubicBezTo>
                      <a:pt x="0" y="416"/>
                      <a:pt x="19" y="478"/>
                      <a:pt x="29" y="504"/>
                    </a:cubicBezTo>
                    <a:close/>
                  </a:path>
                </a:pathLst>
              </a:custGeom>
              <a:solidFill>
                <a:srgbClr val="A35B7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050" baseline="0">
                  <a:solidFill>
                    <a:prstClr val="black"/>
                  </a:solidFill>
                  <a:latin typeface="Calibri" panose="020F0502020204030204"/>
                  <a:ea typeface="MS PGothic" pitchFamily="34" charset="-128"/>
                </a:endParaRPr>
              </a:p>
            </p:txBody>
          </p:sp>
          <p:sp>
            <p:nvSpPr>
              <p:cNvPr id="616" name="Freeform 175"/>
              <p:cNvSpPr>
                <a:spLocks/>
              </p:cNvSpPr>
              <p:nvPr/>
            </p:nvSpPr>
            <p:spPr bwMode="auto">
              <a:xfrm>
                <a:off x="-590179" y="3777661"/>
                <a:ext cx="521463" cy="1739758"/>
              </a:xfrm>
              <a:custGeom>
                <a:avLst/>
                <a:gdLst>
                  <a:gd name="T0" fmla="*/ 2147483646 w 140"/>
                  <a:gd name="T1" fmla="*/ 2147483646 h 439"/>
                  <a:gd name="T2" fmla="*/ 2147483646 w 140"/>
                  <a:gd name="T3" fmla="*/ 2147483646 h 439"/>
                  <a:gd name="T4" fmla="*/ 2147483646 w 140"/>
                  <a:gd name="T5" fmla="*/ 0 h 439"/>
                  <a:gd name="T6" fmla="*/ 2147483646 w 140"/>
                  <a:gd name="T7" fmla="*/ 2147483646 h 439"/>
                  <a:gd name="T8" fmla="*/ 2147483646 w 140"/>
                  <a:gd name="T9" fmla="*/ 2147483646 h 439"/>
                  <a:gd name="T10" fmla="*/ 2147483646 w 140"/>
                  <a:gd name="T11" fmla="*/ 2147483646 h 439"/>
                  <a:gd name="T12" fmla="*/ 2147483646 w 140"/>
                  <a:gd name="T13" fmla="*/ 2147483646 h 439"/>
                  <a:gd name="T14" fmla="*/ 2147483646 w 140"/>
                  <a:gd name="T15" fmla="*/ 2147483646 h 439"/>
                  <a:gd name="T16" fmla="*/ 2147483646 w 140"/>
                  <a:gd name="T17" fmla="*/ 2147483646 h 439"/>
                  <a:gd name="T18" fmla="*/ 2147483646 w 140"/>
                  <a:gd name="T19" fmla="*/ 2147483646 h 4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0" h="439">
                    <a:moveTo>
                      <a:pt x="27" y="183"/>
                    </a:moveTo>
                    <a:cubicBezTo>
                      <a:pt x="15" y="146"/>
                      <a:pt x="3" y="133"/>
                      <a:pt x="1" y="97"/>
                    </a:cubicBezTo>
                    <a:cubicBezTo>
                      <a:pt x="0" y="60"/>
                      <a:pt x="14" y="23"/>
                      <a:pt x="30" y="0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82" y="40"/>
                      <a:pt x="132" y="76"/>
                      <a:pt x="136" y="215"/>
                    </a:cubicBezTo>
                    <a:cubicBezTo>
                      <a:pt x="140" y="367"/>
                      <a:pt x="136" y="439"/>
                      <a:pt x="136" y="439"/>
                    </a:cubicBezTo>
                    <a:cubicBezTo>
                      <a:pt x="97" y="439"/>
                      <a:pt x="97" y="439"/>
                      <a:pt x="97" y="439"/>
                    </a:cubicBezTo>
                    <a:cubicBezTo>
                      <a:pt x="97" y="384"/>
                      <a:pt x="96" y="338"/>
                      <a:pt x="85" y="277"/>
                    </a:cubicBezTo>
                    <a:cubicBezTo>
                      <a:pt x="79" y="249"/>
                      <a:pt x="62" y="221"/>
                      <a:pt x="34" y="218"/>
                    </a:cubicBezTo>
                    <a:cubicBezTo>
                      <a:pt x="33" y="205"/>
                      <a:pt x="31" y="193"/>
                      <a:pt x="27" y="183"/>
                    </a:cubicBezTo>
                    <a:close/>
                  </a:path>
                </a:pathLst>
              </a:custGeom>
              <a:solidFill>
                <a:srgbClr val="FDC2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17" name="Freeform 176"/>
              <p:cNvSpPr>
                <a:spLocks/>
              </p:cNvSpPr>
              <p:nvPr/>
            </p:nvSpPr>
            <p:spPr bwMode="auto">
              <a:xfrm>
                <a:off x="-2118636" y="2631381"/>
                <a:ext cx="1096409" cy="1625359"/>
              </a:xfrm>
              <a:custGeom>
                <a:avLst/>
                <a:gdLst>
                  <a:gd name="T0" fmla="*/ 2147483646 w 295"/>
                  <a:gd name="T1" fmla="*/ 2147483646 h 410"/>
                  <a:gd name="T2" fmla="*/ 2147483646 w 295"/>
                  <a:gd name="T3" fmla="*/ 2147483646 h 410"/>
                  <a:gd name="T4" fmla="*/ 2147483646 w 295"/>
                  <a:gd name="T5" fmla="*/ 2147483646 h 410"/>
                  <a:gd name="T6" fmla="*/ 2147483646 w 295"/>
                  <a:gd name="T7" fmla="*/ 2147483646 h 410"/>
                  <a:gd name="T8" fmla="*/ 2147483646 w 295"/>
                  <a:gd name="T9" fmla="*/ 2147483646 h 410"/>
                  <a:gd name="T10" fmla="*/ 2147483646 w 295"/>
                  <a:gd name="T11" fmla="*/ 2147483646 h 410"/>
                  <a:gd name="T12" fmla="*/ 2147483646 w 295"/>
                  <a:gd name="T13" fmla="*/ 2147483646 h 4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410">
                    <a:moveTo>
                      <a:pt x="66" y="240"/>
                    </a:moveTo>
                    <a:cubicBezTo>
                      <a:pt x="81" y="210"/>
                      <a:pt x="107" y="154"/>
                      <a:pt x="139" y="109"/>
                    </a:cubicBezTo>
                    <a:cubicBezTo>
                      <a:pt x="184" y="46"/>
                      <a:pt x="266" y="13"/>
                      <a:pt x="295" y="11"/>
                    </a:cubicBezTo>
                    <a:cubicBezTo>
                      <a:pt x="224" y="0"/>
                      <a:pt x="126" y="51"/>
                      <a:pt x="98" y="110"/>
                    </a:cubicBezTo>
                    <a:cubicBezTo>
                      <a:pt x="70" y="169"/>
                      <a:pt x="63" y="189"/>
                      <a:pt x="48" y="218"/>
                    </a:cubicBezTo>
                    <a:cubicBezTo>
                      <a:pt x="32" y="247"/>
                      <a:pt x="0" y="333"/>
                      <a:pt x="5" y="410"/>
                    </a:cubicBezTo>
                    <a:cubicBezTo>
                      <a:pt x="13" y="366"/>
                      <a:pt x="54" y="255"/>
                      <a:pt x="66" y="240"/>
                    </a:cubicBezTo>
                    <a:close/>
                  </a:path>
                </a:pathLst>
              </a:custGeom>
              <a:solidFill>
                <a:srgbClr val="C496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18" name="Freeform 177"/>
              <p:cNvSpPr>
                <a:spLocks/>
              </p:cNvSpPr>
              <p:nvPr/>
            </p:nvSpPr>
            <p:spPr bwMode="auto">
              <a:xfrm>
                <a:off x="-1940358" y="2631381"/>
                <a:ext cx="918131" cy="864679"/>
              </a:xfrm>
              <a:custGeom>
                <a:avLst/>
                <a:gdLst>
                  <a:gd name="T0" fmla="*/ 2147483646 w 247"/>
                  <a:gd name="T1" fmla="*/ 2147483646 h 218"/>
                  <a:gd name="T2" fmla="*/ 2147483646 w 247"/>
                  <a:gd name="T3" fmla="*/ 2147483646 h 218"/>
                  <a:gd name="T4" fmla="*/ 0 w 247"/>
                  <a:gd name="T5" fmla="*/ 2147483646 h 218"/>
                  <a:gd name="T6" fmla="*/ 0 w 247"/>
                  <a:gd name="T7" fmla="*/ 2147483646 h 218"/>
                  <a:gd name="T8" fmla="*/ 2147483646 w 247"/>
                  <a:gd name="T9" fmla="*/ 2147483646 h 218"/>
                  <a:gd name="T10" fmla="*/ 2147483646 w 247"/>
                  <a:gd name="T11" fmla="*/ 2147483646 h 218"/>
                  <a:gd name="T12" fmla="*/ 2147483646 w 247"/>
                  <a:gd name="T13" fmla="*/ 2147483646 h 218"/>
                  <a:gd name="T14" fmla="*/ 2147483646 w 247"/>
                  <a:gd name="T15" fmla="*/ 2147483646 h 218"/>
                  <a:gd name="T16" fmla="*/ 2147483646 w 247"/>
                  <a:gd name="T17" fmla="*/ 2147483646 h 2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7" h="218">
                    <a:moveTo>
                      <a:pt x="48" y="109"/>
                    </a:moveTo>
                    <a:cubicBezTo>
                      <a:pt x="23" y="166"/>
                      <a:pt x="23" y="166"/>
                      <a:pt x="23" y="166"/>
                    </a:cubicBezTo>
                    <a:cubicBezTo>
                      <a:pt x="13" y="187"/>
                      <a:pt x="9" y="201"/>
                      <a:pt x="0" y="218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9" y="201"/>
                      <a:pt x="17" y="188"/>
                      <a:pt x="26" y="16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80" y="52"/>
                      <a:pt x="178" y="0"/>
                      <a:pt x="247" y="11"/>
                    </a:cubicBezTo>
                    <a:cubicBezTo>
                      <a:pt x="247" y="11"/>
                      <a:pt x="247" y="11"/>
                      <a:pt x="247" y="11"/>
                    </a:cubicBezTo>
                    <a:cubicBezTo>
                      <a:pt x="176" y="0"/>
                      <a:pt x="77" y="47"/>
                      <a:pt x="48" y="10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19" name="Freeform 178"/>
              <p:cNvSpPr>
                <a:spLocks/>
              </p:cNvSpPr>
              <p:nvPr/>
            </p:nvSpPr>
            <p:spPr bwMode="auto">
              <a:xfrm>
                <a:off x="-1796919" y="4422566"/>
                <a:ext cx="1325199" cy="1145477"/>
              </a:xfrm>
              <a:custGeom>
                <a:avLst/>
                <a:gdLst>
                  <a:gd name="T0" fmla="*/ 2147483646 w 357"/>
                  <a:gd name="T1" fmla="*/ 2147483646 h 289"/>
                  <a:gd name="T2" fmla="*/ 2147483646 w 357"/>
                  <a:gd name="T3" fmla="*/ 2147483646 h 289"/>
                  <a:gd name="T4" fmla="*/ 2147483646 w 357"/>
                  <a:gd name="T5" fmla="*/ 2147483646 h 289"/>
                  <a:gd name="T6" fmla="*/ 0 w 357"/>
                  <a:gd name="T7" fmla="*/ 2147483646 h 289"/>
                  <a:gd name="T8" fmla="*/ 2147483646 w 357"/>
                  <a:gd name="T9" fmla="*/ 2147483646 h 289"/>
                  <a:gd name="T10" fmla="*/ 2147483646 w 357"/>
                  <a:gd name="T11" fmla="*/ 2147483646 h 289"/>
                  <a:gd name="T12" fmla="*/ 2147483646 w 357"/>
                  <a:gd name="T13" fmla="*/ 0 h 289"/>
                  <a:gd name="T14" fmla="*/ 2147483646 w 357"/>
                  <a:gd name="T15" fmla="*/ 2147483646 h 2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7" h="289">
                    <a:moveTo>
                      <a:pt x="341" y="34"/>
                    </a:moveTo>
                    <a:cubicBezTo>
                      <a:pt x="357" y="70"/>
                      <a:pt x="345" y="149"/>
                      <a:pt x="326" y="191"/>
                    </a:cubicBezTo>
                    <a:cubicBezTo>
                      <a:pt x="308" y="233"/>
                      <a:pt x="236" y="289"/>
                      <a:pt x="138" y="273"/>
                    </a:cubicBezTo>
                    <a:cubicBezTo>
                      <a:pt x="89" y="265"/>
                      <a:pt x="29" y="231"/>
                      <a:pt x="0" y="183"/>
                    </a:cubicBezTo>
                    <a:cubicBezTo>
                      <a:pt x="27" y="204"/>
                      <a:pt x="126" y="226"/>
                      <a:pt x="197" y="195"/>
                    </a:cubicBezTo>
                    <a:cubicBezTo>
                      <a:pt x="268" y="163"/>
                      <a:pt x="346" y="123"/>
                      <a:pt x="331" y="46"/>
                    </a:cubicBezTo>
                    <a:cubicBezTo>
                      <a:pt x="324" y="9"/>
                      <a:pt x="320" y="6"/>
                      <a:pt x="312" y="0"/>
                    </a:cubicBezTo>
                    <a:cubicBezTo>
                      <a:pt x="323" y="2"/>
                      <a:pt x="335" y="14"/>
                      <a:pt x="341" y="34"/>
                    </a:cubicBezTo>
                    <a:close/>
                  </a:path>
                </a:pathLst>
              </a:custGeom>
              <a:solidFill>
                <a:srgbClr val="8A48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0" name="Freeform 179"/>
              <p:cNvSpPr>
                <a:spLocks/>
              </p:cNvSpPr>
              <p:nvPr/>
            </p:nvSpPr>
            <p:spPr bwMode="auto">
              <a:xfrm>
                <a:off x="-1047657" y="2715131"/>
                <a:ext cx="715543" cy="1143859"/>
              </a:xfrm>
              <a:custGeom>
                <a:avLst/>
                <a:gdLst>
                  <a:gd name="T0" fmla="*/ 0 w 113"/>
                  <a:gd name="T1" fmla="*/ 0 h 298"/>
                  <a:gd name="T2" fmla="*/ 2147483646 w 113"/>
                  <a:gd name="T3" fmla="*/ 2147483646 h 298"/>
                  <a:gd name="T4" fmla="*/ 2147483646 w 113"/>
                  <a:gd name="T5" fmla="*/ 2147483646 h 298"/>
                  <a:gd name="T6" fmla="*/ 2147483646 w 113"/>
                  <a:gd name="T7" fmla="*/ 2147483646 h 298"/>
                  <a:gd name="T8" fmla="*/ 2147483646 w 113"/>
                  <a:gd name="T9" fmla="*/ 2147483646 h 298"/>
                  <a:gd name="T10" fmla="*/ 2147483646 w 113"/>
                  <a:gd name="T11" fmla="*/ 2147483646 h 298"/>
                  <a:gd name="T12" fmla="*/ 0 w 113"/>
                  <a:gd name="T13" fmla="*/ 0 h 2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3" h="298">
                    <a:moveTo>
                      <a:pt x="0" y="0"/>
                    </a:moveTo>
                    <a:cubicBezTo>
                      <a:pt x="36" y="14"/>
                      <a:pt x="106" y="47"/>
                      <a:pt x="109" y="138"/>
                    </a:cubicBezTo>
                    <a:cubicBezTo>
                      <a:pt x="113" y="228"/>
                      <a:pt x="77" y="256"/>
                      <a:pt x="62" y="271"/>
                    </a:cubicBezTo>
                    <a:cubicBezTo>
                      <a:pt x="48" y="285"/>
                      <a:pt x="18" y="298"/>
                      <a:pt x="6" y="295"/>
                    </a:cubicBezTo>
                    <a:cubicBezTo>
                      <a:pt x="25" y="286"/>
                      <a:pt x="50" y="261"/>
                      <a:pt x="61" y="232"/>
                    </a:cubicBezTo>
                    <a:cubicBezTo>
                      <a:pt x="74" y="198"/>
                      <a:pt x="85" y="164"/>
                      <a:pt x="72" y="104"/>
                    </a:cubicBezTo>
                    <a:cubicBezTo>
                      <a:pt x="60" y="50"/>
                      <a:pt x="43" y="24"/>
                      <a:pt x="0" y="0"/>
                    </a:cubicBezTo>
                    <a:close/>
                  </a:path>
                </a:pathLst>
              </a:custGeom>
              <a:solidFill>
                <a:srgbClr val="894D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1" name="Freeform 180"/>
              <p:cNvSpPr>
                <a:spLocks/>
              </p:cNvSpPr>
              <p:nvPr/>
            </p:nvSpPr>
            <p:spPr bwMode="auto">
              <a:xfrm>
                <a:off x="-1987899" y="2830465"/>
                <a:ext cx="616544" cy="1017707"/>
              </a:xfrm>
              <a:custGeom>
                <a:avLst/>
                <a:gdLst>
                  <a:gd name="T0" fmla="*/ 2147483646 w 166"/>
                  <a:gd name="T1" fmla="*/ 0 h 257"/>
                  <a:gd name="T2" fmla="*/ 2147483646 w 166"/>
                  <a:gd name="T3" fmla="*/ 2147483646 h 257"/>
                  <a:gd name="T4" fmla="*/ 2147483646 w 166"/>
                  <a:gd name="T5" fmla="*/ 2147483646 h 257"/>
                  <a:gd name="T6" fmla="*/ 0 w 166"/>
                  <a:gd name="T7" fmla="*/ 2147483646 h 257"/>
                  <a:gd name="T8" fmla="*/ 2147483646 w 166"/>
                  <a:gd name="T9" fmla="*/ 2147483646 h 257"/>
                  <a:gd name="T10" fmla="*/ 2147483646 w 166"/>
                  <a:gd name="T11" fmla="*/ 2147483646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6" h="257">
                    <a:moveTo>
                      <a:pt x="166" y="0"/>
                    </a:moveTo>
                    <a:cubicBezTo>
                      <a:pt x="141" y="16"/>
                      <a:pt x="103" y="60"/>
                      <a:pt x="96" y="88"/>
                    </a:cubicBezTo>
                    <a:cubicBezTo>
                      <a:pt x="88" y="120"/>
                      <a:pt x="93" y="145"/>
                      <a:pt x="66" y="171"/>
                    </a:cubicBezTo>
                    <a:cubicBezTo>
                      <a:pt x="44" y="191"/>
                      <a:pt x="12" y="228"/>
                      <a:pt x="0" y="257"/>
                    </a:cubicBezTo>
                    <a:cubicBezTo>
                      <a:pt x="13" y="226"/>
                      <a:pt x="13" y="174"/>
                      <a:pt x="29" y="145"/>
                    </a:cubicBezTo>
                    <a:cubicBezTo>
                      <a:pt x="46" y="114"/>
                      <a:pt x="65" y="83"/>
                      <a:pt x="88" y="57"/>
                    </a:cubicBezTo>
                  </a:path>
                </a:pathLst>
              </a:custGeom>
              <a:solidFill>
                <a:srgbClr val="894D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2" name="Freeform 181"/>
              <p:cNvSpPr>
                <a:spLocks/>
              </p:cNvSpPr>
              <p:nvPr/>
            </p:nvSpPr>
            <p:spPr bwMode="auto">
              <a:xfrm>
                <a:off x="-534118" y="3817775"/>
                <a:ext cx="427867" cy="1675873"/>
              </a:xfrm>
              <a:custGeom>
                <a:avLst/>
                <a:gdLst>
                  <a:gd name="T0" fmla="*/ 2147483646 w 115"/>
                  <a:gd name="T1" fmla="*/ 2147483646 h 423"/>
                  <a:gd name="T2" fmla="*/ 2147483646 w 115"/>
                  <a:gd name="T3" fmla="*/ 2147483646 h 423"/>
                  <a:gd name="T4" fmla="*/ 2147483646 w 115"/>
                  <a:gd name="T5" fmla="*/ 2147483646 h 423"/>
                  <a:gd name="T6" fmla="*/ 2147483646 w 115"/>
                  <a:gd name="T7" fmla="*/ 2147483646 h 423"/>
                  <a:gd name="T8" fmla="*/ 2147483646 w 115"/>
                  <a:gd name="T9" fmla="*/ 2147483646 h 423"/>
                  <a:gd name="T10" fmla="*/ 2147483646 w 115"/>
                  <a:gd name="T11" fmla="*/ 2147483646 h 4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5" h="423">
                    <a:moveTo>
                      <a:pt x="24" y="12"/>
                    </a:moveTo>
                    <a:cubicBezTo>
                      <a:pt x="52" y="31"/>
                      <a:pt x="102" y="65"/>
                      <a:pt x="111" y="232"/>
                    </a:cubicBezTo>
                    <a:cubicBezTo>
                      <a:pt x="114" y="296"/>
                      <a:pt x="112" y="423"/>
                      <a:pt x="112" y="423"/>
                    </a:cubicBezTo>
                    <a:cubicBezTo>
                      <a:pt x="115" y="350"/>
                      <a:pt x="103" y="198"/>
                      <a:pt x="86" y="145"/>
                    </a:cubicBezTo>
                    <a:cubicBezTo>
                      <a:pt x="69" y="91"/>
                      <a:pt x="29" y="49"/>
                      <a:pt x="14" y="37"/>
                    </a:cubicBezTo>
                    <a:cubicBezTo>
                      <a:pt x="0" y="25"/>
                      <a:pt x="7" y="0"/>
                      <a:pt x="24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3" name="Freeform 182"/>
              <p:cNvSpPr>
                <a:spLocks/>
              </p:cNvSpPr>
              <p:nvPr/>
            </p:nvSpPr>
            <p:spPr bwMode="auto">
              <a:xfrm>
                <a:off x="-586115" y="4117887"/>
                <a:ext cx="346156" cy="935993"/>
              </a:xfrm>
              <a:custGeom>
                <a:avLst/>
                <a:gdLst>
                  <a:gd name="T0" fmla="*/ 2147483646 w 93"/>
                  <a:gd name="T1" fmla="*/ 2147483646 h 236"/>
                  <a:gd name="T2" fmla="*/ 2147483646 w 93"/>
                  <a:gd name="T3" fmla="*/ 2147483646 h 236"/>
                  <a:gd name="T4" fmla="*/ 2147483646 w 93"/>
                  <a:gd name="T5" fmla="*/ 2147483646 h 236"/>
                  <a:gd name="T6" fmla="*/ 2147483646 w 93"/>
                  <a:gd name="T7" fmla="*/ 2147483646 h 236"/>
                  <a:gd name="T8" fmla="*/ 2147483646 w 93"/>
                  <a:gd name="T9" fmla="*/ 2147483646 h 236"/>
                  <a:gd name="T10" fmla="*/ 2147483646 w 93"/>
                  <a:gd name="T11" fmla="*/ 2147483646 h 236"/>
                  <a:gd name="T12" fmla="*/ 2147483646 w 93"/>
                  <a:gd name="T13" fmla="*/ 2147483646 h 236"/>
                  <a:gd name="T14" fmla="*/ 2147483646 w 93"/>
                  <a:gd name="T15" fmla="*/ 2147483646 h 236"/>
                  <a:gd name="T16" fmla="*/ 2147483646 w 93"/>
                  <a:gd name="T17" fmla="*/ 2147483646 h 236"/>
                  <a:gd name="T18" fmla="*/ 2147483646 w 93"/>
                  <a:gd name="T19" fmla="*/ 0 h 2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3" h="236">
                    <a:moveTo>
                      <a:pt x="4" y="3"/>
                    </a:moveTo>
                    <a:cubicBezTo>
                      <a:pt x="0" y="26"/>
                      <a:pt x="11" y="48"/>
                      <a:pt x="19" y="70"/>
                    </a:cubicBezTo>
                    <a:cubicBezTo>
                      <a:pt x="26" y="86"/>
                      <a:pt x="28" y="102"/>
                      <a:pt x="36" y="118"/>
                    </a:cubicBezTo>
                    <a:cubicBezTo>
                      <a:pt x="45" y="133"/>
                      <a:pt x="60" y="136"/>
                      <a:pt x="70" y="151"/>
                    </a:cubicBezTo>
                    <a:cubicBezTo>
                      <a:pt x="83" y="171"/>
                      <a:pt x="87" y="205"/>
                      <a:pt x="93" y="236"/>
                    </a:cubicBezTo>
                    <a:cubicBezTo>
                      <a:pt x="93" y="223"/>
                      <a:pt x="91" y="191"/>
                      <a:pt x="87" y="178"/>
                    </a:cubicBezTo>
                    <a:cubicBezTo>
                      <a:pt x="84" y="166"/>
                      <a:pt x="86" y="159"/>
                      <a:pt x="82" y="148"/>
                    </a:cubicBezTo>
                    <a:cubicBezTo>
                      <a:pt x="75" y="129"/>
                      <a:pt x="55" y="112"/>
                      <a:pt x="46" y="95"/>
                    </a:cubicBezTo>
                    <a:cubicBezTo>
                      <a:pt x="35" y="73"/>
                      <a:pt x="36" y="62"/>
                      <a:pt x="22" y="41"/>
                    </a:cubicBezTo>
                    <a:cubicBezTo>
                      <a:pt x="14" y="29"/>
                      <a:pt x="4" y="15"/>
                      <a:pt x="6" y="0"/>
                    </a:cubicBezTo>
                  </a:path>
                </a:pathLst>
              </a:custGeom>
              <a:solidFill>
                <a:srgbClr val="FEAF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4" name="Freeform 183"/>
              <p:cNvSpPr>
                <a:spLocks/>
              </p:cNvSpPr>
              <p:nvPr/>
            </p:nvSpPr>
            <p:spPr bwMode="auto">
              <a:xfrm>
                <a:off x="-553431" y="3813318"/>
                <a:ext cx="130737" cy="257027"/>
              </a:xfrm>
              <a:custGeom>
                <a:avLst/>
                <a:gdLst>
                  <a:gd name="T0" fmla="*/ 2147483646 w 35"/>
                  <a:gd name="T1" fmla="*/ 2147483646 h 65"/>
                  <a:gd name="T2" fmla="*/ 2147483646 w 35"/>
                  <a:gd name="T3" fmla="*/ 2147483646 h 65"/>
                  <a:gd name="T4" fmla="*/ 2147483646 w 35"/>
                  <a:gd name="T5" fmla="*/ 2147483646 h 65"/>
                  <a:gd name="T6" fmla="*/ 2147483646 w 35"/>
                  <a:gd name="T7" fmla="*/ 2147483646 h 65"/>
                  <a:gd name="T8" fmla="*/ 2147483646 w 35"/>
                  <a:gd name="T9" fmla="*/ 2147483646 h 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5" h="65">
                    <a:moveTo>
                      <a:pt x="25" y="12"/>
                    </a:moveTo>
                    <a:cubicBezTo>
                      <a:pt x="0" y="0"/>
                      <a:pt x="1" y="55"/>
                      <a:pt x="3" y="65"/>
                    </a:cubicBezTo>
                    <a:cubicBezTo>
                      <a:pt x="6" y="58"/>
                      <a:pt x="5" y="43"/>
                      <a:pt x="14" y="41"/>
                    </a:cubicBezTo>
                    <a:cubicBezTo>
                      <a:pt x="21" y="39"/>
                      <a:pt x="29" y="47"/>
                      <a:pt x="33" y="51"/>
                    </a:cubicBezTo>
                    <a:cubicBezTo>
                      <a:pt x="35" y="41"/>
                      <a:pt x="35" y="32"/>
                      <a:pt x="30" y="23"/>
                    </a:cubicBezTo>
                  </a:path>
                </a:pathLst>
              </a:custGeom>
              <a:solidFill>
                <a:srgbClr val="FED6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5" name="Freeform 184"/>
              <p:cNvSpPr>
                <a:spLocks/>
              </p:cNvSpPr>
              <p:nvPr/>
            </p:nvSpPr>
            <p:spPr bwMode="auto">
              <a:xfrm>
                <a:off x="-742109" y="4177315"/>
                <a:ext cx="181249" cy="218398"/>
              </a:xfrm>
              <a:custGeom>
                <a:avLst/>
                <a:gdLst>
                  <a:gd name="T0" fmla="*/ 0 w 49"/>
                  <a:gd name="T1" fmla="*/ 2147483646 h 55"/>
                  <a:gd name="T2" fmla="*/ 2147483646 w 49"/>
                  <a:gd name="T3" fmla="*/ 2147483646 h 55"/>
                  <a:gd name="T4" fmla="*/ 2147483646 w 49"/>
                  <a:gd name="T5" fmla="*/ 2147483646 h 55"/>
                  <a:gd name="T6" fmla="*/ 2147483646 w 49"/>
                  <a:gd name="T7" fmla="*/ 2147483646 h 55"/>
                  <a:gd name="T8" fmla="*/ 2147483646 w 49"/>
                  <a:gd name="T9" fmla="*/ 0 h 55"/>
                  <a:gd name="T10" fmla="*/ 2147483646 w 49"/>
                  <a:gd name="T11" fmla="*/ 2147483646 h 5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9" h="55">
                    <a:moveTo>
                      <a:pt x="0" y="22"/>
                    </a:moveTo>
                    <a:cubicBezTo>
                      <a:pt x="3" y="25"/>
                      <a:pt x="5" y="30"/>
                      <a:pt x="8" y="33"/>
                    </a:cubicBezTo>
                    <a:cubicBezTo>
                      <a:pt x="11" y="36"/>
                      <a:pt x="17" y="37"/>
                      <a:pt x="21" y="38"/>
                    </a:cubicBezTo>
                    <a:cubicBezTo>
                      <a:pt x="31" y="43"/>
                      <a:pt x="40" y="49"/>
                      <a:pt x="49" y="55"/>
                    </a:cubicBezTo>
                    <a:cubicBezTo>
                      <a:pt x="33" y="41"/>
                      <a:pt x="34" y="20"/>
                      <a:pt x="34" y="0"/>
                    </a:cubicBezTo>
                    <a:cubicBezTo>
                      <a:pt x="33" y="12"/>
                      <a:pt x="26" y="35"/>
                      <a:pt x="10" y="26"/>
                    </a:cubicBezTo>
                  </a:path>
                </a:pathLst>
              </a:custGeom>
              <a:solidFill>
                <a:srgbClr val="A35B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6" name="Freeform 185"/>
              <p:cNvSpPr>
                <a:spLocks/>
              </p:cNvSpPr>
              <p:nvPr/>
            </p:nvSpPr>
            <p:spPr bwMode="auto">
              <a:xfrm>
                <a:off x="-1002097" y="3999031"/>
                <a:ext cx="352099" cy="472454"/>
              </a:xfrm>
              <a:custGeom>
                <a:avLst/>
                <a:gdLst>
                  <a:gd name="T0" fmla="*/ 2147483646 w 95"/>
                  <a:gd name="T1" fmla="*/ 0 h 119"/>
                  <a:gd name="T2" fmla="*/ 2147483646 w 95"/>
                  <a:gd name="T3" fmla="*/ 2147483646 h 119"/>
                  <a:gd name="T4" fmla="*/ 2147483646 w 95"/>
                  <a:gd name="T5" fmla="*/ 2147483646 h 119"/>
                  <a:gd name="T6" fmla="*/ 2147483646 w 95"/>
                  <a:gd name="T7" fmla="*/ 2147483646 h 119"/>
                  <a:gd name="T8" fmla="*/ 2147483646 w 95"/>
                  <a:gd name="T9" fmla="*/ 0 h 1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5" h="119">
                    <a:moveTo>
                      <a:pt x="47" y="0"/>
                    </a:moveTo>
                    <a:cubicBezTo>
                      <a:pt x="28" y="33"/>
                      <a:pt x="25" y="69"/>
                      <a:pt x="36" y="84"/>
                    </a:cubicBezTo>
                    <a:cubicBezTo>
                      <a:pt x="50" y="101"/>
                      <a:pt x="78" y="84"/>
                      <a:pt x="95" y="103"/>
                    </a:cubicBezTo>
                    <a:cubicBezTo>
                      <a:pt x="83" y="97"/>
                      <a:pt x="63" y="119"/>
                      <a:pt x="32" y="104"/>
                    </a:cubicBezTo>
                    <a:cubicBezTo>
                      <a:pt x="1" y="88"/>
                      <a:pt x="0" y="36"/>
                      <a:pt x="47" y="0"/>
                    </a:cubicBezTo>
                    <a:close/>
                  </a:path>
                </a:pathLst>
              </a:custGeom>
              <a:solidFill>
                <a:srgbClr val="A35B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7" name="Freeform 186"/>
              <p:cNvSpPr>
                <a:spLocks/>
              </p:cNvSpPr>
              <p:nvPr/>
            </p:nvSpPr>
            <p:spPr bwMode="auto">
              <a:xfrm>
                <a:off x="-957528" y="3892060"/>
                <a:ext cx="289702" cy="377369"/>
              </a:xfrm>
              <a:custGeom>
                <a:avLst/>
                <a:gdLst>
                  <a:gd name="T0" fmla="*/ 2147483646 w 78"/>
                  <a:gd name="T1" fmla="*/ 2147483646 h 95"/>
                  <a:gd name="T2" fmla="*/ 2147483646 w 78"/>
                  <a:gd name="T3" fmla="*/ 2147483646 h 95"/>
                  <a:gd name="T4" fmla="*/ 2147483646 w 78"/>
                  <a:gd name="T5" fmla="*/ 2147483646 h 95"/>
                  <a:gd name="T6" fmla="*/ 2147483646 w 78"/>
                  <a:gd name="T7" fmla="*/ 2147483646 h 95"/>
                  <a:gd name="T8" fmla="*/ 2147483646 w 78"/>
                  <a:gd name="T9" fmla="*/ 2147483646 h 95"/>
                  <a:gd name="T10" fmla="*/ 2147483646 w 78"/>
                  <a:gd name="T11" fmla="*/ 2147483646 h 95"/>
                  <a:gd name="T12" fmla="*/ 0 w 78"/>
                  <a:gd name="T13" fmla="*/ 2147483646 h 9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78" h="95">
                    <a:moveTo>
                      <a:pt x="19" y="95"/>
                    </a:moveTo>
                    <a:cubicBezTo>
                      <a:pt x="16" y="87"/>
                      <a:pt x="24" y="82"/>
                      <a:pt x="30" y="77"/>
                    </a:cubicBezTo>
                    <a:cubicBezTo>
                      <a:pt x="44" y="66"/>
                      <a:pt x="63" y="84"/>
                      <a:pt x="70" y="80"/>
                    </a:cubicBezTo>
                    <a:cubicBezTo>
                      <a:pt x="78" y="76"/>
                      <a:pt x="75" y="64"/>
                      <a:pt x="74" y="50"/>
                    </a:cubicBezTo>
                    <a:cubicBezTo>
                      <a:pt x="74" y="37"/>
                      <a:pt x="76" y="22"/>
                      <a:pt x="68" y="14"/>
                    </a:cubicBezTo>
                    <a:cubicBezTo>
                      <a:pt x="55" y="0"/>
                      <a:pt x="29" y="20"/>
                      <a:pt x="20" y="31"/>
                    </a:cubicBezTo>
                    <a:cubicBezTo>
                      <a:pt x="4" y="50"/>
                      <a:pt x="0" y="67"/>
                      <a:pt x="0" y="92"/>
                    </a:cubicBezTo>
                  </a:path>
                </a:pathLst>
              </a:custGeom>
              <a:solidFill>
                <a:srgbClr val="A35B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8" name="Freeform 188"/>
              <p:cNvSpPr>
                <a:spLocks/>
              </p:cNvSpPr>
              <p:nvPr/>
            </p:nvSpPr>
            <p:spPr bwMode="auto">
              <a:xfrm>
                <a:off x="-590179" y="3777661"/>
                <a:ext cx="521463" cy="1739758"/>
              </a:xfrm>
              <a:custGeom>
                <a:avLst/>
                <a:gdLst>
                  <a:gd name="T0" fmla="*/ 2147483646 w 140"/>
                  <a:gd name="T1" fmla="*/ 2147483646 h 439"/>
                  <a:gd name="T2" fmla="*/ 2147483646 w 140"/>
                  <a:gd name="T3" fmla="*/ 2147483646 h 439"/>
                  <a:gd name="T4" fmla="*/ 2147483646 w 140"/>
                  <a:gd name="T5" fmla="*/ 0 h 439"/>
                  <a:gd name="T6" fmla="*/ 2147483646 w 140"/>
                  <a:gd name="T7" fmla="*/ 2147483646 h 439"/>
                  <a:gd name="T8" fmla="*/ 2147483646 w 140"/>
                  <a:gd name="T9" fmla="*/ 2147483646 h 439"/>
                  <a:gd name="T10" fmla="*/ 2147483646 w 140"/>
                  <a:gd name="T11" fmla="*/ 2147483646 h 439"/>
                  <a:gd name="T12" fmla="*/ 2147483646 w 140"/>
                  <a:gd name="T13" fmla="*/ 2147483646 h 439"/>
                  <a:gd name="T14" fmla="*/ 2147483646 w 140"/>
                  <a:gd name="T15" fmla="*/ 2147483646 h 439"/>
                  <a:gd name="T16" fmla="*/ 2147483646 w 140"/>
                  <a:gd name="T17" fmla="*/ 2147483646 h 439"/>
                  <a:gd name="T18" fmla="*/ 2147483646 w 140"/>
                  <a:gd name="T19" fmla="*/ 2147483646 h 4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0" h="439">
                    <a:moveTo>
                      <a:pt x="27" y="183"/>
                    </a:moveTo>
                    <a:cubicBezTo>
                      <a:pt x="15" y="146"/>
                      <a:pt x="3" y="133"/>
                      <a:pt x="1" y="97"/>
                    </a:cubicBezTo>
                    <a:cubicBezTo>
                      <a:pt x="0" y="60"/>
                      <a:pt x="14" y="23"/>
                      <a:pt x="30" y="0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82" y="40"/>
                      <a:pt x="132" y="76"/>
                      <a:pt x="136" y="215"/>
                    </a:cubicBezTo>
                    <a:cubicBezTo>
                      <a:pt x="140" y="367"/>
                      <a:pt x="136" y="439"/>
                      <a:pt x="136" y="439"/>
                    </a:cubicBezTo>
                    <a:cubicBezTo>
                      <a:pt x="97" y="439"/>
                      <a:pt x="97" y="439"/>
                      <a:pt x="97" y="439"/>
                    </a:cubicBezTo>
                    <a:cubicBezTo>
                      <a:pt x="97" y="384"/>
                      <a:pt x="96" y="338"/>
                      <a:pt x="85" y="277"/>
                    </a:cubicBezTo>
                    <a:cubicBezTo>
                      <a:pt x="79" y="249"/>
                      <a:pt x="62" y="221"/>
                      <a:pt x="34" y="218"/>
                    </a:cubicBezTo>
                    <a:cubicBezTo>
                      <a:pt x="33" y="205"/>
                      <a:pt x="31" y="193"/>
                      <a:pt x="27" y="183"/>
                    </a:cubicBezTo>
                    <a:close/>
                  </a:path>
                </a:pathLst>
              </a:custGeom>
              <a:noFill/>
              <a:ln w="28575" cap="rnd">
                <a:solidFill>
                  <a:srgbClr val="FDC27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29" name="Freeform 189"/>
              <p:cNvSpPr>
                <a:spLocks/>
              </p:cNvSpPr>
              <p:nvPr/>
            </p:nvSpPr>
            <p:spPr bwMode="auto">
              <a:xfrm>
                <a:off x="-704414" y="3756416"/>
                <a:ext cx="225979" cy="172484"/>
              </a:xfrm>
              <a:custGeom>
                <a:avLst/>
                <a:gdLst>
                  <a:gd name="T0" fmla="*/ 2147483646 w 57"/>
                  <a:gd name="T1" fmla="*/ 0 h 35"/>
                  <a:gd name="T2" fmla="*/ 0 w 57"/>
                  <a:gd name="T3" fmla="*/ 2147483646 h 35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57" h="35">
                    <a:moveTo>
                      <a:pt x="57" y="0"/>
                    </a:moveTo>
                    <a:cubicBezTo>
                      <a:pt x="49" y="10"/>
                      <a:pt x="30" y="34"/>
                      <a:pt x="0" y="35"/>
                    </a:cubicBezTo>
                  </a:path>
                </a:pathLst>
              </a:custGeom>
              <a:noFill/>
              <a:ln w="28575" cap="rnd">
                <a:solidFill>
                  <a:srgbClr val="894D5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30" name="Freeform 190"/>
              <p:cNvSpPr>
                <a:spLocks/>
              </p:cNvSpPr>
              <p:nvPr/>
            </p:nvSpPr>
            <p:spPr bwMode="auto">
              <a:xfrm>
                <a:off x="-801534" y="4328753"/>
                <a:ext cx="330689" cy="324591"/>
              </a:xfrm>
              <a:custGeom>
                <a:avLst/>
                <a:gdLst>
                  <a:gd name="T0" fmla="*/ 2147483646 w 10858"/>
                  <a:gd name="T1" fmla="*/ 2147483646 h 15172"/>
                  <a:gd name="T2" fmla="*/ 2147483646 w 10858"/>
                  <a:gd name="T3" fmla="*/ 2147483646 h 15172"/>
                  <a:gd name="T4" fmla="*/ 0 w 10858"/>
                  <a:gd name="T5" fmla="*/ 2147483646 h 1517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858" h="15172">
                    <a:moveTo>
                      <a:pt x="10858" y="15172"/>
                    </a:moveTo>
                    <a:cubicBezTo>
                      <a:pt x="10362" y="13797"/>
                      <a:pt x="9921" y="9776"/>
                      <a:pt x="8615" y="6049"/>
                    </a:cubicBezTo>
                    <a:cubicBezTo>
                      <a:pt x="7309" y="2322"/>
                      <a:pt x="4146" y="-759"/>
                      <a:pt x="0" y="167"/>
                    </a:cubicBezTo>
                  </a:path>
                </a:pathLst>
              </a:custGeom>
              <a:noFill/>
              <a:ln w="28575" cap="rnd">
                <a:solidFill>
                  <a:srgbClr val="894D5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31" name="Freeform 191"/>
              <p:cNvSpPr>
                <a:spLocks/>
              </p:cNvSpPr>
              <p:nvPr/>
            </p:nvSpPr>
            <p:spPr bwMode="auto">
              <a:xfrm>
                <a:off x="-779250" y="4264972"/>
                <a:ext cx="69826" cy="71314"/>
              </a:xfrm>
              <a:custGeom>
                <a:avLst/>
                <a:gdLst>
                  <a:gd name="T0" fmla="*/ 2147483646 w 19"/>
                  <a:gd name="T1" fmla="*/ 2147483646 h 18"/>
                  <a:gd name="T2" fmla="*/ 0 w 19"/>
                  <a:gd name="T3" fmla="*/ 0 h 18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9" h="18">
                    <a:moveTo>
                      <a:pt x="19" y="18"/>
                    </a:moveTo>
                    <a:cubicBezTo>
                      <a:pt x="10" y="13"/>
                      <a:pt x="8" y="4"/>
                      <a:pt x="0" y="0"/>
                    </a:cubicBezTo>
                  </a:path>
                </a:pathLst>
              </a:custGeom>
              <a:noFill/>
              <a:ln w="28575" cap="rnd">
                <a:solidFill>
                  <a:srgbClr val="894D5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  <p:sp>
            <p:nvSpPr>
              <p:cNvPr id="632" name="Freeform 179"/>
              <p:cNvSpPr>
                <a:spLocks/>
              </p:cNvSpPr>
              <p:nvPr/>
            </p:nvSpPr>
            <p:spPr bwMode="auto">
              <a:xfrm>
                <a:off x="-1207210" y="4301965"/>
                <a:ext cx="593946" cy="737796"/>
              </a:xfrm>
              <a:custGeom>
                <a:avLst/>
                <a:gdLst>
                  <a:gd name="T0" fmla="*/ 0 w 113"/>
                  <a:gd name="T1" fmla="*/ 0 h 298"/>
                  <a:gd name="T2" fmla="*/ 2147483646 w 113"/>
                  <a:gd name="T3" fmla="*/ 2147483646 h 298"/>
                  <a:gd name="T4" fmla="*/ 2147483646 w 113"/>
                  <a:gd name="T5" fmla="*/ 2147483646 h 298"/>
                  <a:gd name="T6" fmla="*/ 2147483646 w 113"/>
                  <a:gd name="T7" fmla="*/ 2147483646 h 298"/>
                  <a:gd name="T8" fmla="*/ 2147483646 w 113"/>
                  <a:gd name="T9" fmla="*/ 2147483646 h 298"/>
                  <a:gd name="T10" fmla="*/ 2147483646 w 113"/>
                  <a:gd name="T11" fmla="*/ 2147483646 h 298"/>
                  <a:gd name="T12" fmla="*/ 0 w 113"/>
                  <a:gd name="T13" fmla="*/ 0 h 2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3" h="298">
                    <a:moveTo>
                      <a:pt x="0" y="0"/>
                    </a:moveTo>
                    <a:cubicBezTo>
                      <a:pt x="36" y="14"/>
                      <a:pt x="106" y="47"/>
                      <a:pt x="109" y="138"/>
                    </a:cubicBezTo>
                    <a:cubicBezTo>
                      <a:pt x="113" y="228"/>
                      <a:pt x="77" y="256"/>
                      <a:pt x="62" y="271"/>
                    </a:cubicBezTo>
                    <a:cubicBezTo>
                      <a:pt x="48" y="285"/>
                      <a:pt x="18" y="298"/>
                      <a:pt x="6" y="295"/>
                    </a:cubicBezTo>
                    <a:cubicBezTo>
                      <a:pt x="25" y="286"/>
                      <a:pt x="50" y="261"/>
                      <a:pt x="61" y="232"/>
                    </a:cubicBezTo>
                    <a:cubicBezTo>
                      <a:pt x="74" y="198"/>
                      <a:pt x="85" y="164"/>
                      <a:pt x="72" y="104"/>
                    </a:cubicBezTo>
                    <a:cubicBezTo>
                      <a:pt x="60" y="50"/>
                      <a:pt x="43" y="24"/>
                      <a:pt x="0" y="0"/>
                    </a:cubicBezTo>
                    <a:close/>
                  </a:path>
                </a:pathLst>
              </a:custGeom>
              <a:solidFill>
                <a:srgbClr val="894D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050" baseline="0" dirty="0">
                  <a:solidFill>
                    <a:srgbClr val="000000"/>
                  </a:solidFill>
                  <a:latin typeface="Verdana"/>
                  <a:ea typeface="MS PGothic" pitchFamily="34" charset="-128"/>
                </a:endParaRPr>
              </a:p>
            </p:txBody>
          </p:sp>
        </p:grpSp>
        <p:sp>
          <p:nvSpPr>
            <p:cNvPr id="249" name="Freihandform 14"/>
            <p:cNvSpPr>
              <a:spLocks/>
            </p:cNvSpPr>
            <p:nvPr/>
          </p:nvSpPr>
          <p:spPr bwMode="auto">
            <a:xfrm>
              <a:off x="3203575" y="1085850"/>
              <a:ext cx="1974850" cy="2563813"/>
            </a:xfrm>
            <a:custGeom>
              <a:avLst/>
              <a:gdLst>
                <a:gd name="T0" fmla="*/ 0 w 1975944"/>
                <a:gd name="T1" fmla="*/ 2395550 h 2564524"/>
                <a:gd name="T2" fmla="*/ 354002 w 1975944"/>
                <a:gd name="T3" fmla="*/ 0 h 2564524"/>
                <a:gd name="T4" fmla="*/ 1957428 w 1975944"/>
                <a:gd name="T5" fmla="*/ 418440 h 2564524"/>
                <a:gd name="T6" fmla="*/ 416473 w 1975944"/>
                <a:gd name="T7" fmla="*/ 2552464 h 2564524"/>
                <a:gd name="T8" fmla="*/ 0 w 1975944"/>
                <a:gd name="T9" fmla="*/ 2395550 h 25645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75944" h="2564524">
                  <a:moveTo>
                    <a:pt x="0" y="2406869"/>
                  </a:moveTo>
                  <a:lnTo>
                    <a:pt x="357351" y="0"/>
                  </a:lnTo>
                  <a:lnTo>
                    <a:pt x="1975944" y="420414"/>
                  </a:lnTo>
                  <a:lnTo>
                    <a:pt x="420413" y="2564524"/>
                  </a:lnTo>
                  <a:lnTo>
                    <a:pt x="0" y="2406869"/>
                  </a:lnTo>
                  <a:close/>
                </a:path>
              </a:pathLst>
            </a:custGeom>
            <a:solidFill>
              <a:srgbClr val="FEEB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50" name="Ellipse 3"/>
            <p:cNvSpPr/>
            <p:nvPr/>
          </p:nvSpPr>
          <p:spPr>
            <a:xfrm>
              <a:off x="3166419" y="3267589"/>
              <a:ext cx="506600" cy="506600"/>
            </a:xfrm>
            <a:prstGeom prst="ellipse">
              <a:avLst/>
            </a:prstGeom>
            <a:gradFill>
              <a:gsLst>
                <a:gs pos="0">
                  <a:srgbClr val="FDC270"/>
                </a:gs>
                <a:gs pos="79000">
                  <a:srgbClr val="743C4D"/>
                </a:gs>
                <a:gs pos="100000">
                  <a:srgbClr val="9A3204"/>
                </a:gs>
              </a:gsLst>
              <a:path path="circle">
                <a:fillToRect l="100000" t="100000"/>
              </a:path>
            </a:gra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black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251" name="Ellipse 268"/>
            <p:cNvSpPr>
              <a:spLocks noChangeArrowheads="1"/>
            </p:cNvSpPr>
            <p:nvPr/>
          </p:nvSpPr>
          <p:spPr bwMode="auto">
            <a:xfrm>
              <a:off x="3565525" y="346075"/>
              <a:ext cx="1701800" cy="1703388"/>
            </a:xfrm>
            <a:prstGeom prst="ellipse">
              <a:avLst/>
            </a:prstGeom>
            <a:solidFill>
              <a:srgbClr val="FEEB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252" name="Freeform 6"/>
            <p:cNvSpPr>
              <a:spLocks/>
            </p:cNvSpPr>
            <p:nvPr/>
          </p:nvSpPr>
          <p:spPr bwMode="auto">
            <a:xfrm>
              <a:off x="4033969" y="740812"/>
              <a:ext cx="652567" cy="771391"/>
            </a:xfrm>
            <a:custGeom>
              <a:avLst/>
              <a:gdLst>
                <a:gd name="T0" fmla="*/ 4 w 147"/>
                <a:gd name="T1" fmla="*/ 136 h 163"/>
                <a:gd name="T2" fmla="*/ 6 w 147"/>
                <a:gd name="T3" fmla="*/ 134 h 163"/>
                <a:gd name="T4" fmla="*/ 27 w 147"/>
                <a:gd name="T5" fmla="*/ 140 h 163"/>
                <a:gd name="T6" fmla="*/ 114 w 147"/>
                <a:gd name="T7" fmla="*/ 143 h 163"/>
                <a:gd name="T8" fmla="*/ 146 w 147"/>
                <a:gd name="T9" fmla="*/ 80 h 163"/>
                <a:gd name="T10" fmla="*/ 146 w 147"/>
                <a:gd name="T11" fmla="*/ 80 h 163"/>
                <a:gd name="T12" fmla="*/ 146 w 147"/>
                <a:gd name="T13" fmla="*/ 80 h 163"/>
                <a:gd name="T14" fmla="*/ 146 w 147"/>
                <a:gd name="T15" fmla="*/ 78 h 163"/>
                <a:gd name="T16" fmla="*/ 146 w 147"/>
                <a:gd name="T17" fmla="*/ 78 h 163"/>
                <a:gd name="T18" fmla="*/ 146 w 147"/>
                <a:gd name="T19" fmla="*/ 78 h 163"/>
                <a:gd name="T20" fmla="*/ 111 w 147"/>
                <a:gd name="T21" fmla="*/ 16 h 163"/>
                <a:gd name="T22" fmla="*/ 24 w 147"/>
                <a:gd name="T23" fmla="*/ 24 h 163"/>
                <a:gd name="T24" fmla="*/ 4 w 147"/>
                <a:gd name="T25" fmla="*/ 31 h 163"/>
                <a:gd name="T26" fmla="*/ 0 w 147"/>
                <a:gd name="T27" fmla="*/ 29 h 163"/>
                <a:gd name="T28" fmla="*/ 0 w 147"/>
                <a:gd name="T29" fmla="*/ 29 h 163"/>
                <a:gd name="T30" fmla="*/ 4 w 147"/>
                <a:gd name="T31" fmla="*/ 13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163">
                  <a:moveTo>
                    <a:pt x="4" y="136"/>
                  </a:moveTo>
                  <a:cubicBezTo>
                    <a:pt x="5" y="135"/>
                    <a:pt x="5" y="135"/>
                    <a:pt x="6" y="134"/>
                  </a:cubicBezTo>
                  <a:cubicBezTo>
                    <a:pt x="14" y="130"/>
                    <a:pt x="20" y="133"/>
                    <a:pt x="27" y="140"/>
                  </a:cubicBezTo>
                  <a:cubicBezTo>
                    <a:pt x="56" y="163"/>
                    <a:pt x="88" y="156"/>
                    <a:pt x="114" y="143"/>
                  </a:cubicBezTo>
                  <a:cubicBezTo>
                    <a:pt x="134" y="134"/>
                    <a:pt x="147" y="114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6" y="78"/>
                    <a:pt x="146" y="78"/>
                    <a:pt x="146" y="78"/>
                  </a:cubicBezTo>
                  <a:cubicBezTo>
                    <a:pt x="145" y="44"/>
                    <a:pt x="131" y="25"/>
                    <a:pt x="111" y="16"/>
                  </a:cubicBezTo>
                  <a:cubicBezTo>
                    <a:pt x="84" y="5"/>
                    <a:pt x="52" y="0"/>
                    <a:pt x="24" y="24"/>
                  </a:cubicBezTo>
                  <a:cubicBezTo>
                    <a:pt x="17" y="31"/>
                    <a:pt x="11" y="34"/>
                    <a:pt x="4" y="31"/>
                  </a:cubicBezTo>
                  <a:cubicBezTo>
                    <a:pt x="2" y="30"/>
                    <a:pt x="1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9" y="39"/>
                    <a:pt x="32" y="111"/>
                    <a:pt x="4" y="13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72604E"/>
                </a:gs>
                <a:gs pos="68000">
                  <a:srgbClr val="FFDCB9">
                    <a:shade val="67500"/>
                    <a:satMod val="115000"/>
                  </a:srgbClr>
                </a:gs>
                <a:gs pos="100000">
                  <a:srgbClr val="FFDCB9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xtLst/>
          </p:spPr>
          <p:txBody>
            <a:bodyPr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 sz="1050" baseline="0">
                <a:solidFill>
                  <a:prstClr val="black"/>
                </a:solidFill>
              </a:endParaRPr>
            </a:p>
          </p:txBody>
        </p:sp>
        <p:sp>
          <p:nvSpPr>
            <p:cNvPr id="253" name="Freeform 11"/>
            <p:cNvSpPr>
              <a:spLocks/>
            </p:cNvSpPr>
            <p:nvPr/>
          </p:nvSpPr>
          <p:spPr bwMode="auto">
            <a:xfrm>
              <a:off x="3998913" y="531813"/>
              <a:ext cx="1127125" cy="1146175"/>
            </a:xfrm>
            <a:custGeom>
              <a:avLst/>
              <a:gdLst>
                <a:gd name="T0" fmla="*/ 222 w 254"/>
                <a:gd name="T1" fmla="*/ 136 h 242"/>
                <a:gd name="T2" fmla="*/ 254 w 254"/>
                <a:gd name="T3" fmla="*/ 116 h 242"/>
                <a:gd name="T4" fmla="*/ 222 w 254"/>
                <a:gd name="T5" fmla="*/ 97 h 242"/>
                <a:gd name="T6" fmla="*/ 206 w 254"/>
                <a:gd name="T7" fmla="*/ 80 h 242"/>
                <a:gd name="T8" fmla="*/ 56 w 254"/>
                <a:gd name="T9" fmla="*/ 15 h 242"/>
                <a:gd name="T10" fmla="*/ 4 w 254"/>
                <a:gd name="T11" fmla="*/ 54 h 242"/>
                <a:gd name="T12" fmla="*/ 11 w 254"/>
                <a:gd name="T13" fmla="*/ 75 h 242"/>
                <a:gd name="T14" fmla="*/ 31 w 254"/>
                <a:gd name="T15" fmla="*/ 68 h 242"/>
                <a:gd name="T16" fmla="*/ 118 w 254"/>
                <a:gd name="T17" fmla="*/ 60 h 242"/>
                <a:gd name="T18" fmla="*/ 153 w 254"/>
                <a:gd name="T19" fmla="*/ 122 h 242"/>
                <a:gd name="T20" fmla="*/ 153 w 254"/>
                <a:gd name="T21" fmla="*/ 122 h 242"/>
                <a:gd name="T22" fmla="*/ 153 w 254"/>
                <a:gd name="T23" fmla="*/ 122 h 242"/>
                <a:gd name="T24" fmla="*/ 153 w 254"/>
                <a:gd name="T25" fmla="*/ 124 h 242"/>
                <a:gd name="T26" fmla="*/ 153 w 254"/>
                <a:gd name="T27" fmla="*/ 124 h 242"/>
                <a:gd name="T28" fmla="*/ 153 w 254"/>
                <a:gd name="T29" fmla="*/ 124 h 242"/>
                <a:gd name="T30" fmla="*/ 121 w 254"/>
                <a:gd name="T31" fmla="*/ 187 h 242"/>
                <a:gd name="T32" fmla="*/ 34 w 254"/>
                <a:gd name="T33" fmla="*/ 184 h 242"/>
                <a:gd name="T34" fmla="*/ 13 w 254"/>
                <a:gd name="T35" fmla="*/ 178 h 242"/>
                <a:gd name="T36" fmla="*/ 7 w 254"/>
                <a:gd name="T37" fmla="*/ 199 h 242"/>
                <a:gd name="T38" fmla="*/ 62 w 254"/>
                <a:gd name="T39" fmla="*/ 235 h 242"/>
                <a:gd name="T40" fmla="*/ 210 w 254"/>
                <a:gd name="T41" fmla="*/ 151 h 242"/>
                <a:gd name="T42" fmla="*/ 222 w 254"/>
                <a:gd name="T43" fmla="*/ 136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4" h="242">
                  <a:moveTo>
                    <a:pt x="222" y="136"/>
                  </a:moveTo>
                  <a:cubicBezTo>
                    <a:pt x="235" y="133"/>
                    <a:pt x="254" y="129"/>
                    <a:pt x="254" y="116"/>
                  </a:cubicBezTo>
                  <a:cubicBezTo>
                    <a:pt x="253" y="103"/>
                    <a:pt x="236" y="100"/>
                    <a:pt x="222" y="97"/>
                  </a:cubicBezTo>
                  <a:cubicBezTo>
                    <a:pt x="210" y="95"/>
                    <a:pt x="207" y="84"/>
                    <a:pt x="206" y="80"/>
                  </a:cubicBezTo>
                  <a:cubicBezTo>
                    <a:pt x="181" y="0"/>
                    <a:pt x="91" y="7"/>
                    <a:pt x="56" y="15"/>
                  </a:cubicBezTo>
                  <a:cubicBezTo>
                    <a:pt x="32" y="21"/>
                    <a:pt x="11" y="39"/>
                    <a:pt x="4" y="54"/>
                  </a:cubicBezTo>
                  <a:cubicBezTo>
                    <a:pt x="0" y="62"/>
                    <a:pt x="3" y="71"/>
                    <a:pt x="11" y="75"/>
                  </a:cubicBezTo>
                  <a:cubicBezTo>
                    <a:pt x="18" y="78"/>
                    <a:pt x="24" y="75"/>
                    <a:pt x="31" y="68"/>
                  </a:cubicBezTo>
                  <a:cubicBezTo>
                    <a:pt x="59" y="44"/>
                    <a:pt x="91" y="49"/>
                    <a:pt x="118" y="60"/>
                  </a:cubicBezTo>
                  <a:cubicBezTo>
                    <a:pt x="138" y="69"/>
                    <a:pt x="152" y="88"/>
                    <a:pt x="153" y="122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4" y="158"/>
                    <a:pt x="141" y="178"/>
                    <a:pt x="121" y="187"/>
                  </a:cubicBezTo>
                  <a:cubicBezTo>
                    <a:pt x="95" y="200"/>
                    <a:pt x="63" y="207"/>
                    <a:pt x="34" y="184"/>
                  </a:cubicBezTo>
                  <a:cubicBezTo>
                    <a:pt x="27" y="177"/>
                    <a:pt x="21" y="174"/>
                    <a:pt x="13" y="178"/>
                  </a:cubicBezTo>
                  <a:cubicBezTo>
                    <a:pt x="6" y="182"/>
                    <a:pt x="3" y="192"/>
                    <a:pt x="7" y="199"/>
                  </a:cubicBezTo>
                  <a:cubicBezTo>
                    <a:pt x="16" y="214"/>
                    <a:pt x="37" y="231"/>
                    <a:pt x="62" y="235"/>
                  </a:cubicBezTo>
                  <a:cubicBezTo>
                    <a:pt x="98" y="242"/>
                    <a:pt x="195" y="239"/>
                    <a:pt x="210" y="151"/>
                  </a:cubicBezTo>
                  <a:cubicBezTo>
                    <a:pt x="211" y="147"/>
                    <a:pt x="213" y="138"/>
                    <a:pt x="222" y="136"/>
                  </a:cubicBezTo>
                  <a:close/>
                </a:path>
              </a:pathLst>
            </a:custGeom>
            <a:solidFill>
              <a:srgbClr val="FED9A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 sz="1050" baseline="0">
                <a:solidFill>
                  <a:prstClr val="black"/>
                </a:solidFill>
              </a:endParaRPr>
            </a:p>
          </p:txBody>
        </p:sp>
        <p:sp>
          <p:nvSpPr>
            <p:cNvPr id="254" name="Freeform 12"/>
            <p:cNvSpPr>
              <a:spLocks/>
            </p:cNvSpPr>
            <p:nvPr/>
          </p:nvSpPr>
          <p:spPr bwMode="auto">
            <a:xfrm>
              <a:off x="4025900" y="500063"/>
              <a:ext cx="1077913" cy="1146175"/>
            </a:xfrm>
            <a:custGeom>
              <a:avLst/>
              <a:gdLst>
                <a:gd name="T0" fmla="*/ 2147483646 w 243"/>
                <a:gd name="T1" fmla="*/ 2147483646 h 242"/>
                <a:gd name="T2" fmla="*/ 2147483646 w 243"/>
                <a:gd name="T3" fmla="*/ 2147483646 h 242"/>
                <a:gd name="T4" fmla="*/ 2147483646 w 243"/>
                <a:gd name="T5" fmla="*/ 2147483646 h 242"/>
                <a:gd name="T6" fmla="*/ 2147483646 w 243"/>
                <a:gd name="T7" fmla="*/ 2147483646 h 242"/>
                <a:gd name="T8" fmla="*/ 2147483646 w 243"/>
                <a:gd name="T9" fmla="*/ 2147483646 h 242"/>
                <a:gd name="T10" fmla="*/ 2147483646 w 243"/>
                <a:gd name="T11" fmla="*/ 2147483646 h 242"/>
                <a:gd name="T12" fmla="*/ 2147483646 w 243"/>
                <a:gd name="T13" fmla="*/ 2147483646 h 242"/>
                <a:gd name="T14" fmla="*/ 2147483646 w 243"/>
                <a:gd name="T15" fmla="*/ 2147483646 h 242"/>
                <a:gd name="T16" fmla="*/ 2147483646 w 243"/>
                <a:gd name="T17" fmla="*/ 2147483646 h 242"/>
                <a:gd name="T18" fmla="*/ 2147483646 w 243"/>
                <a:gd name="T19" fmla="*/ 2147483646 h 242"/>
                <a:gd name="T20" fmla="*/ 2147483646 w 243"/>
                <a:gd name="T21" fmla="*/ 2147483646 h 242"/>
                <a:gd name="T22" fmla="*/ 2147483646 w 243"/>
                <a:gd name="T23" fmla="*/ 2147483646 h 242"/>
                <a:gd name="T24" fmla="*/ 2147483646 w 243"/>
                <a:gd name="T25" fmla="*/ 2147483646 h 242"/>
                <a:gd name="T26" fmla="*/ 2147483646 w 243"/>
                <a:gd name="T27" fmla="*/ 2147483646 h 242"/>
                <a:gd name="T28" fmla="*/ 2147483646 w 243"/>
                <a:gd name="T29" fmla="*/ 2147483646 h 242"/>
                <a:gd name="T30" fmla="*/ 2147483646 w 243"/>
                <a:gd name="T31" fmla="*/ 2147483646 h 242"/>
                <a:gd name="T32" fmla="*/ 2147483646 w 243"/>
                <a:gd name="T33" fmla="*/ 2147483646 h 242"/>
                <a:gd name="T34" fmla="*/ 2147483646 w 243"/>
                <a:gd name="T35" fmla="*/ 2147483646 h 242"/>
                <a:gd name="T36" fmla="*/ 2147483646 w 243"/>
                <a:gd name="T37" fmla="*/ 2147483646 h 242"/>
                <a:gd name="T38" fmla="*/ 2147483646 w 243"/>
                <a:gd name="T39" fmla="*/ 2147483646 h 242"/>
                <a:gd name="T40" fmla="*/ 2147483646 w 243"/>
                <a:gd name="T41" fmla="*/ 2147483646 h 242"/>
                <a:gd name="T42" fmla="*/ 2147483646 w 243"/>
                <a:gd name="T43" fmla="*/ 2147483646 h 242"/>
                <a:gd name="T44" fmla="*/ 2147483646 w 243"/>
                <a:gd name="T45" fmla="*/ 2147483646 h 242"/>
                <a:gd name="T46" fmla="*/ 2147483646 w 243"/>
                <a:gd name="T47" fmla="*/ 2147483646 h 242"/>
                <a:gd name="T48" fmla="*/ 2147483646 w 243"/>
                <a:gd name="T49" fmla="*/ 2147483646 h 242"/>
                <a:gd name="T50" fmla="*/ 2147483646 w 243"/>
                <a:gd name="T51" fmla="*/ 2147483646 h 242"/>
                <a:gd name="T52" fmla="*/ 2147483646 w 243"/>
                <a:gd name="T53" fmla="*/ 2147483646 h 2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43" h="242">
                  <a:moveTo>
                    <a:pt x="7" y="77"/>
                  </a:moveTo>
                  <a:cubicBezTo>
                    <a:pt x="2" y="75"/>
                    <a:pt x="0" y="69"/>
                    <a:pt x="2" y="64"/>
                  </a:cubicBezTo>
                  <a:cubicBezTo>
                    <a:pt x="9" y="50"/>
                    <a:pt x="28" y="33"/>
                    <a:pt x="52" y="27"/>
                  </a:cubicBezTo>
                  <a:cubicBezTo>
                    <a:pt x="56" y="26"/>
                    <a:pt x="168" y="0"/>
                    <a:pt x="195" y="88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7" y="94"/>
                    <a:pt x="201" y="107"/>
                    <a:pt x="215" y="109"/>
                  </a:cubicBezTo>
                  <a:cubicBezTo>
                    <a:pt x="216" y="110"/>
                    <a:pt x="216" y="110"/>
                    <a:pt x="216" y="110"/>
                  </a:cubicBezTo>
                  <a:cubicBezTo>
                    <a:pt x="230" y="112"/>
                    <a:pt x="242" y="115"/>
                    <a:pt x="243" y="123"/>
                  </a:cubicBezTo>
                  <a:cubicBezTo>
                    <a:pt x="243" y="131"/>
                    <a:pt x="230" y="134"/>
                    <a:pt x="217" y="138"/>
                  </a:cubicBezTo>
                  <a:cubicBezTo>
                    <a:pt x="215" y="138"/>
                    <a:pt x="215" y="138"/>
                    <a:pt x="215" y="138"/>
                  </a:cubicBezTo>
                  <a:cubicBezTo>
                    <a:pt x="215" y="138"/>
                    <a:pt x="215" y="138"/>
                    <a:pt x="215" y="138"/>
                  </a:cubicBezTo>
                  <a:cubicBezTo>
                    <a:pt x="207" y="140"/>
                    <a:pt x="201" y="146"/>
                    <a:pt x="199" y="157"/>
                  </a:cubicBezTo>
                  <a:cubicBezTo>
                    <a:pt x="195" y="184"/>
                    <a:pt x="182" y="204"/>
                    <a:pt x="162" y="218"/>
                  </a:cubicBezTo>
                  <a:cubicBezTo>
                    <a:pt x="127" y="242"/>
                    <a:pt x="78" y="241"/>
                    <a:pt x="57" y="237"/>
                  </a:cubicBezTo>
                  <a:cubicBezTo>
                    <a:pt x="33" y="233"/>
                    <a:pt x="13" y="217"/>
                    <a:pt x="6" y="204"/>
                  </a:cubicBezTo>
                  <a:cubicBezTo>
                    <a:pt x="3" y="199"/>
                    <a:pt x="5" y="192"/>
                    <a:pt x="10" y="190"/>
                  </a:cubicBezTo>
                  <a:cubicBezTo>
                    <a:pt x="14" y="188"/>
                    <a:pt x="17" y="188"/>
                    <a:pt x="24" y="195"/>
                  </a:cubicBezTo>
                  <a:cubicBezTo>
                    <a:pt x="25" y="195"/>
                    <a:pt x="25" y="195"/>
                    <a:pt x="25" y="195"/>
                  </a:cubicBezTo>
                  <a:cubicBezTo>
                    <a:pt x="25" y="195"/>
                    <a:pt x="25" y="195"/>
                    <a:pt x="25" y="195"/>
                  </a:cubicBezTo>
                  <a:cubicBezTo>
                    <a:pt x="50" y="215"/>
                    <a:pt x="82" y="216"/>
                    <a:pt x="117" y="199"/>
                  </a:cubicBezTo>
                  <a:cubicBezTo>
                    <a:pt x="141" y="187"/>
                    <a:pt x="153" y="164"/>
                    <a:pt x="152" y="131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51" y="95"/>
                    <a:pt x="138" y="73"/>
                    <a:pt x="114" y="63"/>
                  </a:cubicBezTo>
                  <a:cubicBezTo>
                    <a:pt x="78" y="47"/>
                    <a:pt x="46" y="50"/>
                    <a:pt x="22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14" y="79"/>
                    <a:pt x="11" y="79"/>
                    <a:pt x="7" y="77"/>
                  </a:cubicBezTo>
                  <a:close/>
                </a:path>
              </a:pathLst>
            </a:custGeom>
            <a:gradFill rotWithShape="1">
              <a:gsLst>
                <a:gs pos="0">
                  <a:srgbClr val="9A7652"/>
                </a:gs>
                <a:gs pos="50999">
                  <a:srgbClr val="DDAB79"/>
                </a:gs>
                <a:gs pos="100000">
                  <a:srgbClr val="FFCC91"/>
                </a:gs>
              </a:gsLst>
              <a:lin ang="108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55" name="Freeform 30"/>
            <p:cNvSpPr>
              <a:spLocks/>
            </p:cNvSpPr>
            <p:nvPr/>
          </p:nvSpPr>
          <p:spPr bwMode="auto">
            <a:xfrm>
              <a:off x="4025900" y="493713"/>
              <a:ext cx="1077913" cy="639762"/>
            </a:xfrm>
            <a:custGeom>
              <a:avLst/>
              <a:gdLst>
                <a:gd name="T0" fmla="*/ 2147483646 w 243"/>
                <a:gd name="T1" fmla="*/ 2147483646 h 135"/>
                <a:gd name="T2" fmla="*/ 2147483646 w 243"/>
                <a:gd name="T3" fmla="*/ 2147483646 h 135"/>
                <a:gd name="T4" fmla="*/ 2147483646 w 243"/>
                <a:gd name="T5" fmla="*/ 2147483646 h 135"/>
                <a:gd name="T6" fmla="*/ 2147483646 w 243"/>
                <a:gd name="T7" fmla="*/ 2147483646 h 135"/>
                <a:gd name="T8" fmla="*/ 2147483646 w 243"/>
                <a:gd name="T9" fmla="*/ 2147483646 h 135"/>
                <a:gd name="T10" fmla="*/ 2147483646 w 243"/>
                <a:gd name="T11" fmla="*/ 2147483646 h 135"/>
                <a:gd name="T12" fmla="*/ 2147483646 w 243"/>
                <a:gd name="T13" fmla="*/ 2147483646 h 135"/>
                <a:gd name="T14" fmla="*/ 2147483646 w 243"/>
                <a:gd name="T15" fmla="*/ 2147483646 h 135"/>
                <a:gd name="T16" fmla="*/ 2147483646 w 243"/>
                <a:gd name="T17" fmla="*/ 2147483646 h 135"/>
                <a:gd name="T18" fmla="*/ 2147483646 w 243"/>
                <a:gd name="T19" fmla="*/ 2147483646 h 135"/>
                <a:gd name="T20" fmla="*/ 2147483646 w 243"/>
                <a:gd name="T21" fmla="*/ 2147483646 h 135"/>
                <a:gd name="T22" fmla="*/ 2147483646 w 243"/>
                <a:gd name="T23" fmla="*/ 2147483646 h 135"/>
                <a:gd name="T24" fmla="*/ 2147483646 w 243"/>
                <a:gd name="T25" fmla="*/ 2147483646 h 135"/>
                <a:gd name="T26" fmla="*/ 2147483646 w 243"/>
                <a:gd name="T27" fmla="*/ 2147483646 h 135"/>
                <a:gd name="T28" fmla="*/ 2147483646 w 243"/>
                <a:gd name="T29" fmla="*/ 2147483646 h 135"/>
                <a:gd name="T30" fmla="*/ 2147483646 w 243"/>
                <a:gd name="T31" fmla="*/ 2147483646 h 135"/>
                <a:gd name="T32" fmla="*/ 2147483646 w 243"/>
                <a:gd name="T33" fmla="*/ 2147483646 h 135"/>
                <a:gd name="T34" fmla="*/ 2147483646 w 243"/>
                <a:gd name="T35" fmla="*/ 2147483646 h 135"/>
                <a:gd name="T36" fmla="*/ 2147483646 w 243"/>
                <a:gd name="T37" fmla="*/ 2147483646 h 135"/>
                <a:gd name="T38" fmla="*/ 2147483646 w 243"/>
                <a:gd name="T39" fmla="*/ 2147483646 h 135"/>
                <a:gd name="T40" fmla="*/ 2147483646 w 243"/>
                <a:gd name="T41" fmla="*/ 2147483646 h 1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43" h="135">
                  <a:moveTo>
                    <a:pt x="216" y="110"/>
                  </a:moveTo>
                  <a:cubicBezTo>
                    <a:pt x="215" y="109"/>
                    <a:pt x="215" y="109"/>
                    <a:pt x="215" y="109"/>
                  </a:cubicBezTo>
                  <a:cubicBezTo>
                    <a:pt x="201" y="107"/>
                    <a:pt x="197" y="94"/>
                    <a:pt x="195" y="89"/>
                  </a:cubicBezTo>
                  <a:cubicBezTo>
                    <a:pt x="195" y="88"/>
                    <a:pt x="195" y="88"/>
                    <a:pt x="195" y="88"/>
                  </a:cubicBezTo>
                  <a:cubicBezTo>
                    <a:pt x="168" y="0"/>
                    <a:pt x="56" y="26"/>
                    <a:pt x="52" y="27"/>
                  </a:cubicBezTo>
                  <a:cubicBezTo>
                    <a:pt x="28" y="33"/>
                    <a:pt x="9" y="50"/>
                    <a:pt x="2" y="64"/>
                  </a:cubicBezTo>
                  <a:cubicBezTo>
                    <a:pt x="0" y="69"/>
                    <a:pt x="2" y="75"/>
                    <a:pt x="7" y="77"/>
                  </a:cubicBezTo>
                  <a:cubicBezTo>
                    <a:pt x="11" y="79"/>
                    <a:pt x="14" y="79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30" y="64"/>
                    <a:pt x="39" y="59"/>
                    <a:pt x="48" y="56"/>
                  </a:cubicBezTo>
                  <a:cubicBezTo>
                    <a:pt x="47" y="54"/>
                    <a:pt x="37" y="55"/>
                    <a:pt x="34" y="53"/>
                  </a:cubicBezTo>
                  <a:cubicBezTo>
                    <a:pt x="28" y="50"/>
                    <a:pt x="27" y="43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55" y="26"/>
                    <a:pt x="91" y="27"/>
                    <a:pt x="112" y="30"/>
                  </a:cubicBezTo>
                  <a:cubicBezTo>
                    <a:pt x="129" y="32"/>
                    <a:pt x="155" y="44"/>
                    <a:pt x="166" y="57"/>
                  </a:cubicBezTo>
                  <a:cubicBezTo>
                    <a:pt x="180" y="75"/>
                    <a:pt x="183" y="90"/>
                    <a:pt x="194" y="110"/>
                  </a:cubicBezTo>
                  <a:cubicBezTo>
                    <a:pt x="200" y="122"/>
                    <a:pt x="208" y="117"/>
                    <a:pt x="219" y="120"/>
                  </a:cubicBezTo>
                  <a:cubicBezTo>
                    <a:pt x="228" y="122"/>
                    <a:pt x="233" y="128"/>
                    <a:pt x="228" y="135"/>
                  </a:cubicBezTo>
                  <a:cubicBezTo>
                    <a:pt x="237" y="132"/>
                    <a:pt x="243" y="129"/>
                    <a:pt x="243" y="123"/>
                  </a:cubicBezTo>
                  <a:cubicBezTo>
                    <a:pt x="242" y="115"/>
                    <a:pt x="230" y="112"/>
                    <a:pt x="216" y="110"/>
                  </a:cubicBezTo>
                  <a:close/>
                </a:path>
              </a:pathLst>
            </a:custGeom>
            <a:gradFill rotWithShape="1">
              <a:gsLst>
                <a:gs pos="0">
                  <a:srgbClr val="7F3800"/>
                </a:gs>
                <a:gs pos="50000">
                  <a:srgbClr val="B85400"/>
                </a:gs>
                <a:gs pos="100000">
                  <a:srgbClr val="FFDCB9"/>
                </a:gs>
              </a:gsLst>
              <a:lin ang="108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56" name="Freeform 31"/>
            <p:cNvSpPr>
              <a:spLocks/>
            </p:cNvSpPr>
            <p:nvPr/>
          </p:nvSpPr>
          <p:spPr bwMode="auto">
            <a:xfrm>
              <a:off x="4040188" y="839788"/>
              <a:ext cx="704850" cy="782637"/>
            </a:xfrm>
            <a:custGeom>
              <a:avLst/>
              <a:gdLst>
                <a:gd name="T0" fmla="*/ 2147483646 w 159"/>
                <a:gd name="T1" fmla="*/ 2147483646 h 165"/>
                <a:gd name="T2" fmla="*/ 2147483646 w 159"/>
                <a:gd name="T3" fmla="*/ 0 h 165"/>
                <a:gd name="T4" fmla="*/ 2147483646 w 159"/>
                <a:gd name="T5" fmla="*/ 2147483646 h 165"/>
                <a:gd name="T6" fmla="*/ 2147483646 w 159"/>
                <a:gd name="T7" fmla="*/ 2147483646 h 165"/>
                <a:gd name="T8" fmla="*/ 2147483646 w 159"/>
                <a:gd name="T9" fmla="*/ 2147483646 h 165"/>
                <a:gd name="T10" fmla="*/ 2147483646 w 159"/>
                <a:gd name="T11" fmla="*/ 2147483646 h 165"/>
                <a:gd name="T12" fmla="*/ 2147483646 w 159"/>
                <a:gd name="T13" fmla="*/ 2147483646 h 165"/>
                <a:gd name="T14" fmla="*/ 2147483646 w 159"/>
                <a:gd name="T15" fmla="*/ 2147483646 h 165"/>
                <a:gd name="T16" fmla="*/ 2147483646 w 159"/>
                <a:gd name="T17" fmla="*/ 2147483646 h 165"/>
                <a:gd name="T18" fmla="*/ 2147483646 w 159"/>
                <a:gd name="T19" fmla="*/ 2147483646 h 165"/>
                <a:gd name="T20" fmla="*/ 2147483646 w 159"/>
                <a:gd name="T21" fmla="*/ 2147483646 h 165"/>
                <a:gd name="T22" fmla="*/ 2147483646 w 159"/>
                <a:gd name="T23" fmla="*/ 2147483646 h 165"/>
                <a:gd name="T24" fmla="*/ 2147483646 w 159"/>
                <a:gd name="T25" fmla="*/ 2147483646 h 165"/>
                <a:gd name="T26" fmla="*/ 2147483646 w 159"/>
                <a:gd name="T27" fmla="*/ 2147483646 h 165"/>
                <a:gd name="T28" fmla="*/ 2147483646 w 159"/>
                <a:gd name="T29" fmla="*/ 2147483646 h 165"/>
                <a:gd name="T30" fmla="*/ 2147483646 w 159"/>
                <a:gd name="T31" fmla="*/ 2147483646 h 165"/>
                <a:gd name="T32" fmla="*/ 2147483646 w 159"/>
                <a:gd name="T33" fmla="*/ 2147483646 h 165"/>
                <a:gd name="T34" fmla="*/ 2147483646 w 159"/>
                <a:gd name="T35" fmla="*/ 2147483646 h 16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9" h="165">
                  <a:moveTo>
                    <a:pt x="137" y="8"/>
                  </a:moveTo>
                  <a:cubicBezTo>
                    <a:pt x="134" y="5"/>
                    <a:pt x="130" y="3"/>
                    <a:pt x="127" y="0"/>
                  </a:cubicBezTo>
                  <a:cubicBezTo>
                    <a:pt x="141" y="13"/>
                    <a:pt x="148" y="32"/>
                    <a:pt x="149" y="57"/>
                  </a:cubicBezTo>
                  <a:cubicBezTo>
                    <a:pt x="149" y="59"/>
                    <a:pt x="149" y="59"/>
                    <a:pt x="149" y="59"/>
                  </a:cubicBezTo>
                  <a:cubicBezTo>
                    <a:pt x="150" y="92"/>
                    <a:pt x="138" y="115"/>
                    <a:pt x="114" y="127"/>
                  </a:cubicBezTo>
                  <a:cubicBezTo>
                    <a:pt x="79" y="144"/>
                    <a:pt x="47" y="143"/>
                    <a:pt x="22" y="123"/>
                  </a:cubicBezTo>
                  <a:cubicBezTo>
                    <a:pt x="22" y="123"/>
                    <a:pt x="22" y="123"/>
                    <a:pt x="22" y="123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14" y="116"/>
                    <a:pt x="11" y="116"/>
                    <a:pt x="7" y="118"/>
                  </a:cubicBezTo>
                  <a:cubicBezTo>
                    <a:pt x="2" y="120"/>
                    <a:pt x="0" y="127"/>
                    <a:pt x="3" y="132"/>
                  </a:cubicBezTo>
                  <a:cubicBezTo>
                    <a:pt x="10" y="145"/>
                    <a:pt x="29" y="160"/>
                    <a:pt x="52" y="165"/>
                  </a:cubicBezTo>
                  <a:cubicBezTo>
                    <a:pt x="47" y="162"/>
                    <a:pt x="42" y="158"/>
                    <a:pt x="41" y="154"/>
                  </a:cubicBezTo>
                  <a:cubicBezTo>
                    <a:pt x="38" y="145"/>
                    <a:pt x="51" y="147"/>
                    <a:pt x="56" y="148"/>
                  </a:cubicBezTo>
                  <a:cubicBezTo>
                    <a:pt x="67" y="149"/>
                    <a:pt x="77" y="148"/>
                    <a:pt x="87" y="146"/>
                  </a:cubicBezTo>
                  <a:cubicBezTo>
                    <a:pt x="104" y="142"/>
                    <a:pt x="119" y="135"/>
                    <a:pt x="132" y="123"/>
                  </a:cubicBezTo>
                  <a:cubicBezTo>
                    <a:pt x="137" y="118"/>
                    <a:pt x="143" y="111"/>
                    <a:pt x="148" y="105"/>
                  </a:cubicBezTo>
                  <a:cubicBezTo>
                    <a:pt x="155" y="95"/>
                    <a:pt x="157" y="77"/>
                    <a:pt x="158" y="66"/>
                  </a:cubicBezTo>
                  <a:cubicBezTo>
                    <a:pt x="159" y="46"/>
                    <a:pt x="154" y="21"/>
                    <a:pt x="137" y="8"/>
                  </a:cubicBezTo>
                  <a:close/>
                </a:path>
              </a:pathLst>
            </a:custGeom>
            <a:gradFill rotWithShape="1">
              <a:gsLst>
                <a:gs pos="0">
                  <a:srgbClr val="7F3800"/>
                </a:gs>
                <a:gs pos="50000">
                  <a:srgbClr val="B85400"/>
                </a:gs>
                <a:gs pos="100000">
                  <a:srgbClr val="FFCC99"/>
                </a:gs>
              </a:gsLst>
              <a:lin ang="108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57" name="Freeform 32"/>
            <p:cNvSpPr>
              <a:spLocks/>
            </p:cNvSpPr>
            <p:nvPr/>
          </p:nvSpPr>
          <p:spPr bwMode="auto">
            <a:xfrm>
              <a:off x="4540250" y="1289050"/>
              <a:ext cx="342900" cy="312738"/>
            </a:xfrm>
            <a:custGeom>
              <a:avLst/>
              <a:gdLst>
                <a:gd name="T0" fmla="*/ 0 w 77"/>
                <a:gd name="T1" fmla="*/ 2147483646 h 66"/>
                <a:gd name="T2" fmla="*/ 2147483646 w 77"/>
                <a:gd name="T3" fmla="*/ 0 h 66"/>
                <a:gd name="T4" fmla="*/ 0 w 77"/>
                <a:gd name="T5" fmla="*/ 2147483646 h 6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7" h="66">
                  <a:moveTo>
                    <a:pt x="0" y="66"/>
                  </a:moveTo>
                  <a:cubicBezTo>
                    <a:pt x="56" y="56"/>
                    <a:pt x="75" y="11"/>
                    <a:pt x="77" y="0"/>
                  </a:cubicBezTo>
                  <a:cubicBezTo>
                    <a:pt x="72" y="13"/>
                    <a:pt x="41" y="56"/>
                    <a:pt x="0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58" name="Freeform 33"/>
            <p:cNvSpPr>
              <a:spLocks/>
            </p:cNvSpPr>
            <p:nvPr/>
          </p:nvSpPr>
          <p:spPr bwMode="auto">
            <a:xfrm>
              <a:off x="4811713" y="842963"/>
              <a:ext cx="138112" cy="227012"/>
            </a:xfrm>
            <a:custGeom>
              <a:avLst/>
              <a:gdLst>
                <a:gd name="T0" fmla="*/ 0 w 31"/>
                <a:gd name="T1" fmla="*/ 0 h 48"/>
                <a:gd name="T2" fmla="*/ 2147483646 w 31"/>
                <a:gd name="T3" fmla="*/ 2147483646 h 48"/>
                <a:gd name="T4" fmla="*/ 2147483646 w 31"/>
                <a:gd name="T5" fmla="*/ 2147483646 h 48"/>
                <a:gd name="T6" fmla="*/ 2147483646 w 31"/>
                <a:gd name="T7" fmla="*/ 2147483646 h 48"/>
                <a:gd name="T8" fmla="*/ 0 w 31"/>
                <a:gd name="T9" fmla="*/ 0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8">
                  <a:moveTo>
                    <a:pt x="0" y="0"/>
                  </a:moveTo>
                  <a:cubicBezTo>
                    <a:pt x="7" y="12"/>
                    <a:pt x="13" y="30"/>
                    <a:pt x="15" y="36"/>
                  </a:cubicBezTo>
                  <a:cubicBezTo>
                    <a:pt x="18" y="42"/>
                    <a:pt x="26" y="46"/>
                    <a:pt x="31" y="46"/>
                  </a:cubicBezTo>
                  <a:cubicBezTo>
                    <a:pt x="20" y="48"/>
                    <a:pt x="14" y="46"/>
                    <a:pt x="12" y="35"/>
                  </a:cubicBezTo>
                  <a:cubicBezTo>
                    <a:pt x="10" y="23"/>
                    <a:pt x="0" y="2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59" name="Freeform 37"/>
            <p:cNvSpPr>
              <a:spLocks noEditPoints="1"/>
            </p:cNvSpPr>
            <p:nvPr/>
          </p:nvSpPr>
          <p:spPr bwMode="auto">
            <a:xfrm>
              <a:off x="3865563" y="646113"/>
              <a:ext cx="758825" cy="1041400"/>
            </a:xfrm>
            <a:custGeom>
              <a:avLst/>
              <a:gdLst>
                <a:gd name="T0" fmla="*/ 2147483646 w 171"/>
                <a:gd name="T1" fmla="*/ 2147483646 h 220"/>
                <a:gd name="T2" fmla="*/ 2147483646 w 171"/>
                <a:gd name="T3" fmla="*/ 2147483646 h 220"/>
                <a:gd name="T4" fmla="*/ 2147483646 w 171"/>
                <a:gd name="T5" fmla="*/ 2147483646 h 220"/>
                <a:gd name="T6" fmla="*/ 2147483646 w 171"/>
                <a:gd name="T7" fmla="*/ 2147483646 h 220"/>
                <a:gd name="T8" fmla="*/ 2147483646 w 171"/>
                <a:gd name="T9" fmla="*/ 2147483646 h 220"/>
                <a:gd name="T10" fmla="*/ 2147483646 w 171"/>
                <a:gd name="T11" fmla="*/ 2147483646 h 220"/>
                <a:gd name="T12" fmla="*/ 2147483646 w 171"/>
                <a:gd name="T13" fmla="*/ 2147483646 h 220"/>
                <a:gd name="T14" fmla="*/ 2147483646 w 171"/>
                <a:gd name="T15" fmla="*/ 2147483646 h 220"/>
                <a:gd name="T16" fmla="*/ 2147483646 w 171"/>
                <a:gd name="T17" fmla="*/ 2147483646 h 220"/>
                <a:gd name="T18" fmla="*/ 2147483646 w 171"/>
                <a:gd name="T19" fmla="*/ 2147483646 h 220"/>
                <a:gd name="T20" fmla="*/ 0 w 171"/>
                <a:gd name="T21" fmla="*/ 0 h 220"/>
                <a:gd name="T22" fmla="*/ 2147483646 w 171"/>
                <a:gd name="T23" fmla="*/ 2147483646 h 220"/>
                <a:gd name="T24" fmla="*/ 2147483646 w 171"/>
                <a:gd name="T25" fmla="*/ 2147483646 h 220"/>
                <a:gd name="T26" fmla="*/ 2147483646 w 171"/>
                <a:gd name="T27" fmla="*/ 2147483646 h 220"/>
                <a:gd name="T28" fmla="*/ 2147483646 w 171"/>
                <a:gd name="T29" fmla="*/ 2147483646 h 220"/>
                <a:gd name="T30" fmla="*/ 2147483646 w 171"/>
                <a:gd name="T31" fmla="*/ 2147483646 h 220"/>
                <a:gd name="T32" fmla="*/ 2147483646 w 171"/>
                <a:gd name="T33" fmla="*/ 2147483646 h 220"/>
                <a:gd name="T34" fmla="*/ 2147483646 w 171"/>
                <a:gd name="T35" fmla="*/ 2147483646 h 220"/>
                <a:gd name="T36" fmla="*/ 2147483646 w 171"/>
                <a:gd name="T37" fmla="*/ 2147483646 h 220"/>
                <a:gd name="T38" fmla="*/ 2147483646 w 171"/>
                <a:gd name="T39" fmla="*/ 2147483646 h 220"/>
                <a:gd name="T40" fmla="*/ 2147483646 w 171"/>
                <a:gd name="T41" fmla="*/ 2147483646 h 220"/>
                <a:gd name="T42" fmla="*/ 2147483646 w 171"/>
                <a:gd name="T43" fmla="*/ 2147483646 h 220"/>
                <a:gd name="T44" fmla="*/ 2147483646 w 171"/>
                <a:gd name="T45" fmla="*/ 2147483646 h 220"/>
                <a:gd name="T46" fmla="*/ 2147483646 w 171"/>
                <a:gd name="T47" fmla="*/ 2147483646 h 220"/>
                <a:gd name="T48" fmla="*/ 2147483646 w 171"/>
                <a:gd name="T49" fmla="*/ 2147483646 h 220"/>
                <a:gd name="T50" fmla="*/ 2147483646 w 171"/>
                <a:gd name="T51" fmla="*/ 2147483646 h 220"/>
                <a:gd name="T52" fmla="*/ 2147483646 w 171"/>
                <a:gd name="T53" fmla="*/ 2147483646 h 220"/>
                <a:gd name="T54" fmla="*/ 2147483646 w 171"/>
                <a:gd name="T55" fmla="*/ 2147483646 h 220"/>
                <a:gd name="T56" fmla="*/ 2147483646 w 171"/>
                <a:gd name="T57" fmla="*/ 2147483646 h 220"/>
                <a:gd name="T58" fmla="*/ 2147483646 w 171"/>
                <a:gd name="T59" fmla="*/ 2147483646 h 220"/>
                <a:gd name="T60" fmla="*/ 2147483646 w 171"/>
                <a:gd name="T61" fmla="*/ 2147483646 h 220"/>
                <a:gd name="T62" fmla="*/ 2147483646 w 171"/>
                <a:gd name="T63" fmla="*/ 2147483646 h 220"/>
                <a:gd name="T64" fmla="*/ 2147483646 w 171"/>
                <a:gd name="T65" fmla="*/ 2147483646 h 220"/>
                <a:gd name="T66" fmla="*/ 2147483646 w 171"/>
                <a:gd name="T67" fmla="*/ 2147483646 h 220"/>
                <a:gd name="T68" fmla="*/ 2147483646 w 171"/>
                <a:gd name="T69" fmla="*/ 2147483646 h 220"/>
                <a:gd name="T70" fmla="*/ 2147483646 w 171"/>
                <a:gd name="T71" fmla="*/ 2147483646 h 220"/>
                <a:gd name="T72" fmla="*/ 2147483646 w 171"/>
                <a:gd name="T73" fmla="*/ 2147483646 h 22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71" h="220">
                  <a:moveTo>
                    <a:pt x="32" y="132"/>
                  </a:moveTo>
                  <a:cubicBezTo>
                    <a:pt x="3" y="154"/>
                    <a:pt x="0" y="207"/>
                    <a:pt x="1" y="220"/>
                  </a:cubicBezTo>
                  <a:cubicBezTo>
                    <a:pt x="13" y="220"/>
                    <a:pt x="13" y="220"/>
                    <a:pt x="13" y="220"/>
                  </a:cubicBezTo>
                  <a:cubicBezTo>
                    <a:pt x="9" y="172"/>
                    <a:pt x="35" y="138"/>
                    <a:pt x="50" y="138"/>
                  </a:cubicBezTo>
                  <a:cubicBezTo>
                    <a:pt x="57" y="138"/>
                    <a:pt x="63" y="139"/>
                    <a:pt x="69" y="141"/>
                  </a:cubicBezTo>
                  <a:cubicBezTo>
                    <a:pt x="72" y="142"/>
                    <a:pt x="75" y="145"/>
                    <a:pt x="78" y="147"/>
                  </a:cubicBezTo>
                  <a:cubicBezTo>
                    <a:pt x="84" y="153"/>
                    <a:pt x="84" y="153"/>
                    <a:pt x="84" y="153"/>
                  </a:cubicBezTo>
                  <a:cubicBezTo>
                    <a:pt x="96" y="162"/>
                    <a:pt x="106" y="160"/>
                    <a:pt x="114" y="158"/>
                  </a:cubicBezTo>
                  <a:cubicBezTo>
                    <a:pt x="118" y="157"/>
                    <a:pt x="121" y="157"/>
                    <a:pt x="125" y="157"/>
                  </a:cubicBezTo>
                  <a:cubicBezTo>
                    <a:pt x="126" y="156"/>
                    <a:pt x="128" y="157"/>
                    <a:pt x="129" y="157"/>
                  </a:cubicBezTo>
                  <a:cubicBezTo>
                    <a:pt x="134" y="158"/>
                    <a:pt x="140" y="156"/>
                    <a:pt x="148" y="150"/>
                  </a:cubicBezTo>
                  <a:cubicBezTo>
                    <a:pt x="151" y="148"/>
                    <a:pt x="170" y="134"/>
                    <a:pt x="171" y="120"/>
                  </a:cubicBezTo>
                  <a:cubicBezTo>
                    <a:pt x="171" y="102"/>
                    <a:pt x="171" y="102"/>
                    <a:pt x="171" y="102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1" y="84"/>
                    <a:pt x="168" y="79"/>
                    <a:pt x="166" y="74"/>
                  </a:cubicBezTo>
                  <a:cubicBezTo>
                    <a:pt x="164" y="71"/>
                    <a:pt x="163" y="68"/>
                    <a:pt x="163" y="66"/>
                  </a:cubicBezTo>
                  <a:cubicBezTo>
                    <a:pt x="161" y="57"/>
                    <a:pt x="156" y="49"/>
                    <a:pt x="147" y="45"/>
                  </a:cubicBezTo>
                  <a:cubicBezTo>
                    <a:pt x="129" y="36"/>
                    <a:pt x="102" y="40"/>
                    <a:pt x="90" y="45"/>
                  </a:cubicBezTo>
                  <a:cubicBezTo>
                    <a:pt x="83" y="48"/>
                    <a:pt x="78" y="52"/>
                    <a:pt x="73" y="55"/>
                  </a:cubicBezTo>
                  <a:cubicBezTo>
                    <a:pt x="60" y="64"/>
                    <a:pt x="54" y="68"/>
                    <a:pt x="42" y="62"/>
                  </a:cubicBezTo>
                  <a:cubicBezTo>
                    <a:pt x="33" y="56"/>
                    <a:pt x="16" y="42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7" y="59"/>
                    <a:pt x="32" y="72"/>
                  </a:cubicBezTo>
                  <a:cubicBezTo>
                    <a:pt x="44" y="79"/>
                    <a:pt x="57" y="81"/>
                    <a:pt x="65" y="77"/>
                  </a:cubicBezTo>
                  <a:cubicBezTo>
                    <a:pt x="71" y="77"/>
                    <a:pt x="73" y="89"/>
                    <a:pt x="71" y="100"/>
                  </a:cubicBezTo>
                  <a:cubicBezTo>
                    <a:pt x="69" y="110"/>
                    <a:pt x="65" y="120"/>
                    <a:pt x="59" y="121"/>
                  </a:cubicBezTo>
                  <a:cubicBezTo>
                    <a:pt x="52" y="124"/>
                    <a:pt x="44" y="123"/>
                    <a:pt x="32" y="132"/>
                  </a:cubicBezTo>
                  <a:close/>
                  <a:moveTo>
                    <a:pt x="82" y="117"/>
                  </a:moveTo>
                  <a:cubicBezTo>
                    <a:pt x="76" y="113"/>
                    <a:pt x="86" y="100"/>
                    <a:pt x="84" y="93"/>
                  </a:cubicBezTo>
                  <a:cubicBezTo>
                    <a:pt x="81" y="86"/>
                    <a:pt x="78" y="83"/>
                    <a:pt x="84" y="81"/>
                  </a:cubicBezTo>
                  <a:cubicBezTo>
                    <a:pt x="88" y="80"/>
                    <a:pt x="95" y="85"/>
                    <a:pt x="97" y="93"/>
                  </a:cubicBezTo>
                  <a:cubicBezTo>
                    <a:pt x="99" y="100"/>
                    <a:pt x="95" y="104"/>
                    <a:pt x="93" y="111"/>
                  </a:cubicBezTo>
                  <a:cubicBezTo>
                    <a:pt x="90" y="119"/>
                    <a:pt x="87" y="122"/>
                    <a:pt x="82" y="117"/>
                  </a:cubicBezTo>
                  <a:close/>
                  <a:moveTo>
                    <a:pt x="95" y="137"/>
                  </a:moveTo>
                  <a:cubicBezTo>
                    <a:pt x="91" y="133"/>
                    <a:pt x="97" y="121"/>
                    <a:pt x="101" y="118"/>
                  </a:cubicBezTo>
                  <a:cubicBezTo>
                    <a:pt x="105" y="115"/>
                    <a:pt x="109" y="121"/>
                    <a:pt x="111" y="125"/>
                  </a:cubicBezTo>
                  <a:cubicBezTo>
                    <a:pt x="112" y="129"/>
                    <a:pt x="111" y="140"/>
                    <a:pt x="107" y="143"/>
                  </a:cubicBezTo>
                  <a:cubicBezTo>
                    <a:pt x="103" y="146"/>
                    <a:pt x="100" y="144"/>
                    <a:pt x="95" y="137"/>
                  </a:cubicBezTo>
                  <a:close/>
                  <a:moveTo>
                    <a:pt x="141" y="138"/>
                  </a:moveTo>
                  <a:cubicBezTo>
                    <a:pt x="141" y="142"/>
                    <a:pt x="137" y="142"/>
                    <a:pt x="132" y="142"/>
                  </a:cubicBezTo>
                  <a:cubicBezTo>
                    <a:pt x="127" y="141"/>
                    <a:pt x="123" y="143"/>
                    <a:pt x="121" y="142"/>
                  </a:cubicBezTo>
                  <a:cubicBezTo>
                    <a:pt x="118" y="141"/>
                    <a:pt x="119" y="124"/>
                    <a:pt x="124" y="121"/>
                  </a:cubicBezTo>
                  <a:cubicBezTo>
                    <a:pt x="128" y="122"/>
                    <a:pt x="132" y="129"/>
                    <a:pt x="137" y="131"/>
                  </a:cubicBezTo>
                  <a:cubicBezTo>
                    <a:pt x="141" y="131"/>
                    <a:pt x="141" y="133"/>
                    <a:pt x="141" y="138"/>
                  </a:cubicBezTo>
                  <a:close/>
                  <a:moveTo>
                    <a:pt x="159" y="114"/>
                  </a:moveTo>
                  <a:cubicBezTo>
                    <a:pt x="159" y="118"/>
                    <a:pt x="156" y="122"/>
                    <a:pt x="152" y="124"/>
                  </a:cubicBezTo>
                  <a:cubicBezTo>
                    <a:pt x="147" y="127"/>
                    <a:pt x="148" y="114"/>
                    <a:pt x="150" y="110"/>
                  </a:cubicBezTo>
                  <a:cubicBezTo>
                    <a:pt x="153" y="105"/>
                    <a:pt x="160" y="106"/>
                    <a:pt x="159" y="114"/>
                  </a:cubicBezTo>
                  <a:close/>
                  <a:moveTo>
                    <a:pt x="146" y="101"/>
                  </a:moveTo>
                  <a:cubicBezTo>
                    <a:pt x="145" y="109"/>
                    <a:pt x="144" y="111"/>
                    <a:pt x="141" y="113"/>
                  </a:cubicBezTo>
                  <a:cubicBezTo>
                    <a:pt x="138" y="114"/>
                    <a:pt x="137" y="118"/>
                    <a:pt x="132" y="115"/>
                  </a:cubicBezTo>
                  <a:cubicBezTo>
                    <a:pt x="126" y="113"/>
                    <a:pt x="134" y="105"/>
                    <a:pt x="135" y="97"/>
                  </a:cubicBezTo>
                  <a:cubicBezTo>
                    <a:pt x="136" y="90"/>
                    <a:pt x="134" y="89"/>
                    <a:pt x="139" y="89"/>
                  </a:cubicBezTo>
                  <a:cubicBezTo>
                    <a:pt x="144" y="87"/>
                    <a:pt x="147" y="93"/>
                    <a:pt x="146" y="101"/>
                  </a:cubicBezTo>
                  <a:close/>
                  <a:moveTo>
                    <a:pt x="153" y="83"/>
                  </a:moveTo>
                  <a:cubicBezTo>
                    <a:pt x="153" y="87"/>
                    <a:pt x="152" y="89"/>
                    <a:pt x="150" y="85"/>
                  </a:cubicBezTo>
                  <a:cubicBezTo>
                    <a:pt x="147" y="81"/>
                    <a:pt x="147" y="79"/>
                    <a:pt x="149" y="76"/>
                  </a:cubicBezTo>
                  <a:cubicBezTo>
                    <a:pt x="152" y="75"/>
                    <a:pt x="153" y="80"/>
                    <a:pt x="153" y="83"/>
                  </a:cubicBezTo>
                  <a:close/>
                  <a:moveTo>
                    <a:pt x="127" y="93"/>
                  </a:moveTo>
                  <a:cubicBezTo>
                    <a:pt x="127" y="99"/>
                    <a:pt x="124" y="99"/>
                    <a:pt x="121" y="103"/>
                  </a:cubicBezTo>
                  <a:cubicBezTo>
                    <a:pt x="118" y="106"/>
                    <a:pt x="114" y="109"/>
                    <a:pt x="110" y="103"/>
                  </a:cubicBezTo>
                  <a:cubicBezTo>
                    <a:pt x="107" y="97"/>
                    <a:pt x="106" y="94"/>
                    <a:pt x="107" y="88"/>
                  </a:cubicBezTo>
                  <a:cubicBezTo>
                    <a:pt x="108" y="83"/>
                    <a:pt x="110" y="82"/>
                    <a:pt x="115" y="79"/>
                  </a:cubicBezTo>
                  <a:cubicBezTo>
                    <a:pt x="122" y="77"/>
                    <a:pt x="128" y="86"/>
                    <a:pt x="127" y="93"/>
                  </a:cubicBezTo>
                  <a:close/>
                  <a:moveTo>
                    <a:pt x="136" y="57"/>
                  </a:moveTo>
                  <a:cubicBezTo>
                    <a:pt x="141" y="57"/>
                    <a:pt x="143" y="57"/>
                    <a:pt x="143" y="61"/>
                  </a:cubicBezTo>
                  <a:cubicBezTo>
                    <a:pt x="143" y="65"/>
                    <a:pt x="143" y="69"/>
                    <a:pt x="140" y="73"/>
                  </a:cubicBezTo>
                  <a:cubicBezTo>
                    <a:pt x="137" y="77"/>
                    <a:pt x="135" y="74"/>
                    <a:pt x="130" y="72"/>
                  </a:cubicBezTo>
                  <a:cubicBezTo>
                    <a:pt x="124" y="71"/>
                    <a:pt x="121" y="70"/>
                    <a:pt x="119" y="63"/>
                  </a:cubicBezTo>
                  <a:cubicBezTo>
                    <a:pt x="118" y="58"/>
                    <a:pt x="131" y="58"/>
                    <a:pt x="136" y="57"/>
                  </a:cubicBezTo>
                  <a:close/>
                  <a:moveTo>
                    <a:pt x="110" y="61"/>
                  </a:moveTo>
                  <a:cubicBezTo>
                    <a:pt x="111" y="66"/>
                    <a:pt x="109" y="67"/>
                    <a:pt x="106" y="70"/>
                  </a:cubicBezTo>
                  <a:cubicBezTo>
                    <a:pt x="103" y="72"/>
                    <a:pt x="96" y="78"/>
                    <a:pt x="95" y="74"/>
                  </a:cubicBezTo>
                  <a:cubicBezTo>
                    <a:pt x="94" y="71"/>
                    <a:pt x="93" y="68"/>
                    <a:pt x="95" y="65"/>
                  </a:cubicBezTo>
                  <a:cubicBezTo>
                    <a:pt x="98" y="62"/>
                    <a:pt x="108" y="58"/>
                    <a:pt x="110" y="61"/>
                  </a:cubicBezTo>
                  <a:close/>
                </a:path>
              </a:pathLst>
            </a:custGeom>
            <a:solidFill>
              <a:srgbClr val="FF3300"/>
            </a:soli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0" name="Freeform 38"/>
            <p:cNvSpPr>
              <a:spLocks noEditPoints="1"/>
            </p:cNvSpPr>
            <p:nvPr/>
          </p:nvSpPr>
          <p:spPr bwMode="auto">
            <a:xfrm>
              <a:off x="3863975" y="646113"/>
              <a:ext cx="758825" cy="1041400"/>
            </a:xfrm>
            <a:custGeom>
              <a:avLst/>
              <a:gdLst>
                <a:gd name="T0" fmla="*/ 1 w 171"/>
                <a:gd name="T1" fmla="*/ 220 h 220"/>
                <a:gd name="T2" fmla="*/ 50 w 171"/>
                <a:gd name="T3" fmla="*/ 138 h 220"/>
                <a:gd name="T4" fmla="*/ 78 w 171"/>
                <a:gd name="T5" fmla="*/ 147 h 220"/>
                <a:gd name="T6" fmla="*/ 114 w 171"/>
                <a:gd name="T7" fmla="*/ 158 h 220"/>
                <a:gd name="T8" fmla="*/ 129 w 171"/>
                <a:gd name="T9" fmla="*/ 157 h 220"/>
                <a:gd name="T10" fmla="*/ 171 w 171"/>
                <a:gd name="T11" fmla="*/ 120 h 220"/>
                <a:gd name="T12" fmla="*/ 171 w 171"/>
                <a:gd name="T13" fmla="*/ 91 h 220"/>
                <a:gd name="T14" fmla="*/ 163 w 171"/>
                <a:gd name="T15" fmla="*/ 66 h 220"/>
                <a:gd name="T16" fmla="*/ 90 w 171"/>
                <a:gd name="T17" fmla="*/ 45 h 220"/>
                <a:gd name="T18" fmla="*/ 42 w 171"/>
                <a:gd name="T19" fmla="*/ 62 h 220"/>
                <a:gd name="T20" fmla="*/ 0 w 171"/>
                <a:gd name="T21" fmla="*/ 0 h 220"/>
                <a:gd name="T22" fmla="*/ 65 w 171"/>
                <a:gd name="T23" fmla="*/ 77 h 220"/>
                <a:gd name="T24" fmla="*/ 59 w 171"/>
                <a:gd name="T25" fmla="*/ 121 h 220"/>
                <a:gd name="T26" fmla="*/ 82 w 171"/>
                <a:gd name="T27" fmla="*/ 117 h 220"/>
                <a:gd name="T28" fmla="*/ 84 w 171"/>
                <a:gd name="T29" fmla="*/ 81 h 220"/>
                <a:gd name="T30" fmla="*/ 93 w 171"/>
                <a:gd name="T31" fmla="*/ 111 h 220"/>
                <a:gd name="T32" fmla="*/ 95 w 171"/>
                <a:gd name="T33" fmla="*/ 137 h 220"/>
                <a:gd name="T34" fmla="*/ 111 w 171"/>
                <a:gd name="T35" fmla="*/ 125 h 220"/>
                <a:gd name="T36" fmla="*/ 95 w 171"/>
                <a:gd name="T37" fmla="*/ 137 h 220"/>
                <a:gd name="T38" fmla="*/ 132 w 171"/>
                <a:gd name="T39" fmla="*/ 142 h 220"/>
                <a:gd name="T40" fmla="*/ 124 w 171"/>
                <a:gd name="T41" fmla="*/ 121 h 220"/>
                <a:gd name="T42" fmla="*/ 141 w 171"/>
                <a:gd name="T43" fmla="*/ 138 h 220"/>
                <a:gd name="T44" fmla="*/ 152 w 171"/>
                <a:gd name="T45" fmla="*/ 124 h 220"/>
                <a:gd name="T46" fmla="*/ 159 w 171"/>
                <a:gd name="T47" fmla="*/ 114 h 220"/>
                <a:gd name="T48" fmla="*/ 141 w 171"/>
                <a:gd name="T49" fmla="*/ 113 h 220"/>
                <a:gd name="T50" fmla="*/ 135 w 171"/>
                <a:gd name="T51" fmla="*/ 97 h 220"/>
                <a:gd name="T52" fmla="*/ 146 w 171"/>
                <a:gd name="T53" fmla="*/ 101 h 220"/>
                <a:gd name="T54" fmla="*/ 150 w 171"/>
                <a:gd name="T55" fmla="*/ 85 h 220"/>
                <a:gd name="T56" fmla="*/ 153 w 171"/>
                <a:gd name="T57" fmla="*/ 83 h 220"/>
                <a:gd name="T58" fmla="*/ 121 w 171"/>
                <a:gd name="T59" fmla="*/ 103 h 220"/>
                <a:gd name="T60" fmla="*/ 107 w 171"/>
                <a:gd name="T61" fmla="*/ 88 h 220"/>
                <a:gd name="T62" fmla="*/ 127 w 171"/>
                <a:gd name="T63" fmla="*/ 93 h 220"/>
                <a:gd name="T64" fmla="*/ 143 w 171"/>
                <a:gd name="T65" fmla="*/ 61 h 220"/>
                <a:gd name="T66" fmla="*/ 130 w 171"/>
                <a:gd name="T67" fmla="*/ 72 h 220"/>
                <a:gd name="T68" fmla="*/ 136 w 171"/>
                <a:gd name="T69" fmla="*/ 57 h 220"/>
                <a:gd name="T70" fmla="*/ 106 w 171"/>
                <a:gd name="T71" fmla="*/ 70 h 220"/>
                <a:gd name="T72" fmla="*/ 95 w 171"/>
                <a:gd name="T73" fmla="*/ 6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" h="220">
                  <a:moveTo>
                    <a:pt x="32" y="132"/>
                  </a:moveTo>
                  <a:cubicBezTo>
                    <a:pt x="3" y="154"/>
                    <a:pt x="0" y="207"/>
                    <a:pt x="1" y="220"/>
                  </a:cubicBezTo>
                  <a:cubicBezTo>
                    <a:pt x="13" y="220"/>
                    <a:pt x="13" y="220"/>
                    <a:pt x="13" y="220"/>
                  </a:cubicBezTo>
                  <a:cubicBezTo>
                    <a:pt x="9" y="172"/>
                    <a:pt x="35" y="138"/>
                    <a:pt x="50" y="138"/>
                  </a:cubicBezTo>
                  <a:cubicBezTo>
                    <a:pt x="57" y="138"/>
                    <a:pt x="63" y="139"/>
                    <a:pt x="69" y="141"/>
                  </a:cubicBezTo>
                  <a:cubicBezTo>
                    <a:pt x="72" y="142"/>
                    <a:pt x="75" y="145"/>
                    <a:pt x="78" y="147"/>
                  </a:cubicBezTo>
                  <a:cubicBezTo>
                    <a:pt x="84" y="153"/>
                    <a:pt x="84" y="153"/>
                    <a:pt x="84" y="153"/>
                  </a:cubicBezTo>
                  <a:cubicBezTo>
                    <a:pt x="96" y="162"/>
                    <a:pt x="106" y="160"/>
                    <a:pt x="114" y="158"/>
                  </a:cubicBezTo>
                  <a:cubicBezTo>
                    <a:pt x="118" y="157"/>
                    <a:pt x="121" y="157"/>
                    <a:pt x="125" y="157"/>
                  </a:cubicBezTo>
                  <a:cubicBezTo>
                    <a:pt x="126" y="156"/>
                    <a:pt x="128" y="157"/>
                    <a:pt x="129" y="157"/>
                  </a:cubicBezTo>
                  <a:cubicBezTo>
                    <a:pt x="134" y="158"/>
                    <a:pt x="140" y="156"/>
                    <a:pt x="148" y="150"/>
                  </a:cubicBezTo>
                  <a:cubicBezTo>
                    <a:pt x="151" y="148"/>
                    <a:pt x="170" y="134"/>
                    <a:pt x="171" y="120"/>
                  </a:cubicBezTo>
                  <a:cubicBezTo>
                    <a:pt x="171" y="102"/>
                    <a:pt x="171" y="102"/>
                    <a:pt x="171" y="102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1" y="84"/>
                    <a:pt x="168" y="79"/>
                    <a:pt x="166" y="74"/>
                  </a:cubicBezTo>
                  <a:cubicBezTo>
                    <a:pt x="164" y="71"/>
                    <a:pt x="163" y="68"/>
                    <a:pt x="163" y="66"/>
                  </a:cubicBezTo>
                  <a:cubicBezTo>
                    <a:pt x="161" y="57"/>
                    <a:pt x="156" y="49"/>
                    <a:pt x="147" y="45"/>
                  </a:cubicBezTo>
                  <a:cubicBezTo>
                    <a:pt x="129" y="36"/>
                    <a:pt x="102" y="40"/>
                    <a:pt x="90" y="45"/>
                  </a:cubicBezTo>
                  <a:cubicBezTo>
                    <a:pt x="83" y="48"/>
                    <a:pt x="78" y="52"/>
                    <a:pt x="73" y="55"/>
                  </a:cubicBezTo>
                  <a:cubicBezTo>
                    <a:pt x="60" y="64"/>
                    <a:pt x="54" y="68"/>
                    <a:pt x="42" y="62"/>
                  </a:cubicBezTo>
                  <a:cubicBezTo>
                    <a:pt x="33" y="56"/>
                    <a:pt x="16" y="42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7" y="59"/>
                    <a:pt x="32" y="72"/>
                  </a:cubicBezTo>
                  <a:cubicBezTo>
                    <a:pt x="44" y="79"/>
                    <a:pt x="57" y="81"/>
                    <a:pt x="65" y="77"/>
                  </a:cubicBezTo>
                  <a:cubicBezTo>
                    <a:pt x="71" y="77"/>
                    <a:pt x="73" y="89"/>
                    <a:pt x="71" y="100"/>
                  </a:cubicBezTo>
                  <a:cubicBezTo>
                    <a:pt x="69" y="110"/>
                    <a:pt x="65" y="120"/>
                    <a:pt x="59" y="121"/>
                  </a:cubicBezTo>
                  <a:cubicBezTo>
                    <a:pt x="52" y="124"/>
                    <a:pt x="44" y="123"/>
                    <a:pt x="32" y="132"/>
                  </a:cubicBezTo>
                  <a:close/>
                  <a:moveTo>
                    <a:pt x="82" y="117"/>
                  </a:moveTo>
                  <a:cubicBezTo>
                    <a:pt x="76" y="113"/>
                    <a:pt x="86" y="100"/>
                    <a:pt x="84" y="93"/>
                  </a:cubicBezTo>
                  <a:cubicBezTo>
                    <a:pt x="81" y="86"/>
                    <a:pt x="78" y="83"/>
                    <a:pt x="84" y="81"/>
                  </a:cubicBezTo>
                  <a:cubicBezTo>
                    <a:pt x="88" y="80"/>
                    <a:pt x="95" y="85"/>
                    <a:pt x="97" y="93"/>
                  </a:cubicBezTo>
                  <a:cubicBezTo>
                    <a:pt x="99" y="100"/>
                    <a:pt x="95" y="104"/>
                    <a:pt x="93" y="111"/>
                  </a:cubicBezTo>
                  <a:cubicBezTo>
                    <a:pt x="90" y="119"/>
                    <a:pt x="87" y="122"/>
                    <a:pt x="82" y="117"/>
                  </a:cubicBezTo>
                  <a:close/>
                  <a:moveTo>
                    <a:pt x="95" y="137"/>
                  </a:moveTo>
                  <a:cubicBezTo>
                    <a:pt x="91" y="133"/>
                    <a:pt x="97" y="121"/>
                    <a:pt x="101" y="118"/>
                  </a:cubicBezTo>
                  <a:cubicBezTo>
                    <a:pt x="105" y="115"/>
                    <a:pt x="109" y="121"/>
                    <a:pt x="111" y="125"/>
                  </a:cubicBezTo>
                  <a:cubicBezTo>
                    <a:pt x="112" y="129"/>
                    <a:pt x="111" y="140"/>
                    <a:pt x="107" y="143"/>
                  </a:cubicBezTo>
                  <a:cubicBezTo>
                    <a:pt x="103" y="146"/>
                    <a:pt x="100" y="144"/>
                    <a:pt x="95" y="137"/>
                  </a:cubicBezTo>
                  <a:close/>
                  <a:moveTo>
                    <a:pt x="141" y="138"/>
                  </a:moveTo>
                  <a:cubicBezTo>
                    <a:pt x="141" y="142"/>
                    <a:pt x="137" y="142"/>
                    <a:pt x="132" y="142"/>
                  </a:cubicBezTo>
                  <a:cubicBezTo>
                    <a:pt x="127" y="141"/>
                    <a:pt x="123" y="143"/>
                    <a:pt x="121" y="142"/>
                  </a:cubicBezTo>
                  <a:cubicBezTo>
                    <a:pt x="118" y="141"/>
                    <a:pt x="119" y="124"/>
                    <a:pt x="124" y="121"/>
                  </a:cubicBezTo>
                  <a:cubicBezTo>
                    <a:pt x="128" y="122"/>
                    <a:pt x="132" y="129"/>
                    <a:pt x="137" y="131"/>
                  </a:cubicBezTo>
                  <a:cubicBezTo>
                    <a:pt x="141" y="131"/>
                    <a:pt x="141" y="133"/>
                    <a:pt x="141" y="138"/>
                  </a:cubicBezTo>
                  <a:close/>
                  <a:moveTo>
                    <a:pt x="159" y="114"/>
                  </a:moveTo>
                  <a:cubicBezTo>
                    <a:pt x="159" y="118"/>
                    <a:pt x="156" y="122"/>
                    <a:pt x="152" y="124"/>
                  </a:cubicBezTo>
                  <a:cubicBezTo>
                    <a:pt x="147" y="127"/>
                    <a:pt x="148" y="114"/>
                    <a:pt x="150" y="110"/>
                  </a:cubicBezTo>
                  <a:cubicBezTo>
                    <a:pt x="153" y="105"/>
                    <a:pt x="160" y="106"/>
                    <a:pt x="159" y="114"/>
                  </a:cubicBezTo>
                  <a:close/>
                  <a:moveTo>
                    <a:pt x="146" y="101"/>
                  </a:moveTo>
                  <a:cubicBezTo>
                    <a:pt x="145" y="109"/>
                    <a:pt x="144" y="111"/>
                    <a:pt x="141" y="113"/>
                  </a:cubicBezTo>
                  <a:cubicBezTo>
                    <a:pt x="138" y="114"/>
                    <a:pt x="137" y="118"/>
                    <a:pt x="132" y="115"/>
                  </a:cubicBezTo>
                  <a:cubicBezTo>
                    <a:pt x="126" y="113"/>
                    <a:pt x="134" y="105"/>
                    <a:pt x="135" y="97"/>
                  </a:cubicBezTo>
                  <a:cubicBezTo>
                    <a:pt x="136" y="90"/>
                    <a:pt x="134" y="89"/>
                    <a:pt x="139" y="89"/>
                  </a:cubicBezTo>
                  <a:cubicBezTo>
                    <a:pt x="144" y="87"/>
                    <a:pt x="147" y="93"/>
                    <a:pt x="146" y="101"/>
                  </a:cubicBezTo>
                  <a:close/>
                  <a:moveTo>
                    <a:pt x="153" y="83"/>
                  </a:moveTo>
                  <a:cubicBezTo>
                    <a:pt x="153" y="87"/>
                    <a:pt x="152" y="89"/>
                    <a:pt x="150" y="85"/>
                  </a:cubicBezTo>
                  <a:cubicBezTo>
                    <a:pt x="147" y="81"/>
                    <a:pt x="147" y="79"/>
                    <a:pt x="149" y="76"/>
                  </a:cubicBezTo>
                  <a:cubicBezTo>
                    <a:pt x="152" y="75"/>
                    <a:pt x="153" y="80"/>
                    <a:pt x="153" y="83"/>
                  </a:cubicBezTo>
                  <a:close/>
                  <a:moveTo>
                    <a:pt x="127" y="93"/>
                  </a:moveTo>
                  <a:cubicBezTo>
                    <a:pt x="127" y="99"/>
                    <a:pt x="124" y="99"/>
                    <a:pt x="121" y="103"/>
                  </a:cubicBezTo>
                  <a:cubicBezTo>
                    <a:pt x="118" y="106"/>
                    <a:pt x="114" y="109"/>
                    <a:pt x="110" y="103"/>
                  </a:cubicBezTo>
                  <a:cubicBezTo>
                    <a:pt x="107" y="97"/>
                    <a:pt x="106" y="94"/>
                    <a:pt x="107" y="88"/>
                  </a:cubicBezTo>
                  <a:cubicBezTo>
                    <a:pt x="108" y="83"/>
                    <a:pt x="110" y="82"/>
                    <a:pt x="115" y="79"/>
                  </a:cubicBezTo>
                  <a:cubicBezTo>
                    <a:pt x="122" y="77"/>
                    <a:pt x="128" y="86"/>
                    <a:pt x="127" y="93"/>
                  </a:cubicBezTo>
                  <a:close/>
                  <a:moveTo>
                    <a:pt x="136" y="57"/>
                  </a:moveTo>
                  <a:cubicBezTo>
                    <a:pt x="141" y="57"/>
                    <a:pt x="143" y="57"/>
                    <a:pt x="143" y="61"/>
                  </a:cubicBezTo>
                  <a:cubicBezTo>
                    <a:pt x="143" y="65"/>
                    <a:pt x="143" y="69"/>
                    <a:pt x="140" y="73"/>
                  </a:cubicBezTo>
                  <a:cubicBezTo>
                    <a:pt x="137" y="77"/>
                    <a:pt x="135" y="74"/>
                    <a:pt x="130" y="72"/>
                  </a:cubicBezTo>
                  <a:cubicBezTo>
                    <a:pt x="124" y="71"/>
                    <a:pt x="121" y="70"/>
                    <a:pt x="119" y="63"/>
                  </a:cubicBezTo>
                  <a:cubicBezTo>
                    <a:pt x="118" y="58"/>
                    <a:pt x="131" y="58"/>
                    <a:pt x="136" y="57"/>
                  </a:cubicBezTo>
                  <a:close/>
                  <a:moveTo>
                    <a:pt x="110" y="61"/>
                  </a:moveTo>
                  <a:cubicBezTo>
                    <a:pt x="111" y="66"/>
                    <a:pt x="109" y="67"/>
                    <a:pt x="106" y="70"/>
                  </a:cubicBezTo>
                  <a:cubicBezTo>
                    <a:pt x="103" y="72"/>
                    <a:pt x="96" y="78"/>
                    <a:pt x="95" y="74"/>
                  </a:cubicBezTo>
                  <a:cubicBezTo>
                    <a:pt x="94" y="71"/>
                    <a:pt x="93" y="68"/>
                    <a:pt x="95" y="65"/>
                  </a:cubicBezTo>
                  <a:cubicBezTo>
                    <a:pt x="98" y="62"/>
                    <a:pt x="108" y="58"/>
                    <a:pt x="110" y="61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 sz="1050" baseline="0">
                <a:solidFill>
                  <a:prstClr val="black"/>
                </a:solidFill>
              </a:endParaRPr>
            </a:p>
          </p:txBody>
        </p:sp>
        <p:sp>
          <p:nvSpPr>
            <p:cNvPr id="261" name="Freeform 41"/>
            <p:cNvSpPr>
              <a:spLocks/>
            </p:cNvSpPr>
            <p:nvPr/>
          </p:nvSpPr>
          <p:spPr bwMode="auto">
            <a:xfrm>
              <a:off x="3998913" y="531813"/>
              <a:ext cx="1127125" cy="1146175"/>
            </a:xfrm>
            <a:custGeom>
              <a:avLst/>
              <a:gdLst>
                <a:gd name="T0" fmla="*/ 2147483646 w 254"/>
                <a:gd name="T1" fmla="*/ 2147483646 h 242"/>
                <a:gd name="T2" fmla="*/ 2147483646 w 254"/>
                <a:gd name="T3" fmla="*/ 2147483646 h 242"/>
                <a:gd name="T4" fmla="*/ 2147483646 w 254"/>
                <a:gd name="T5" fmla="*/ 2147483646 h 242"/>
                <a:gd name="T6" fmla="*/ 2147483646 w 254"/>
                <a:gd name="T7" fmla="*/ 2147483646 h 242"/>
                <a:gd name="T8" fmla="*/ 2147483646 w 254"/>
                <a:gd name="T9" fmla="*/ 2147483646 h 242"/>
                <a:gd name="T10" fmla="*/ 2147483646 w 254"/>
                <a:gd name="T11" fmla="*/ 2147483646 h 242"/>
                <a:gd name="T12" fmla="*/ 2147483646 w 254"/>
                <a:gd name="T13" fmla="*/ 2147483646 h 242"/>
                <a:gd name="T14" fmla="*/ 2147483646 w 254"/>
                <a:gd name="T15" fmla="*/ 2147483646 h 242"/>
                <a:gd name="T16" fmla="*/ 2147483646 w 254"/>
                <a:gd name="T17" fmla="*/ 2147483646 h 242"/>
                <a:gd name="T18" fmla="*/ 2147483646 w 254"/>
                <a:gd name="T19" fmla="*/ 2147483646 h 242"/>
                <a:gd name="T20" fmla="*/ 2147483646 w 254"/>
                <a:gd name="T21" fmla="*/ 2147483646 h 242"/>
                <a:gd name="T22" fmla="*/ 2147483646 w 254"/>
                <a:gd name="T23" fmla="*/ 2147483646 h 242"/>
                <a:gd name="T24" fmla="*/ 2147483646 w 254"/>
                <a:gd name="T25" fmla="*/ 2147483646 h 242"/>
                <a:gd name="T26" fmla="*/ 2147483646 w 254"/>
                <a:gd name="T27" fmla="*/ 2147483646 h 242"/>
                <a:gd name="T28" fmla="*/ 2147483646 w 254"/>
                <a:gd name="T29" fmla="*/ 2147483646 h 242"/>
                <a:gd name="T30" fmla="*/ 2147483646 w 254"/>
                <a:gd name="T31" fmla="*/ 2147483646 h 242"/>
                <a:gd name="T32" fmla="*/ 2147483646 w 254"/>
                <a:gd name="T33" fmla="*/ 2147483646 h 242"/>
                <a:gd name="T34" fmla="*/ 2147483646 w 254"/>
                <a:gd name="T35" fmla="*/ 2147483646 h 242"/>
                <a:gd name="T36" fmla="*/ 2147483646 w 254"/>
                <a:gd name="T37" fmla="*/ 2147483646 h 242"/>
                <a:gd name="T38" fmla="*/ 2147483646 w 254"/>
                <a:gd name="T39" fmla="*/ 2147483646 h 242"/>
                <a:gd name="T40" fmla="*/ 2147483646 w 254"/>
                <a:gd name="T41" fmla="*/ 2147483646 h 242"/>
                <a:gd name="T42" fmla="*/ 2147483646 w 254"/>
                <a:gd name="T43" fmla="*/ 2147483646 h 24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54" h="242">
                  <a:moveTo>
                    <a:pt x="222" y="136"/>
                  </a:moveTo>
                  <a:cubicBezTo>
                    <a:pt x="235" y="133"/>
                    <a:pt x="254" y="129"/>
                    <a:pt x="254" y="116"/>
                  </a:cubicBezTo>
                  <a:cubicBezTo>
                    <a:pt x="253" y="103"/>
                    <a:pt x="236" y="100"/>
                    <a:pt x="222" y="97"/>
                  </a:cubicBezTo>
                  <a:cubicBezTo>
                    <a:pt x="210" y="95"/>
                    <a:pt x="207" y="84"/>
                    <a:pt x="206" y="80"/>
                  </a:cubicBezTo>
                  <a:cubicBezTo>
                    <a:pt x="181" y="0"/>
                    <a:pt x="91" y="7"/>
                    <a:pt x="56" y="15"/>
                  </a:cubicBezTo>
                  <a:cubicBezTo>
                    <a:pt x="32" y="21"/>
                    <a:pt x="11" y="39"/>
                    <a:pt x="4" y="54"/>
                  </a:cubicBezTo>
                  <a:cubicBezTo>
                    <a:pt x="0" y="62"/>
                    <a:pt x="3" y="71"/>
                    <a:pt x="11" y="75"/>
                  </a:cubicBezTo>
                  <a:cubicBezTo>
                    <a:pt x="18" y="78"/>
                    <a:pt x="24" y="75"/>
                    <a:pt x="31" y="68"/>
                  </a:cubicBezTo>
                  <a:cubicBezTo>
                    <a:pt x="59" y="44"/>
                    <a:pt x="91" y="49"/>
                    <a:pt x="118" y="60"/>
                  </a:cubicBezTo>
                  <a:cubicBezTo>
                    <a:pt x="138" y="69"/>
                    <a:pt x="152" y="88"/>
                    <a:pt x="153" y="122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22"/>
                    <a:pt x="153" y="122"/>
                    <a:pt x="153" y="122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3" y="124"/>
                    <a:pt x="153" y="124"/>
                    <a:pt x="153" y="124"/>
                  </a:cubicBezTo>
                  <a:cubicBezTo>
                    <a:pt x="154" y="158"/>
                    <a:pt x="141" y="178"/>
                    <a:pt x="121" y="187"/>
                  </a:cubicBezTo>
                  <a:cubicBezTo>
                    <a:pt x="95" y="200"/>
                    <a:pt x="63" y="207"/>
                    <a:pt x="34" y="184"/>
                  </a:cubicBezTo>
                  <a:cubicBezTo>
                    <a:pt x="27" y="177"/>
                    <a:pt x="21" y="174"/>
                    <a:pt x="13" y="178"/>
                  </a:cubicBezTo>
                  <a:cubicBezTo>
                    <a:pt x="6" y="182"/>
                    <a:pt x="3" y="192"/>
                    <a:pt x="7" y="199"/>
                  </a:cubicBezTo>
                  <a:cubicBezTo>
                    <a:pt x="16" y="214"/>
                    <a:pt x="37" y="231"/>
                    <a:pt x="62" y="235"/>
                  </a:cubicBezTo>
                  <a:cubicBezTo>
                    <a:pt x="98" y="242"/>
                    <a:pt x="195" y="239"/>
                    <a:pt x="210" y="151"/>
                  </a:cubicBezTo>
                  <a:cubicBezTo>
                    <a:pt x="211" y="147"/>
                    <a:pt x="213" y="138"/>
                    <a:pt x="222" y="136"/>
                  </a:cubicBezTo>
                  <a:close/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2" name="Freeform 42"/>
            <p:cNvSpPr>
              <a:spLocks/>
            </p:cNvSpPr>
            <p:nvPr/>
          </p:nvSpPr>
          <p:spPr bwMode="auto">
            <a:xfrm>
              <a:off x="4030663" y="606425"/>
              <a:ext cx="1073150" cy="1025525"/>
            </a:xfrm>
            <a:custGeom>
              <a:avLst/>
              <a:gdLst>
                <a:gd name="T0" fmla="*/ 2147483646 w 10000"/>
                <a:gd name="T1" fmla="*/ 2147483646 h 10000"/>
                <a:gd name="T2" fmla="*/ 2147483646 w 10000"/>
                <a:gd name="T3" fmla="*/ 2147483646 h 10000"/>
                <a:gd name="T4" fmla="*/ 2147483646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2147483646 h 10000"/>
                <a:gd name="T10" fmla="*/ 2147483646 w 10000"/>
                <a:gd name="T11" fmla="*/ 2147483646 h 10000"/>
                <a:gd name="T12" fmla="*/ 2147483646 w 10000"/>
                <a:gd name="T13" fmla="*/ 2147483646 h 10000"/>
                <a:gd name="T14" fmla="*/ 2147483646 w 10000"/>
                <a:gd name="T15" fmla="*/ 2147483646 h 10000"/>
                <a:gd name="T16" fmla="*/ 2147483646 w 10000"/>
                <a:gd name="T17" fmla="*/ 2147483646 h 10000"/>
                <a:gd name="T18" fmla="*/ 2147483646 w 10000"/>
                <a:gd name="T19" fmla="*/ 2147483646 h 10000"/>
                <a:gd name="T20" fmla="*/ 2147483646 w 10000"/>
                <a:gd name="T21" fmla="*/ 2147483646 h 10000"/>
                <a:gd name="T22" fmla="*/ 2147483646 w 10000"/>
                <a:gd name="T23" fmla="*/ 2147483646 h 10000"/>
                <a:gd name="T24" fmla="*/ 2147483646 w 10000"/>
                <a:gd name="T25" fmla="*/ 2147483646 h 10000"/>
                <a:gd name="T26" fmla="*/ 2147483646 w 10000"/>
                <a:gd name="T27" fmla="*/ 2147483646 h 10000"/>
                <a:gd name="T28" fmla="*/ 2147483646 w 10000"/>
                <a:gd name="T29" fmla="*/ 2147483646 h 10000"/>
                <a:gd name="T30" fmla="*/ 2147483646 w 10000"/>
                <a:gd name="T31" fmla="*/ 2147483646 h 10000"/>
                <a:gd name="T32" fmla="*/ 2147483646 w 10000"/>
                <a:gd name="T33" fmla="*/ 2147483646 h 10000"/>
                <a:gd name="T34" fmla="*/ 2147483646 w 10000"/>
                <a:gd name="T35" fmla="*/ 2147483646 h 10000"/>
                <a:gd name="T36" fmla="*/ 2147483646 w 10000"/>
                <a:gd name="T37" fmla="*/ 2147483646 h 10000"/>
                <a:gd name="T38" fmla="*/ 2147483646 w 10000"/>
                <a:gd name="T39" fmla="*/ 2147483646 h 10000"/>
                <a:gd name="T40" fmla="*/ 2147483646 w 10000"/>
                <a:gd name="T41" fmla="*/ 2147483646 h 10000"/>
                <a:gd name="T42" fmla="*/ 2147483646 w 10000"/>
                <a:gd name="T43" fmla="*/ 2147483646 h 10000"/>
                <a:gd name="T44" fmla="*/ 2147483646 w 10000"/>
                <a:gd name="T45" fmla="*/ 2147483646 h 10000"/>
                <a:gd name="T46" fmla="*/ 2147483646 w 10000"/>
                <a:gd name="T47" fmla="*/ 2147483646 h 1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00" h="10000">
                  <a:moveTo>
                    <a:pt x="239" y="2510"/>
                  </a:moveTo>
                  <a:cubicBezTo>
                    <a:pt x="32" y="2417"/>
                    <a:pt x="-50" y="2140"/>
                    <a:pt x="32" y="1910"/>
                  </a:cubicBezTo>
                  <a:cubicBezTo>
                    <a:pt x="322" y="1263"/>
                    <a:pt x="1108" y="478"/>
                    <a:pt x="2101" y="201"/>
                  </a:cubicBezTo>
                  <a:cubicBezTo>
                    <a:pt x="2266" y="154"/>
                    <a:pt x="6898" y="-1046"/>
                    <a:pt x="8015" y="3017"/>
                  </a:cubicBezTo>
                  <a:lnTo>
                    <a:pt x="8015" y="3064"/>
                  </a:lnTo>
                  <a:cubicBezTo>
                    <a:pt x="8097" y="3295"/>
                    <a:pt x="8263" y="3895"/>
                    <a:pt x="8842" y="3987"/>
                  </a:cubicBezTo>
                  <a:cubicBezTo>
                    <a:pt x="8856" y="4002"/>
                    <a:pt x="8869" y="4018"/>
                    <a:pt x="8883" y="4033"/>
                  </a:cubicBezTo>
                  <a:cubicBezTo>
                    <a:pt x="9462" y="4126"/>
                    <a:pt x="9959" y="4265"/>
                    <a:pt x="10000" y="4635"/>
                  </a:cubicBezTo>
                  <a:cubicBezTo>
                    <a:pt x="10000" y="5003"/>
                    <a:pt x="9462" y="5142"/>
                    <a:pt x="8925" y="5326"/>
                  </a:cubicBezTo>
                  <a:lnTo>
                    <a:pt x="8842" y="5326"/>
                  </a:lnTo>
                  <a:cubicBezTo>
                    <a:pt x="8512" y="5419"/>
                    <a:pt x="8263" y="5696"/>
                    <a:pt x="8180" y="6205"/>
                  </a:cubicBezTo>
                  <a:cubicBezTo>
                    <a:pt x="8015" y="7451"/>
                    <a:pt x="7477" y="8375"/>
                    <a:pt x="6650" y="9021"/>
                  </a:cubicBezTo>
                  <a:cubicBezTo>
                    <a:pt x="5202" y="10130"/>
                    <a:pt x="3176" y="10084"/>
                    <a:pt x="2308" y="9898"/>
                  </a:cubicBezTo>
                  <a:cubicBezTo>
                    <a:pt x="1315" y="9714"/>
                    <a:pt x="487" y="8975"/>
                    <a:pt x="198" y="8375"/>
                  </a:cubicBezTo>
                  <a:cubicBezTo>
                    <a:pt x="73" y="8144"/>
                    <a:pt x="157" y="7821"/>
                    <a:pt x="364" y="7728"/>
                  </a:cubicBezTo>
                  <a:cubicBezTo>
                    <a:pt x="529" y="7636"/>
                    <a:pt x="653" y="7636"/>
                    <a:pt x="943" y="7959"/>
                  </a:cubicBezTo>
                  <a:cubicBezTo>
                    <a:pt x="1778" y="8538"/>
                    <a:pt x="1681" y="8537"/>
                    <a:pt x="2738" y="8652"/>
                  </a:cubicBezTo>
                  <a:cubicBezTo>
                    <a:pt x="3600" y="8669"/>
                    <a:pt x="4275" y="8434"/>
                    <a:pt x="4878" y="8051"/>
                  </a:cubicBezTo>
                  <a:cubicBezTo>
                    <a:pt x="5603" y="7591"/>
                    <a:pt x="6233" y="6737"/>
                    <a:pt x="6236" y="5003"/>
                  </a:cubicBezTo>
                  <a:cubicBezTo>
                    <a:pt x="6209" y="4160"/>
                    <a:pt x="6182" y="3992"/>
                    <a:pt x="5889" y="3033"/>
                  </a:cubicBezTo>
                  <a:cubicBezTo>
                    <a:pt x="5636" y="2573"/>
                    <a:pt x="5494" y="2346"/>
                    <a:pt x="4664" y="1863"/>
                  </a:cubicBezTo>
                  <a:cubicBezTo>
                    <a:pt x="3176" y="1124"/>
                    <a:pt x="1852" y="1263"/>
                    <a:pt x="859" y="2233"/>
                  </a:cubicBezTo>
                  <a:cubicBezTo>
                    <a:pt x="608" y="2488"/>
                    <a:pt x="601" y="2604"/>
                    <a:pt x="239" y="2510"/>
                  </a:cubicBezTo>
                  <a:close/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3" name="Freeform 52"/>
            <p:cNvSpPr>
              <a:spLocks/>
            </p:cNvSpPr>
            <p:nvPr/>
          </p:nvSpPr>
          <p:spPr bwMode="auto">
            <a:xfrm>
              <a:off x="4279900" y="919163"/>
              <a:ext cx="77788" cy="95250"/>
            </a:xfrm>
            <a:custGeom>
              <a:avLst/>
              <a:gdLst>
                <a:gd name="T0" fmla="*/ 2147483646 w 18"/>
                <a:gd name="T1" fmla="*/ 2147483646 h 20"/>
                <a:gd name="T2" fmla="*/ 2147483646 w 18"/>
                <a:gd name="T3" fmla="*/ 2147483646 h 20"/>
                <a:gd name="T4" fmla="*/ 2147483646 w 18"/>
                <a:gd name="T5" fmla="*/ 2147483646 h 20"/>
                <a:gd name="T6" fmla="*/ 2147483646 w 18"/>
                <a:gd name="T7" fmla="*/ 2147483646 h 20"/>
                <a:gd name="T8" fmla="*/ 2147483646 w 18"/>
                <a:gd name="T9" fmla="*/ 2147483646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20">
                  <a:moveTo>
                    <a:pt x="17" y="3"/>
                  </a:moveTo>
                  <a:cubicBezTo>
                    <a:pt x="18" y="8"/>
                    <a:pt x="16" y="9"/>
                    <a:pt x="13" y="12"/>
                  </a:cubicBezTo>
                  <a:cubicBezTo>
                    <a:pt x="10" y="14"/>
                    <a:pt x="3" y="20"/>
                    <a:pt x="2" y="16"/>
                  </a:cubicBezTo>
                  <a:cubicBezTo>
                    <a:pt x="1" y="13"/>
                    <a:pt x="0" y="10"/>
                    <a:pt x="2" y="7"/>
                  </a:cubicBezTo>
                  <a:cubicBezTo>
                    <a:pt x="5" y="4"/>
                    <a:pt x="15" y="0"/>
                    <a:pt x="17" y="3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4" name="Freeform 53"/>
            <p:cNvSpPr>
              <a:spLocks/>
            </p:cNvSpPr>
            <p:nvPr/>
          </p:nvSpPr>
          <p:spPr bwMode="auto">
            <a:xfrm>
              <a:off x="4389438" y="915988"/>
              <a:ext cx="111125" cy="95250"/>
            </a:xfrm>
            <a:custGeom>
              <a:avLst/>
              <a:gdLst>
                <a:gd name="T0" fmla="*/ 2147483646 w 25"/>
                <a:gd name="T1" fmla="*/ 2147483646 h 20"/>
                <a:gd name="T2" fmla="*/ 2147483646 w 25"/>
                <a:gd name="T3" fmla="*/ 2147483646 h 20"/>
                <a:gd name="T4" fmla="*/ 2147483646 w 25"/>
                <a:gd name="T5" fmla="*/ 2147483646 h 20"/>
                <a:gd name="T6" fmla="*/ 2147483646 w 25"/>
                <a:gd name="T7" fmla="*/ 2147483646 h 20"/>
                <a:gd name="T8" fmla="*/ 2147483646 w 25"/>
                <a:gd name="T9" fmla="*/ 0 h 20"/>
                <a:gd name="T10" fmla="*/ 2147483646 w 25"/>
                <a:gd name="T11" fmla="*/ 2147483646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20">
                  <a:moveTo>
                    <a:pt x="1" y="6"/>
                  </a:moveTo>
                  <a:cubicBezTo>
                    <a:pt x="3" y="13"/>
                    <a:pt x="6" y="14"/>
                    <a:pt x="12" y="15"/>
                  </a:cubicBezTo>
                  <a:cubicBezTo>
                    <a:pt x="17" y="17"/>
                    <a:pt x="19" y="20"/>
                    <a:pt x="22" y="16"/>
                  </a:cubicBezTo>
                  <a:cubicBezTo>
                    <a:pt x="25" y="12"/>
                    <a:pt x="25" y="8"/>
                    <a:pt x="25" y="4"/>
                  </a:cubicBezTo>
                  <a:cubicBezTo>
                    <a:pt x="25" y="0"/>
                    <a:pt x="23" y="0"/>
                    <a:pt x="18" y="0"/>
                  </a:cubicBezTo>
                  <a:cubicBezTo>
                    <a:pt x="13" y="1"/>
                    <a:pt x="0" y="1"/>
                    <a:pt x="1" y="6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5" name="Freeform 54"/>
            <p:cNvSpPr>
              <a:spLocks/>
            </p:cNvSpPr>
            <p:nvPr/>
          </p:nvSpPr>
          <p:spPr bwMode="auto">
            <a:xfrm>
              <a:off x="4335463" y="1011238"/>
              <a:ext cx="100012" cy="152400"/>
            </a:xfrm>
            <a:custGeom>
              <a:avLst/>
              <a:gdLst>
                <a:gd name="T0" fmla="*/ 2147483646 w 22"/>
                <a:gd name="T1" fmla="*/ 2147483646 h 32"/>
                <a:gd name="T2" fmla="*/ 2147483646 w 22"/>
                <a:gd name="T3" fmla="*/ 2147483646 h 32"/>
                <a:gd name="T4" fmla="*/ 2147483646 w 22"/>
                <a:gd name="T5" fmla="*/ 2147483646 h 32"/>
                <a:gd name="T6" fmla="*/ 2147483646 w 22"/>
                <a:gd name="T7" fmla="*/ 2147483646 h 32"/>
                <a:gd name="T8" fmla="*/ 2147483646 w 22"/>
                <a:gd name="T9" fmla="*/ 2147483646 h 32"/>
                <a:gd name="T10" fmla="*/ 2147483646 w 22"/>
                <a:gd name="T11" fmla="*/ 2147483646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32">
                  <a:moveTo>
                    <a:pt x="9" y="2"/>
                  </a:moveTo>
                  <a:cubicBezTo>
                    <a:pt x="4" y="5"/>
                    <a:pt x="2" y="6"/>
                    <a:pt x="1" y="11"/>
                  </a:cubicBezTo>
                  <a:cubicBezTo>
                    <a:pt x="0" y="17"/>
                    <a:pt x="1" y="20"/>
                    <a:pt x="4" y="26"/>
                  </a:cubicBezTo>
                  <a:cubicBezTo>
                    <a:pt x="8" y="32"/>
                    <a:pt x="12" y="29"/>
                    <a:pt x="15" y="26"/>
                  </a:cubicBezTo>
                  <a:cubicBezTo>
                    <a:pt x="18" y="22"/>
                    <a:pt x="21" y="22"/>
                    <a:pt x="21" y="16"/>
                  </a:cubicBezTo>
                  <a:cubicBezTo>
                    <a:pt x="22" y="9"/>
                    <a:pt x="16" y="0"/>
                    <a:pt x="9" y="2"/>
                  </a:cubicBezTo>
                  <a:close/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6" name="Freeform 55"/>
            <p:cNvSpPr>
              <a:spLocks/>
            </p:cNvSpPr>
            <p:nvPr/>
          </p:nvSpPr>
          <p:spPr bwMode="auto">
            <a:xfrm>
              <a:off x="4425950" y="1058863"/>
              <a:ext cx="93663" cy="146050"/>
            </a:xfrm>
            <a:custGeom>
              <a:avLst/>
              <a:gdLst>
                <a:gd name="T0" fmla="*/ 2147483646 w 21"/>
                <a:gd name="T1" fmla="*/ 2147483646 h 31"/>
                <a:gd name="T2" fmla="*/ 2147483646 w 21"/>
                <a:gd name="T3" fmla="*/ 2147483646 h 31"/>
                <a:gd name="T4" fmla="*/ 2147483646 w 21"/>
                <a:gd name="T5" fmla="*/ 2147483646 h 31"/>
                <a:gd name="T6" fmla="*/ 2147483646 w 21"/>
                <a:gd name="T7" fmla="*/ 2147483646 h 31"/>
                <a:gd name="T8" fmla="*/ 2147483646 w 21"/>
                <a:gd name="T9" fmla="*/ 2147483646 h 31"/>
                <a:gd name="T10" fmla="*/ 2147483646 w 21"/>
                <a:gd name="T11" fmla="*/ 2147483646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" h="31">
                  <a:moveTo>
                    <a:pt x="13" y="2"/>
                  </a:moveTo>
                  <a:cubicBezTo>
                    <a:pt x="8" y="2"/>
                    <a:pt x="10" y="3"/>
                    <a:pt x="9" y="10"/>
                  </a:cubicBezTo>
                  <a:cubicBezTo>
                    <a:pt x="8" y="18"/>
                    <a:pt x="0" y="26"/>
                    <a:pt x="6" y="28"/>
                  </a:cubicBezTo>
                  <a:cubicBezTo>
                    <a:pt x="11" y="31"/>
                    <a:pt x="12" y="27"/>
                    <a:pt x="15" y="26"/>
                  </a:cubicBezTo>
                  <a:cubicBezTo>
                    <a:pt x="18" y="24"/>
                    <a:pt x="19" y="22"/>
                    <a:pt x="20" y="14"/>
                  </a:cubicBezTo>
                  <a:cubicBezTo>
                    <a:pt x="21" y="6"/>
                    <a:pt x="18" y="0"/>
                    <a:pt x="13" y="2"/>
                  </a:cubicBezTo>
                  <a:close/>
                </a:path>
              </a:pathLst>
            </a:custGeom>
            <a:noFill/>
            <a:ln w="7938" cap="rnd">
              <a:solidFill>
                <a:srgbClr val="33333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7" name="Freeform 56"/>
            <p:cNvSpPr>
              <a:spLocks/>
            </p:cNvSpPr>
            <p:nvPr/>
          </p:nvSpPr>
          <p:spPr bwMode="auto">
            <a:xfrm>
              <a:off x="4270375" y="1190625"/>
              <a:ext cx="93663" cy="146050"/>
            </a:xfrm>
            <a:custGeom>
              <a:avLst/>
              <a:gdLst>
                <a:gd name="T0" fmla="*/ 2147483646 w 21"/>
                <a:gd name="T1" fmla="*/ 2147483646 h 31"/>
                <a:gd name="T2" fmla="*/ 2147483646 w 21"/>
                <a:gd name="T3" fmla="*/ 2147483646 h 31"/>
                <a:gd name="T4" fmla="*/ 2147483646 w 21"/>
                <a:gd name="T5" fmla="*/ 2147483646 h 31"/>
                <a:gd name="T6" fmla="*/ 2147483646 w 21"/>
                <a:gd name="T7" fmla="*/ 2147483646 h 31"/>
                <a:gd name="T8" fmla="*/ 2147483646 w 21"/>
                <a:gd name="T9" fmla="*/ 2147483646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" h="31">
                  <a:moveTo>
                    <a:pt x="10" y="3"/>
                  </a:moveTo>
                  <a:cubicBezTo>
                    <a:pt x="14" y="0"/>
                    <a:pt x="18" y="6"/>
                    <a:pt x="20" y="10"/>
                  </a:cubicBezTo>
                  <a:cubicBezTo>
                    <a:pt x="21" y="14"/>
                    <a:pt x="20" y="25"/>
                    <a:pt x="16" y="28"/>
                  </a:cubicBezTo>
                  <a:cubicBezTo>
                    <a:pt x="12" y="31"/>
                    <a:pt x="9" y="29"/>
                    <a:pt x="4" y="22"/>
                  </a:cubicBezTo>
                  <a:cubicBezTo>
                    <a:pt x="0" y="18"/>
                    <a:pt x="6" y="6"/>
                    <a:pt x="10" y="3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8" name="Freeform 57"/>
            <p:cNvSpPr>
              <a:spLocks/>
            </p:cNvSpPr>
            <p:nvPr/>
          </p:nvSpPr>
          <p:spPr bwMode="auto">
            <a:xfrm>
              <a:off x="4389438" y="1219200"/>
              <a:ext cx="101600" cy="104775"/>
            </a:xfrm>
            <a:custGeom>
              <a:avLst/>
              <a:gdLst>
                <a:gd name="T0" fmla="*/ 2147483646 w 23"/>
                <a:gd name="T1" fmla="*/ 0 h 22"/>
                <a:gd name="T2" fmla="*/ 2147483646 w 23"/>
                <a:gd name="T3" fmla="*/ 2147483646 h 22"/>
                <a:gd name="T4" fmla="*/ 2147483646 w 23"/>
                <a:gd name="T5" fmla="*/ 2147483646 h 22"/>
                <a:gd name="T6" fmla="*/ 2147483646 w 23"/>
                <a:gd name="T7" fmla="*/ 2147483646 h 22"/>
                <a:gd name="T8" fmla="*/ 2147483646 w 23"/>
                <a:gd name="T9" fmla="*/ 2147483646 h 22"/>
                <a:gd name="T10" fmla="*/ 2147483646 w 23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3" h="22">
                  <a:moveTo>
                    <a:pt x="6" y="0"/>
                  </a:moveTo>
                  <a:cubicBezTo>
                    <a:pt x="1" y="3"/>
                    <a:pt x="0" y="20"/>
                    <a:pt x="3" y="21"/>
                  </a:cubicBezTo>
                  <a:cubicBezTo>
                    <a:pt x="5" y="22"/>
                    <a:pt x="9" y="20"/>
                    <a:pt x="14" y="21"/>
                  </a:cubicBezTo>
                  <a:cubicBezTo>
                    <a:pt x="19" y="21"/>
                    <a:pt x="23" y="21"/>
                    <a:pt x="23" y="17"/>
                  </a:cubicBezTo>
                  <a:cubicBezTo>
                    <a:pt x="23" y="12"/>
                    <a:pt x="23" y="10"/>
                    <a:pt x="19" y="10"/>
                  </a:cubicBezTo>
                  <a:cubicBezTo>
                    <a:pt x="14" y="8"/>
                    <a:pt x="10" y="1"/>
                    <a:pt x="6" y="0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69" name="Freeform 58"/>
            <p:cNvSpPr>
              <a:spLocks/>
            </p:cNvSpPr>
            <p:nvPr/>
          </p:nvSpPr>
          <p:spPr bwMode="auto">
            <a:xfrm>
              <a:off x="4519613" y="1143000"/>
              <a:ext cx="55562" cy="104775"/>
            </a:xfrm>
            <a:custGeom>
              <a:avLst/>
              <a:gdLst>
                <a:gd name="T0" fmla="*/ 2147483646 w 13"/>
                <a:gd name="T1" fmla="*/ 2147483646 h 22"/>
                <a:gd name="T2" fmla="*/ 2147483646 w 13"/>
                <a:gd name="T3" fmla="*/ 2147483646 h 22"/>
                <a:gd name="T4" fmla="*/ 2147483646 w 13"/>
                <a:gd name="T5" fmla="*/ 2147483646 h 22"/>
                <a:gd name="T6" fmla="*/ 2147483646 w 13"/>
                <a:gd name="T7" fmla="*/ 2147483646 h 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2">
                  <a:moveTo>
                    <a:pt x="3" y="5"/>
                  </a:moveTo>
                  <a:cubicBezTo>
                    <a:pt x="1" y="9"/>
                    <a:pt x="0" y="22"/>
                    <a:pt x="5" y="19"/>
                  </a:cubicBezTo>
                  <a:cubicBezTo>
                    <a:pt x="9" y="17"/>
                    <a:pt x="12" y="13"/>
                    <a:pt x="12" y="9"/>
                  </a:cubicBezTo>
                  <a:cubicBezTo>
                    <a:pt x="13" y="1"/>
                    <a:pt x="6" y="0"/>
                    <a:pt x="3" y="5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70" name="Freeform 59"/>
            <p:cNvSpPr>
              <a:spLocks/>
            </p:cNvSpPr>
            <p:nvPr/>
          </p:nvSpPr>
          <p:spPr bwMode="auto">
            <a:xfrm>
              <a:off x="4519613" y="1000125"/>
              <a:ext cx="25400" cy="68263"/>
            </a:xfrm>
            <a:custGeom>
              <a:avLst/>
              <a:gdLst>
                <a:gd name="T0" fmla="*/ 2147483646 w 6"/>
                <a:gd name="T1" fmla="*/ 2147483646 h 14"/>
                <a:gd name="T2" fmla="*/ 2147483646 w 6"/>
                <a:gd name="T3" fmla="*/ 2147483646 h 14"/>
                <a:gd name="T4" fmla="*/ 2147483646 w 6"/>
                <a:gd name="T5" fmla="*/ 2147483646 h 14"/>
                <a:gd name="T6" fmla="*/ 2147483646 w 6"/>
                <a:gd name="T7" fmla="*/ 2147483646 h 1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14">
                  <a:moveTo>
                    <a:pt x="6" y="8"/>
                  </a:moveTo>
                  <a:cubicBezTo>
                    <a:pt x="6" y="12"/>
                    <a:pt x="5" y="14"/>
                    <a:pt x="3" y="10"/>
                  </a:cubicBezTo>
                  <a:cubicBezTo>
                    <a:pt x="0" y="6"/>
                    <a:pt x="0" y="4"/>
                    <a:pt x="2" y="1"/>
                  </a:cubicBezTo>
                  <a:cubicBezTo>
                    <a:pt x="5" y="0"/>
                    <a:pt x="6" y="5"/>
                    <a:pt x="6" y="8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71" name="Freeform 60"/>
            <p:cNvSpPr>
              <a:spLocks/>
            </p:cNvSpPr>
            <p:nvPr/>
          </p:nvSpPr>
          <p:spPr bwMode="auto">
            <a:xfrm>
              <a:off x="4202113" y="1023938"/>
              <a:ext cx="103187" cy="200025"/>
            </a:xfrm>
            <a:custGeom>
              <a:avLst/>
              <a:gdLst>
                <a:gd name="T0" fmla="*/ 2147483646 w 23"/>
                <a:gd name="T1" fmla="*/ 2147483646 h 42"/>
                <a:gd name="T2" fmla="*/ 2147483646 w 23"/>
                <a:gd name="T3" fmla="*/ 2147483646 h 42"/>
                <a:gd name="T4" fmla="*/ 2147483646 w 23"/>
                <a:gd name="T5" fmla="*/ 2147483646 h 42"/>
                <a:gd name="T6" fmla="*/ 2147483646 w 23"/>
                <a:gd name="T7" fmla="*/ 2147483646 h 42"/>
                <a:gd name="T8" fmla="*/ 2147483646 w 23"/>
                <a:gd name="T9" fmla="*/ 2147483646 h 42"/>
                <a:gd name="T10" fmla="*/ 2147483646 w 23"/>
                <a:gd name="T11" fmla="*/ 2147483646 h 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3" h="42">
                  <a:moveTo>
                    <a:pt x="8" y="1"/>
                  </a:moveTo>
                  <a:cubicBezTo>
                    <a:pt x="2" y="3"/>
                    <a:pt x="5" y="6"/>
                    <a:pt x="8" y="13"/>
                  </a:cubicBezTo>
                  <a:cubicBezTo>
                    <a:pt x="10" y="20"/>
                    <a:pt x="0" y="33"/>
                    <a:pt x="6" y="37"/>
                  </a:cubicBezTo>
                  <a:cubicBezTo>
                    <a:pt x="11" y="42"/>
                    <a:pt x="14" y="39"/>
                    <a:pt x="17" y="31"/>
                  </a:cubicBezTo>
                  <a:cubicBezTo>
                    <a:pt x="19" y="24"/>
                    <a:pt x="23" y="20"/>
                    <a:pt x="21" y="13"/>
                  </a:cubicBezTo>
                  <a:cubicBezTo>
                    <a:pt x="19" y="5"/>
                    <a:pt x="12" y="0"/>
                    <a:pt x="8" y="1"/>
                  </a:cubicBezTo>
                  <a:close/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72" name="Freeform 72"/>
            <p:cNvSpPr>
              <a:spLocks/>
            </p:cNvSpPr>
            <p:nvPr/>
          </p:nvSpPr>
          <p:spPr bwMode="auto">
            <a:xfrm>
              <a:off x="4186238" y="966788"/>
              <a:ext cx="388937" cy="342900"/>
            </a:xfrm>
            <a:custGeom>
              <a:avLst/>
              <a:gdLst>
                <a:gd name="T0" fmla="*/ 2147483646 w 88"/>
                <a:gd name="T1" fmla="*/ 2147483646 h 72"/>
                <a:gd name="T2" fmla="*/ 2147483646 w 88"/>
                <a:gd name="T3" fmla="*/ 2147483646 h 72"/>
                <a:gd name="T4" fmla="*/ 2147483646 w 88"/>
                <a:gd name="T5" fmla="*/ 2147483646 h 72"/>
                <a:gd name="T6" fmla="*/ 2147483646 w 88"/>
                <a:gd name="T7" fmla="*/ 2147483646 h 72"/>
                <a:gd name="T8" fmla="*/ 0 w 88"/>
                <a:gd name="T9" fmla="*/ 2147483646 h 72"/>
                <a:gd name="T10" fmla="*/ 2147483646 w 88"/>
                <a:gd name="T11" fmla="*/ 2147483646 h 72"/>
                <a:gd name="T12" fmla="*/ 2147483646 w 88"/>
                <a:gd name="T13" fmla="*/ 2147483646 h 72"/>
                <a:gd name="T14" fmla="*/ 2147483646 w 88"/>
                <a:gd name="T15" fmla="*/ 2147483646 h 72"/>
                <a:gd name="T16" fmla="*/ 2147483646 w 88"/>
                <a:gd name="T17" fmla="*/ 2147483646 h 72"/>
                <a:gd name="T18" fmla="*/ 2147483646 w 88"/>
                <a:gd name="T19" fmla="*/ 2147483646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8" h="72">
                  <a:moveTo>
                    <a:pt x="81" y="17"/>
                  </a:moveTo>
                  <a:cubicBezTo>
                    <a:pt x="78" y="28"/>
                    <a:pt x="69" y="40"/>
                    <a:pt x="57" y="36"/>
                  </a:cubicBezTo>
                  <a:cubicBezTo>
                    <a:pt x="44" y="32"/>
                    <a:pt x="39" y="22"/>
                    <a:pt x="32" y="15"/>
                  </a:cubicBezTo>
                  <a:cubicBezTo>
                    <a:pt x="25" y="8"/>
                    <a:pt x="1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3" y="4"/>
                    <a:pt x="32" y="29"/>
                  </a:cubicBezTo>
                  <a:cubicBezTo>
                    <a:pt x="37" y="37"/>
                    <a:pt x="44" y="60"/>
                    <a:pt x="38" y="72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58"/>
                    <a:pt x="49" y="43"/>
                    <a:pt x="49" y="43"/>
                  </a:cubicBezTo>
                  <a:cubicBezTo>
                    <a:pt x="54" y="49"/>
                    <a:pt x="77" y="54"/>
                    <a:pt x="88" y="20"/>
                  </a:cubicBezTo>
                </a:path>
              </a:pathLst>
            </a:custGeom>
            <a:solidFill>
              <a:srgbClr val="FF3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273" name="Freeform 73"/>
            <p:cNvSpPr>
              <a:spLocks/>
            </p:cNvSpPr>
            <p:nvPr/>
          </p:nvSpPr>
          <p:spPr bwMode="auto">
            <a:xfrm>
              <a:off x="4398963" y="1062038"/>
              <a:ext cx="176212" cy="241300"/>
            </a:xfrm>
            <a:custGeom>
              <a:avLst/>
              <a:gdLst>
                <a:gd name="T0" fmla="*/ 0 w 40"/>
                <a:gd name="T1" fmla="*/ 2147483646 h 51"/>
                <a:gd name="T2" fmla="*/ 2147483646 w 40"/>
                <a:gd name="T3" fmla="*/ 2147483646 h 51"/>
                <a:gd name="T4" fmla="*/ 2147483646 w 40"/>
                <a:gd name="T5" fmla="*/ 0 h 5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0" h="51">
                  <a:moveTo>
                    <a:pt x="0" y="51"/>
                  </a:moveTo>
                  <a:cubicBezTo>
                    <a:pt x="0" y="38"/>
                    <a:pt x="1" y="23"/>
                    <a:pt x="1" y="23"/>
                  </a:cubicBezTo>
                  <a:cubicBezTo>
                    <a:pt x="6" y="29"/>
                    <a:pt x="29" y="34"/>
                    <a:pt x="40" y="0"/>
                  </a:cubicBezTo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69" name="Freeform 74"/>
            <p:cNvSpPr>
              <a:spLocks/>
            </p:cNvSpPr>
            <p:nvPr/>
          </p:nvSpPr>
          <p:spPr bwMode="auto">
            <a:xfrm>
              <a:off x="4186238" y="987425"/>
              <a:ext cx="195262" cy="322263"/>
            </a:xfrm>
            <a:custGeom>
              <a:avLst/>
              <a:gdLst>
                <a:gd name="T0" fmla="*/ 0 w 44"/>
                <a:gd name="T1" fmla="*/ 2147483646 h 68"/>
                <a:gd name="T2" fmla="*/ 2147483646 w 44"/>
                <a:gd name="T3" fmla="*/ 2147483646 h 68"/>
                <a:gd name="T4" fmla="*/ 2147483646 w 44"/>
                <a:gd name="T5" fmla="*/ 2147483646 h 6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4" h="68">
                  <a:moveTo>
                    <a:pt x="0" y="3"/>
                  </a:moveTo>
                  <a:cubicBezTo>
                    <a:pt x="0" y="3"/>
                    <a:pt x="13" y="0"/>
                    <a:pt x="32" y="25"/>
                  </a:cubicBezTo>
                  <a:cubicBezTo>
                    <a:pt x="37" y="33"/>
                    <a:pt x="44" y="56"/>
                    <a:pt x="38" y="68"/>
                  </a:cubicBezTo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70" name="Freeform 75"/>
            <p:cNvSpPr>
              <a:spLocks/>
            </p:cNvSpPr>
            <p:nvPr/>
          </p:nvSpPr>
          <p:spPr bwMode="auto">
            <a:xfrm>
              <a:off x="4217988" y="966788"/>
              <a:ext cx="327025" cy="190500"/>
            </a:xfrm>
            <a:custGeom>
              <a:avLst/>
              <a:gdLst>
                <a:gd name="T0" fmla="*/ 2147483646 w 74"/>
                <a:gd name="T1" fmla="*/ 2147483646 h 40"/>
                <a:gd name="T2" fmla="*/ 2147483646 w 74"/>
                <a:gd name="T3" fmla="*/ 2147483646 h 40"/>
                <a:gd name="T4" fmla="*/ 2147483646 w 74"/>
                <a:gd name="T5" fmla="*/ 2147483646 h 40"/>
                <a:gd name="T6" fmla="*/ 0 w 74"/>
                <a:gd name="T7" fmla="*/ 2147483646 h 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40">
                  <a:moveTo>
                    <a:pt x="74" y="17"/>
                  </a:moveTo>
                  <a:cubicBezTo>
                    <a:pt x="71" y="28"/>
                    <a:pt x="62" y="40"/>
                    <a:pt x="50" y="36"/>
                  </a:cubicBezTo>
                  <a:cubicBezTo>
                    <a:pt x="37" y="32"/>
                    <a:pt x="32" y="22"/>
                    <a:pt x="25" y="15"/>
                  </a:cubicBezTo>
                  <a:cubicBezTo>
                    <a:pt x="18" y="8"/>
                    <a:pt x="10" y="0"/>
                    <a:pt x="0" y="1"/>
                  </a:cubicBezTo>
                </a:path>
              </a:pathLst>
            </a:custGeom>
            <a:noFill/>
            <a:ln w="7938" cap="rnd">
              <a:solidFill>
                <a:srgbClr val="8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71" name="Oval 76"/>
            <p:cNvSpPr>
              <a:spLocks noChangeArrowheads="1"/>
            </p:cNvSpPr>
            <p:nvPr/>
          </p:nvSpPr>
          <p:spPr bwMode="auto">
            <a:xfrm>
              <a:off x="3870325" y="636588"/>
              <a:ext cx="49213" cy="23812"/>
            </a:xfrm>
            <a:prstGeom prst="ellipse">
              <a:avLst/>
            </a:prstGeom>
            <a:solidFill>
              <a:srgbClr val="F9C0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57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14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3716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8288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472" name="Oval 77"/>
            <p:cNvSpPr>
              <a:spLocks noChangeArrowheads="1"/>
            </p:cNvSpPr>
            <p:nvPr/>
          </p:nvSpPr>
          <p:spPr bwMode="auto">
            <a:xfrm>
              <a:off x="3870325" y="636588"/>
              <a:ext cx="49213" cy="23812"/>
            </a:xfrm>
            <a:prstGeom prst="ellipse">
              <a:avLst/>
            </a:prstGeom>
            <a:noFill/>
            <a:ln w="7938" cap="rnd">
              <a:solidFill>
                <a:srgbClr val="8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57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14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3716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8288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473" name="Oval 78"/>
            <p:cNvSpPr>
              <a:spLocks noChangeArrowheads="1"/>
            </p:cNvSpPr>
            <p:nvPr/>
          </p:nvSpPr>
          <p:spPr bwMode="auto">
            <a:xfrm>
              <a:off x="3887788" y="646113"/>
              <a:ext cx="12700" cy="4762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57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14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3716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8288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474" name="Oval 79"/>
            <p:cNvSpPr>
              <a:spLocks noChangeArrowheads="1"/>
            </p:cNvSpPr>
            <p:nvPr/>
          </p:nvSpPr>
          <p:spPr bwMode="auto">
            <a:xfrm>
              <a:off x="3870325" y="1673225"/>
              <a:ext cx="49213" cy="23813"/>
            </a:xfrm>
            <a:prstGeom prst="ellipse">
              <a:avLst/>
            </a:prstGeom>
            <a:solidFill>
              <a:srgbClr val="F9C0A8"/>
            </a:soli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57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14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3716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8288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475" name="Oval 81"/>
            <p:cNvSpPr>
              <a:spLocks noChangeArrowheads="1"/>
            </p:cNvSpPr>
            <p:nvPr/>
          </p:nvSpPr>
          <p:spPr bwMode="auto">
            <a:xfrm>
              <a:off x="3887788" y="1682750"/>
              <a:ext cx="12700" cy="4763"/>
            </a:xfrm>
            <a:prstGeom prst="ellipse">
              <a:avLst/>
            </a:prstGeom>
            <a:solidFill>
              <a:srgbClr val="333333"/>
            </a:solidFill>
            <a:ln w="9525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4572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9144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3716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828800" indent="-2286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476" name="Freeform 82"/>
            <p:cNvSpPr>
              <a:spLocks/>
            </p:cNvSpPr>
            <p:nvPr/>
          </p:nvSpPr>
          <p:spPr bwMode="auto">
            <a:xfrm>
              <a:off x="4195763" y="830263"/>
              <a:ext cx="252412" cy="95250"/>
            </a:xfrm>
            <a:custGeom>
              <a:avLst/>
              <a:gdLst>
                <a:gd name="T0" fmla="*/ 2147483646 w 57"/>
                <a:gd name="T1" fmla="*/ 2147483646 h 20"/>
                <a:gd name="T2" fmla="*/ 0 w 57"/>
                <a:gd name="T3" fmla="*/ 2147483646 h 20"/>
                <a:gd name="T4" fmla="*/ 2147483646 w 57"/>
                <a:gd name="T5" fmla="*/ 2147483646 h 2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7" h="20">
                  <a:moveTo>
                    <a:pt x="57" y="5"/>
                  </a:moveTo>
                  <a:cubicBezTo>
                    <a:pt x="35" y="0"/>
                    <a:pt x="7" y="13"/>
                    <a:pt x="0" y="20"/>
                  </a:cubicBezTo>
                  <a:cubicBezTo>
                    <a:pt x="6" y="17"/>
                    <a:pt x="34" y="2"/>
                    <a:pt x="57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77" name="Freeform 83"/>
            <p:cNvSpPr>
              <a:spLocks/>
            </p:cNvSpPr>
            <p:nvPr/>
          </p:nvSpPr>
          <p:spPr bwMode="auto">
            <a:xfrm>
              <a:off x="4438650" y="1092200"/>
              <a:ext cx="106363" cy="79375"/>
            </a:xfrm>
            <a:custGeom>
              <a:avLst/>
              <a:gdLst>
                <a:gd name="T0" fmla="*/ 0 w 24"/>
                <a:gd name="T1" fmla="*/ 2147483646 h 17"/>
                <a:gd name="T2" fmla="*/ 2147483646 w 24"/>
                <a:gd name="T3" fmla="*/ 0 h 17"/>
                <a:gd name="T4" fmla="*/ 0 w 24"/>
                <a:gd name="T5" fmla="*/ 2147483646 h 17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4" h="17">
                  <a:moveTo>
                    <a:pt x="0" y="14"/>
                  </a:moveTo>
                  <a:cubicBezTo>
                    <a:pt x="7" y="16"/>
                    <a:pt x="17" y="13"/>
                    <a:pt x="24" y="0"/>
                  </a:cubicBezTo>
                  <a:cubicBezTo>
                    <a:pt x="22" y="3"/>
                    <a:pt x="10" y="17"/>
                    <a:pt x="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78" name="Freeform 84"/>
            <p:cNvSpPr>
              <a:spLocks/>
            </p:cNvSpPr>
            <p:nvPr/>
          </p:nvSpPr>
          <p:spPr bwMode="auto">
            <a:xfrm>
              <a:off x="4257675" y="990600"/>
              <a:ext cx="106363" cy="114300"/>
            </a:xfrm>
            <a:custGeom>
              <a:avLst/>
              <a:gdLst>
                <a:gd name="T0" fmla="*/ 0 w 24"/>
                <a:gd name="T1" fmla="*/ 0 h 24"/>
                <a:gd name="T2" fmla="*/ 2147483646 w 24"/>
                <a:gd name="T3" fmla="*/ 2147483646 h 2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4" h="24">
                  <a:moveTo>
                    <a:pt x="0" y="0"/>
                  </a:moveTo>
                  <a:cubicBezTo>
                    <a:pt x="7" y="3"/>
                    <a:pt x="20" y="16"/>
                    <a:pt x="24" y="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79" name="Freeform 85"/>
            <p:cNvSpPr>
              <a:spLocks/>
            </p:cNvSpPr>
            <p:nvPr/>
          </p:nvSpPr>
          <p:spPr bwMode="auto">
            <a:xfrm>
              <a:off x="3878263" y="684213"/>
              <a:ext cx="71437" cy="227012"/>
            </a:xfrm>
            <a:custGeom>
              <a:avLst/>
              <a:gdLst>
                <a:gd name="T0" fmla="*/ 0 w 16"/>
                <a:gd name="T1" fmla="*/ 0 h 48"/>
                <a:gd name="T2" fmla="*/ 2147483646 w 16"/>
                <a:gd name="T3" fmla="*/ 2147483646 h 48"/>
                <a:gd name="T4" fmla="*/ 0 w 16"/>
                <a:gd name="T5" fmla="*/ 0 h 4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6" h="48">
                  <a:moveTo>
                    <a:pt x="0" y="0"/>
                  </a:moveTo>
                  <a:cubicBezTo>
                    <a:pt x="1" y="7"/>
                    <a:pt x="5" y="32"/>
                    <a:pt x="16" y="48"/>
                  </a:cubicBezTo>
                  <a:cubicBezTo>
                    <a:pt x="15" y="44"/>
                    <a:pt x="1" y="8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0" name="Freeform 86"/>
            <p:cNvSpPr>
              <a:spLocks/>
            </p:cNvSpPr>
            <p:nvPr/>
          </p:nvSpPr>
          <p:spPr bwMode="auto">
            <a:xfrm>
              <a:off x="3929063" y="1225550"/>
              <a:ext cx="207962" cy="160338"/>
            </a:xfrm>
            <a:custGeom>
              <a:avLst/>
              <a:gdLst>
                <a:gd name="T0" fmla="*/ 0 w 47"/>
                <a:gd name="T1" fmla="*/ 2147483646 h 34"/>
                <a:gd name="T2" fmla="*/ 2147483646 w 47"/>
                <a:gd name="T3" fmla="*/ 0 h 34"/>
                <a:gd name="T4" fmla="*/ 0 w 47"/>
                <a:gd name="T5" fmla="*/ 2147483646 h 3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7" h="34">
                  <a:moveTo>
                    <a:pt x="0" y="34"/>
                  </a:moveTo>
                  <a:cubicBezTo>
                    <a:pt x="6" y="22"/>
                    <a:pt x="21" y="1"/>
                    <a:pt x="47" y="0"/>
                  </a:cubicBezTo>
                  <a:cubicBezTo>
                    <a:pt x="43" y="0"/>
                    <a:pt x="11" y="9"/>
                    <a:pt x="0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1" name="Freeform 87"/>
            <p:cNvSpPr>
              <a:spLocks/>
            </p:cNvSpPr>
            <p:nvPr/>
          </p:nvSpPr>
          <p:spPr bwMode="auto">
            <a:xfrm>
              <a:off x="4179888" y="1062038"/>
              <a:ext cx="19050" cy="104775"/>
            </a:xfrm>
            <a:custGeom>
              <a:avLst/>
              <a:gdLst>
                <a:gd name="T0" fmla="*/ 2147483646 w 4"/>
                <a:gd name="T1" fmla="*/ 0 h 22"/>
                <a:gd name="T2" fmla="*/ 0 w 4"/>
                <a:gd name="T3" fmla="*/ 2147483646 h 2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4" h="22">
                  <a:moveTo>
                    <a:pt x="3" y="0"/>
                  </a:moveTo>
                  <a:cubicBezTo>
                    <a:pt x="4" y="6"/>
                    <a:pt x="3" y="17"/>
                    <a:pt x="0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2" name="Freeform 88"/>
            <p:cNvSpPr>
              <a:spLocks/>
            </p:cNvSpPr>
            <p:nvPr/>
          </p:nvSpPr>
          <p:spPr bwMode="auto">
            <a:xfrm>
              <a:off x="4403725" y="982663"/>
              <a:ext cx="61913" cy="23812"/>
            </a:xfrm>
            <a:custGeom>
              <a:avLst/>
              <a:gdLst>
                <a:gd name="T0" fmla="*/ 0 w 14"/>
                <a:gd name="T1" fmla="*/ 0 h 5"/>
                <a:gd name="T2" fmla="*/ 2147483646 w 14"/>
                <a:gd name="T3" fmla="*/ 2147483646 h 5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4" h="5">
                  <a:moveTo>
                    <a:pt x="0" y="0"/>
                  </a:moveTo>
                  <a:cubicBezTo>
                    <a:pt x="6" y="2"/>
                    <a:pt x="12" y="3"/>
                    <a:pt x="14" y="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3" name="Freeform 89"/>
            <p:cNvSpPr>
              <a:spLocks/>
            </p:cNvSpPr>
            <p:nvPr/>
          </p:nvSpPr>
          <p:spPr bwMode="auto">
            <a:xfrm>
              <a:off x="4411663" y="1323975"/>
              <a:ext cx="74612" cy="9525"/>
            </a:xfrm>
            <a:custGeom>
              <a:avLst/>
              <a:gdLst>
                <a:gd name="T0" fmla="*/ 0 w 17"/>
                <a:gd name="T1" fmla="*/ 2147483646 h 2"/>
                <a:gd name="T2" fmla="*/ 2147483646 w 17"/>
                <a:gd name="T3" fmla="*/ 2147483646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7" h="2">
                  <a:moveTo>
                    <a:pt x="0" y="1"/>
                  </a:moveTo>
                  <a:cubicBezTo>
                    <a:pt x="5" y="0"/>
                    <a:pt x="14" y="0"/>
                    <a:pt x="17" y="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4" name="Freeform 7"/>
            <p:cNvSpPr>
              <a:spLocks/>
            </p:cNvSpPr>
            <p:nvPr/>
          </p:nvSpPr>
          <p:spPr bwMode="auto">
            <a:xfrm>
              <a:off x="4973638" y="846138"/>
              <a:ext cx="4262437" cy="5599112"/>
            </a:xfrm>
            <a:custGeom>
              <a:avLst/>
              <a:gdLst>
                <a:gd name="T0" fmla="*/ 718 w 728"/>
                <a:gd name="T1" fmla="*/ 543 h 1183"/>
                <a:gd name="T2" fmla="*/ 690 w 728"/>
                <a:gd name="T3" fmla="*/ 563 h 1183"/>
                <a:gd name="T4" fmla="*/ 648 w 728"/>
                <a:gd name="T5" fmla="*/ 419 h 1183"/>
                <a:gd name="T6" fmla="*/ 615 w 728"/>
                <a:gd name="T7" fmla="*/ 447 h 1183"/>
                <a:gd name="T8" fmla="*/ 546 w 728"/>
                <a:gd name="T9" fmla="*/ 384 h 1183"/>
                <a:gd name="T10" fmla="*/ 529 w 728"/>
                <a:gd name="T11" fmla="*/ 133 h 1183"/>
                <a:gd name="T12" fmla="*/ 388 w 728"/>
                <a:gd name="T13" fmla="*/ 70 h 1183"/>
                <a:gd name="T14" fmla="*/ 307 w 728"/>
                <a:gd name="T15" fmla="*/ 196 h 1183"/>
                <a:gd name="T16" fmla="*/ 410 w 728"/>
                <a:gd name="T17" fmla="*/ 180 h 1183"/>
                <a:gd name="T18" fmla="*/ 361 w 728"/>
                <a:gd name="T19" fmla="*/ 277 h 1183"/>
                <a:gd name="T20" fmla="*/ 345 w 728"/>
                <a:gd name="T21" fmla="*/ 418 h 1183"/>
                <a:gd name="T22" fmla="*/ 285 w 728"/>
                <a:gd name="T23" fmla="*/ 673 h 1183"/>
                <a:gd name="T24" fmla="*/ 286 w 728"/>
                <a:gd name="T25" fmla="*/ 914 h 1183"/>
                <a:gd name="T26" fmla="*/ 266 w 728"/>
                <a:gd name="T27" fmla="*/ 1102 h 1183"/>
                <a:gd name="T28" fmla="*/ 252 w 728"/>
                <a:gd name="T29" fmla="*/ 697 h 1183"/>
                <a:gd name="T30" fmla="*/ 239 w 728"/>
                <a:gd name="T31" fmla="*/ 457 h 1183"/>
                <a:gd name="T32" fmla="*/ 268 w 728"/>
                <a:gd name="T33" fmla="*/ 179 h 1183"/>
                <a:gd name="T34" fmla="*/ 193 w 728"/>
                <a:gd name="T35" fmla="*/ 1 h 1183"/>
                <a:gd name="T36" fmla="*/ 140 w 728"/>
                <a:gd name="T37" fmla="*/ 112 h 1183"/>
                <a:gd name="T38" fmla="*/ 2 w 728"/>
                <a:gd name="T39" fmla="*/ 32 h 1183"/>
                <a:gd name="T40" fmla="*/ 0 w 728"/>
                <a:gd name="T41" fmla="*/ 68 h 1183"/>
                <a:gd name="T42" fmla="*/ 72 w 728"/>
                <a:gd name="T43" fmla="*/ 97 h 1183"/>
                <a:gd name="T44" fmla="*/ 179 w 728"/>
                <a:gd name="T45" fmla="*/ 34 h 1183"/>
                <a:gd name="T46" fmla="*/ 246 w 728"/>
                <a:gd name="T47" fmla="*/ 159 h 1183"/>
                <a:gd name="T48" fmla="*/ 202 w 728"/>
                <a:gd name="T49" fmla="*/ 347 h 1183"/>
                <a:gd name="T50" fmla="*/ 233 w 728"/>
                <a:gd name="T51" fmla="*/ 661 h 1183"/>
                <a:gd name="T52" fmla="*/ 252 w 728"/>
                <a:gd name="T53" fmla="*/ 1108 h 1183"/>
                <a:gd name="T54" fmla="*/ 298 w 728"/>
                <a:gd name="T55" fmla="*/ 924 h 1183"/>
                <a:gd name="T56" fmla="*/ 303 w 728"/>
                <a:gd name="T57" fmla="*/ 703 h 1183"/>
                <a:gd name="T58" fmla="*/ 384 w 728"/>
                <a:gd name="T59" fmla="*/ 499 h 1183"/>
                <a:gd name="T60" fmla="*/ 329 w 728"/>
                <a:gd name="T61" fmla="*/ 328 h 1183"/>
                <a:gd name="T62" fmla="*/ 444 w 728"/>
                <a:gd name="T63" fmla="*/ 168 h 1183"/>
                <a:gd name="T64" fmla="*/ 340 w 728"/>
                <a:gd name="T65" fmla="*/ 189 h 1183"/>
                <a:gd name="T66" fmla="*/ 394 w 728"/>
                <a:gd name="T67" fmla="*/ 121 h 1183"/>
                <a:gd name="T68" fmla="*/ 483 w 728"/>
                <a:gd name="T69" fmla="*/ 52 h 1183"/>
                <a:gd name="T70" fmla="*/ 451 w 728"/>
                <a:gd name="T71" fmla="*/ 342 h 1183"/>
                <a:gd name="T72" fmla="*/ 608 w 728"/>
                <a:gd name="T73" fmla="*/ 482 h 1183"/>
                <a:gd name="T74" fmla="*/ 611 w 728"/>
                <a:gd name="T75" fmla="*/ 680 h 1183"/>
                <a:gd name="T76" fmla="*/ 578 w 728"/>
                <a:gd name="T77" fmla="*/ 641 h 1183"/>
                <a:gd name="T78" fmla="*/ 570 w 728"/>
                <a:gd name="T79" fmla="*/ 661 h 1183"/>
                <a:gd name="T80" fmla="*/ 606 w 728"/>
                <a:gd name="T81" fmla="*/ 762 h 1183"/>
                <a:gd name="T82" fmla="*/ 593 w 728"/>
                <a:gd name="T83" fmla="*/ 1050 h 1183"/>
                <a:gd name="T84" fmla="*/ 559 w 728"/>
                <a:gd name="T85" fmla="*/ 1046 h 1183"/>
                <a:gd name="T86" fmla="*/ 590 w 728"/>
                <a:gd name="T87" fmla="*/ 1102 h 1183"/>
                <a:gd name="T88" fmla="*/ 665 w 728"/>
                <a:gd name="T89" fmla="*/ 1167 h 1183"/>
                <a:gd name="T90" fmla="*/ 675 w 728"/>
                <a:gd name="T91" fmla="*/ 771 h 1183"/>
                <a:gd name="T92" fmla="*/ 689 w 728"/>
                <a:gd name="T93" fmla="*/ 636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8" h="1183">
                  <a:moveTo>
                    <a:pt x="728" y="551"/>
                  </a:moveTo>
                  <a:cubicBezTo>
                    <a:pt x="728" y="551"/>
                    <a:pt x="728" y="551"/>
                    <a:pt x="728" y="551"/>
                  </a:cubicBezTo>
                  <a:cubicBezTo>
                    <a:pt x="725" y="552"/>
                    <a:pt x="721" y="548"/>
                    <a:pt x="718" y="543"/>
                  </a:cubicBezTo>
                  <a:cubicBezTo>
                    <a:pt x="716" y="537"/>
                    <a:pt x="717" y="531"/>
                    <a:pt x="720" y="530"/>
                  </a:cubicBezTo>
                  <a:cubicBezTo>
                    <a:pt x="720" y="530"/>
                    <a:pt x="720" y="530"/>
                    <a:pt x="720" y="530"/>
                  </a:cubicBezTo>
                  <a:cubicBezTo>
                    <a:pt x="720" y="530"/>
                    <a:pt x="701" y="544"/>
                    <a:pt x="690" y="563"/>
                  </a:cubicBezTo>
                  <a:cubicBezTo>
                    <a:pt x="689" y="550"/>
                    <a:pt x="685" y="557"/>
                    <a:pt x="685" y="519"/>
                  </a:cubicBezTo>
                  <a:cubicBezTo>
                    <a:pt x="684" y="410"/>
                    <a:pt x="684" y="410"/>
                    <a:pt x="684" y="410"/>
                  </a:cubicBezTo>
                  <a:cubicBezTo>
                    <a:pt x="683" y="415"/>
                    <a:pt x="667" y="419"/>
                    <a:pt x="648" y="419"/>
                  </a:cubicBezTo>
                  <a:cubicBezTo>
                    <a:pt x="629" y="418"/>
                    <a:pt x="614" y="414"/>
                    <a:pt x="614" y="409"/>
                  </a:cubicBezTo>
                  <a:cubicBezTo>
                    <a:pt x="614" y="409"/>
                    <a:pt x="614" y="409"/>
                    <a:pt x="614" y="409"/>
                  </a:cubicBezTo>
                  <a:cubicBezTo>
                    <a:pt x="613" y="414"/>
                    <a:pt x="614" y="428"/>
                    <a:pt x="615" y="447"/>
                  </a:cubicBezTo>
                  <a:cubicBezTo>
                    <a:pt x="615" y="449"/>
                    <a:pt x="611" y="452"/>
                    <a:pt x="610" y="452"/>
                  </a:cubicBezTo>
                  <a:cubicBezTo>
                    <a:pt x="596" y="446"/>
                    <a:pt x="584" y="436"/>
                    <a:pt x="574" y="423"/>
                  </a:cubicBezTo>
                  <a:cubicBezTo>
                    <a:pt x="570" y="418"/>
                    <a:pt x="551" y="392"/>
                    <a:pt x="546" y="384"/>
                  </a:cubicBezTo>
                  <a:cubicBezTo>
                    <a:pt x="536" y="369"/>
                    <a:pt x="526" y="355"/>
                    <a:pt x="500" y="347"/>
                  </a:cubicBezTo>
                  <a:cubicBezTo>
                    <a:pt x="461" y="335"/>
                    <a:pt x="450" y="286"/>
                    <a:pt x="476" y="266"/>
                  </a:cubicBezTo>
                  <a:cubicBezTo>
                    <a:pt x="526" y="219"/>
                    <a:pt x="530" y="202"/>
                    <a:pt x="529" y="133"/>
                  </a:cubicBezTo>
                  <a:cubicBezTo>
                    <a:pt x="528" y="87"/>
                    <a:pt x="523" y="52"/>
                    <a:pt x="502" y="32"/>
                  </a:cubicBezTo>
                  <a:cubicBezTo>
                    <a:pt x="489" y="19"/>
                    <a:pt x="471" y="13"/>
                    <a:pt x="446" y="14"/>
                  </a:cubicBezTo>
                  <a:cubicBezTo>
                    <a:pt x="400" y="14"/>
                    <a:pt x="393" y="46"/>
                    <a:pt x="388" y="70"/>
                  </a:cubicBezTo>
                  <a:cubicBezTo>
                    <a:pt x="385" y="82"/>
                    <a:pt x="383" y="94"/>
                    <a:pt x="375" y="102"/>
                  </a:cubicBezTo>
                  <a:cubicBezTo>
                    <a:pt x="368" y="109"/>
                    <a:pt x="358" y="115"/>
                    <a:pt x="349" y="121"/>
                  </a:cubicBezTo>
                  <a:cubicBezTo>
                    <a:pt x="325" y="135"/>
                    <a:pt x="296" y="153"/>
                    <a:pt x="307" y="196"/>
                  </a:cubicBezTo>
                  <a:cubicBezTo>
                    <a:pt x="310" y="209"/>
                    <a:pt x="318" y="214"/>
                    <a:pt x="323" y="216"/>
                  </a:cubicBezTo>
                  <a:cubicBezTo>
                    <a:pt x="340" y="223"/>
                    <a:pt x="359" y="211"/>
                    <a:pt x="379" y="198"/>
                  </a:cubicBezTo>
                  <a:cubicBezTo>
                    <a:pt x="388" y="192"/>
                    <a:pt x="401" y="183"/>
                    <a:pt x="410" y="180"/>
                  </a:cubicBezTo>
                  <a:cubicBezTo>
                    <a:pt x="413" y="179"/>
                    <a:pt x="419" y="179"/>
                    <a:pt x="421" y="182"/>
                  </a:cubicBezTo>
                  <a:cubicBezTo>
                    <a:pt x="429" y="196"/>
                    <a:pt x="425" y="212"/>
                    <a:pt x="421" y="223"/>
                  </a:cubicBezTo>
                  <a:cubicBezTo>
                    <a:pt x="411" y="248"/>
                    <a:pt x="387" y="270"/>
                    <a:pt x="361" y="277"/>
                  </a:cubicBezTo>
                  <a:cubicBezTo>
                    <a:pt x="330" y="286"/>
                    <a:pt x="311" y="299"/>
                    <a:pt x="304" y="319"/>
                  </a:cubicBezTo>
                  <a:cubicBezTo>
                    <a:pt x="297" y="336"/>
                    <a:pt x="301" y="358"/>
                    <a:pt x="315" y="382"/>
                  </a:cubicBezTo>
                  <a:cubicBezTo>
                    <a:pt x="324" y="396"/>
                    <a:pt x="335" y="408"/>
                    <a:pt x="345" y="418"/>
                  </a:cubicBezTo>
                  <a:cubicBezTo>
                    <a:pt x="370" y="445"/>
                    <a:pt x="380" y="457"/>
                    <a:pt x="362" y="484"/>
                  </a:cubicBezTo>
                  <a:cubicBezTo>
                    <a:pt x="353" y="496"/>
                    <a:pt x="345" y="502"/>
                    <a:pt x="336" y="508"/>
                  </a:cubicBezTo>
                  <a:cubicBezTo>
                    <a:pt x="304" y="529"/>
                    <a:pt x="285" y="550"/>
                    <a:pt x="285" y="673"/>
                  </a:cubicBezTo>
                  <a:cubicBezTo>
                    <a:pt x="285" y="686"/>
                    <a:pt x="290" y="695"/>
                    <a:pt x="290" y="702"/>
                  </a:cubicBezTo>
                  <a:cubicBezTo>
                    <a:pt x="290" y="718"/>
                    <a:pt x="290" y="740"/>
                    <a:pt x="289" y="765"/>
                  </a:cubicBezTo>
                  <a:cubicBezTo>
                    <a:pt x="288" y="848"/>
                    <a:pt x="286" y="877"/>
                    <a:pt x="286" y="914"/>
                  </a:cubicBezTo>
                  <a:cubicBezTo>
                    <a:pt x="286" y="924"/>
                    <a:pt x="286" y="924"/>
                    <a:pt x="286" y="924"/>
                  </a:cubicBezTo>
                  <a:cubicBezTo>
                    <a:pt x="286" y="972"/>
                    <a:pt x="286" y="1083"/>
                    <a:pt x="268" y="1100"/>
                  </a:cubicBezTo>
                  <a:cubicBezTo>
                    <a:pt x="267" y="1102"/>
                    <a:pt x="266" y="1102"/>
                    <a:pt x="266" y="1102"/>
                  </a:cubicBezTo>
                  <a:cubicBezTo>
                    <a:pt x="264" y="1102"/>
                    <a:pt x="262" y="1101"/>
                    <a:pt x="260" y="1099"/>
                  </a:cubicBezTo>
                  <a:cubicBezTo>
                    <a:pt x="243" y="1083"/>
                    <a:pt x="243" y="1003"/>
                    <a:pt x="243" y="912"/>
                  </a:cubicBezTo>
                  <a:cubicBezTo>
                    <a:pt x="243" y="826"/>
                    <a:pt x="249" y="764"/>
                    <a:pt x="252" y="697"/>
                  </a:cubicBezTo>
                  <a:cubicBezTo>
                    <a:pt x="252" y="686"/>
                    <a:pt x="259" y="676"/>
                    <a:pt x="260" y="664"/>
                  </a:cubicBezTo>
                  <a:cubicBezTo>
                    <a:pt x="261" y="656"/>
                    <a:pt x="261" y="656"/>
                    <a:pt x="261" y="656"/>
                  </a:cubicBezTo>
                  <a:cubicBezTo>
                    <a:pt x="264" y="623"/>
                    <a:pt x="271" y="561"/>
                    <a:pt x="239" y="457"/>
                  </a:cubicBezTo>
                  <a:cubicBezTo>
                    <a:pt x="228" y="420"/>
                    <a:pt x="226" y="381"/>
                    <a:pt x="229" y="343"/>
                  </a:cubicBezTo>
                  <a:cubicBezTo>
                    <a:pt x="237" y="290"/>
                    <a:pt x="246" y="252"/>
                    <a:pt x="253" y="224"/>
                  </a:cubicBezTo>
                  <a:cubicBezTo>
                    <a:pt x="258" y="208"/>
                    <a:pt x="263" y="192"/>
                    <a:pt x="268" y="179"/>
                  </a:cubicBezTo>
                  <a:cubicBezTo>
                    <a:pt x="271" y="167"/>
                    <a:pt x="271" y="167"/>
                    <a:pt x="271" y="167"/>
                  </a:cubicBezTo>
                  <a:cubicBezTo>
                    <a:pt x="288" y="117"/>
                    <a:pt x="282" y="62"/>
                    <a:pt x="258" y="30"/>
                  </a:cubicBezTo>
                  <a:cubicBezTo>
                    <a:pt x="242" y="10"/>
                    <a:pt x="220" y="0"/>
                    <a:pt x="193" y="1"/>
                  </a:cubicBezTo>
                  <a:cubicBezTo>
                    <a:pt x="178" y="2"/>
                    <a:pt x="166" y="7"/>
                    <a:pt x="158" y="16"/>
                  </a:cubicBezTo>
                  <a:cubicBezTo>
                    <a:pt x="146" y="31"/>
                    <a:pt x="148" y="52"/>
                    <a:pt x="150" y="70"/>
                  </a:cubicBezTo>
                  <a:cubicBezTo>
                    <a:pt x="153" y="98"/>
                    <a:pt x="152" y="107"/>
                    <a:pt x="140" y="112"/>
                  </a:cubicBezTo>
                  <a:cubicBezTo>
                    <a:pt x="127" y="117"/>
                    <a:pt x="113" y="102"/>
                    <a:pt x="93" y="79"/>
                  </a:cubicBezTo>
                  <a:cubicBezTo>
                    <a:pt x="75" y="58"/>
                    <a:pt x="58" y="38"/>
                    <a:pt x="32" y="35"/>
                  </a:cubicBezTo>
                  <a:cubicBezTo>
                    <a:pt x="21" y="34"/>
                    <a:pt x="2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3" y="34"/>
                    <a:pt x="25" y="38"/>
                    <a:pt x="26" y="49"/>
                  </a:cubicBezTo>
                  <a:cubicBezTo>
                    <a:pt x="26" y="60"/>
                    <a:pt x="12" y="65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18" y="64"/>
                    <a:pt x="33" y="66"/>
                  </a:cubicBezTo>
                  <a:cubicBezTo>
                    <a:pt x="46" y="69"/>
                    <a:pt x="58" y="80"/>
                    <a:pt x="72" y="97"/>
                  </a:cubicBezTo>
                  <a:cubicBezTo>
                    <a:pt x="93" y="121"/>
                    <a:pt x="118" y="149"/>
                    <a:pt x="149" y="138"/>
                  </a:cubicBezTo>
                  <a:cubicBezTo>
                    <a:pt x="184" y="125"/>
                    <a:pt x="180" y="92"/>
                    <a:pt x="177" y="67"/>
                  </a:cubicBezTo>
                  <a:cubicBezTo>
                    <a:pt x="176" y="54"/>
                    <a:pt x="174" y="40"/>
                    <a:pt x="179" y="34"/>
                  </a:cubicBezTo>
                  <a:cubicBezTo>
                    <a:pt x="182" y="30"/>
                    <a:pt x="189" y="29"/>
                    <a:pt x="195" y="29"/>
                  </a:cubicBezTo>
                  <a:cubicBezTo>
                    <a:pt x="212" y="28"/>
                    <a:pt x="226" y="34"/>
                    <a:pt x="237" y="47"/>
                  </a:cubicBezTo>
                  <a:cubicBezTo>
                    <a:pt x="255" y="71"/>
                    <a:pt x="259" y="117"/>
                    <a:pt x="246" y="159"/>
                  </a:cubicBezTo>
                  <a:cubicBezTo>
                    <a:pt x="242" y="171"/>
                    <a:pt x="242" y="171"/>
                    <a:pt x="242" y="171"/>
                  </a:cubicBezTo>
                  <a:cubicBezTo>
                    <a:pt x="238" y="183"/>
                    <a:pt x="233" y="196"/>
                    <a:pt x="229" y="211"/>
                  </a:cubicBezTo>
                  <a:cubicBezTo>
                    <a:pt x="222" y="229"/>
                    <a:pt x="206" y="275"/>
                    <a:pt x="202" y="347"/>
                  </a:cubicBezTo>
                  <a:cubicBezTo>
                    <a:pt x="199" y="386"/>
                    <a:pt x="201" y="426"/>
                    <a:pt x="213" y="465"/>
                  </a:cubicBezTo>
                  <a:cubicBezTo>
                    <a:pt x="243" y="564"/>
                    <a:pt x="237" y="622"/>
                    <a:pt x="234" y="653"/>
                  </a:cubicBezTo>
                  <a:cubicBezTo>
                    <a:pt x="233" y="661"/>
                    <a:pt x="233" y="661"/>
                    <a:pt x="233" y="661"/>
                  </a:cubicBezTo>
                  <a:cubicBezTo>
                    <a:pt x="233" y="674"/>
                    <a:pt x="240" y="681"/>
                    <a:pt x="240" y="697"/>
                  </a:cubicBezTo>
                  <a:cubicBezTo>
                    <a:pt x="238" y="762"/>
                    <a:pt x="231" y="825"/>
                    <a:pt x="231" y="912"/>
                  </a:cubicBezTo>
                  <a:cubicBezTo>
                    <a:pt x="231" y="1014"/>
                    <a:pt x="231" y="1088"/>
                    <a:pt x="252" y="1108"/>
                  </a:cubicBezTo>
                  <a:cubicBezTo>
                    <a:pt x="256" y="1112"/>
                    <a:pt x="260" y="1114"/>
                    <a:pt x="266" y="1114"/>
                  </a:cubicBezTo>
                  <a:cubicBezTo>
                    <a:pt x="268" y="1114"/>
                    <a:pt x="273" y="1113"/>
                    <a:pt x="277" y="1109"/>
                  </a:cubicBezTo>
                  <a:cubicBezTo>
                    <a:pt x="296" y="1089"/>
                    <a:pt x="298" y="1003"/>
                    <a:pt x="298" y="924"/>
                  </a:cubicBezTo>
                  <a:cubicBezTo>
                    <a:pt x="298" y="914"/>
                    <a:pt x="298" y="914"/>
                    <a:pt x="298" y="914"/>
                  </a:cubicBezTo>
                  <a:cubicBezTo>
                    <a:pt x="298" y="877"/>
                    <a:pt x="300" y="848"/>
                    <a:pt x="301" y="765"/>
                  </a:cubicBezTo>
                  <a:cubicBezTo>
                    <a:pt x="302" y="741"/>
                    <a:pt x="303" y="719"/>
                    <a:pt x="303" y="703"/>
                  </a:cubicBezTo>
                  <a:cubicBezTo>
                    <a:pt x="303" y="692"/>
                    <a:pt x="313" y="686"/>
                    <a:pt x="312" y="673"/>
                  </a:cubicBezTo>
                  <a:cubicBezTo>
                    <a:pt x="312" y="556"/>
                    <a:pt x="329" y="545"/>
                    <a:pt x="351" y="531"/>
                  </a:cubicBezTo>
                  <a:cubicBezTo>
                    <a:pt x="360" y="524"/>
                    <a:pt x="373" y="516"/>
                    <a:pt x="384" y="499"/>
                  </a:cubicBezTo>
                  <a:cubicBezTo>
                    <a:pt x="416" y="454"/>
                    <a:pt x="389" y="425"/>
                    <a:pt x="365" y="399"/>
                  </a:cubicBezTo>
                  <a:cubicBezTo>
                    <a:pt x="355" y="389"/>
                    <a:pt x="346" y="379"/>
                    <a:pt x="339" y="367"/>
                  </a:cubicBezTo>
                  <a:cubicBezTo>
                    <a:pt x="328" y="351"/>
                    <a:pt x="325" y="338"/>
                    <a:pt x="329" y="328"/>
                  </a:cubicBezTo>
                  <a:cubicBezTo>
                    <a:pt x="333" y="318"/>
                    <a:pt x="346" y="309"/>
                    <a:pt x="369" y="303"/>
                  </a:cubicBezTo>
                  <a:cubicBezTo>
                    <a:pt x="402" y="294"/>
                    <a:pt x="433" y="266"/>
                    <a:pt x="446" y="234"/>
                  </a:cubicBezTo>
                  <a:cubicBezTo>
                    <a:pt x="456" y="210"/>
                    <a:pt x="455" y="187"/>
                    <a:pt x="444" y="168"/>
                  </a:cubicBezTo>
                  <a:cubicBezTo>
                    <a:pt x="439" y="158"/>
                    <a:pt x="430" y="154"/>
                    <a:pt x="425" y="153"/>
                  </a:cubicBezTo>
                  <a:cubicBezTo>
                    <a:pt x="406" y="148"/>
                    <a:pt x="385" y="162"/>
                    <a:pt x="364" y="175"/>
                  </a:cubicBezTo>
                  <a:cubicBezTo>
                    <a:pt x="357" y="179"/>
                    <a:pt x="347" y="186"/>
                    <a:pt x="340" y="189"/>
                  </a:cubicBezTo>
                  <a:cubicBezTo>
                    <a:pt x="331" y="194"/>
                    <a:pt x="332" y="181"/>
                    <a:pt x="332" y="178"/>
                  </a:cubicBezTo>
                  <a:cubicBezTo>
                    <a:pt x="332" y="163"/>
                    <a:pt x="342" y="156"/>
                    <a:pt x="363" y="144"/>
                  </a:cubicBezTo>
                  <a:cubicBezTo>
                    <a:pt x="373" y="137"/>
                    <a:pt x="384" y="131"/>
                    <a:pt x="394" y="121"/>
                  </a:cubicBezTo>
                  <a:cubicBezTo>
                    <a:pt x="408" y="108"/>
                    <a:pt x="411" y="91"/>
                    <a:pt x="415" y="75"/>
                  </a:cubicBezTo>
                  <a:cubicBezTo>
                    <a:pt x="420" y="51"/>
                    <a:pt x="423" y="41"/>
                    <a:pt x="447" y="41"/>
                  </a:cubicBezTo>
                  <a:cubicBezTo>
                    <a:pt x="464" y="40"/>
                    <a:pt x="475" y="44"/>
                    <a:pt x="483" y="52"/>
                  </a:cubicBezTo>
                  <a:cubicBezTo>
                    <a:pt x="498" y="66"/>
                    <a:pt x="501" y="99"/>
                    <a:pt x="502" y="133"/>
                  </a:cubicBezTo>
                  <a:cubicBezTo>
                    <a:pt x="503" y="196"/>
                    <a:pt x="500" y="206"/>
                    <a:pt x="458" y="246"/>
                  </a:cubicBezTo>
                  <a:cubicBezTo>
                    <a:pt x="431" y="267"/>
                    <a:pt x="425" y="307"/>
                    <a:pt x="451" y="342"/>
                  </a:cubicBezTo>
                  <a:cubicBezTo>
                    <a:pt x="472" y="372"/>
                    <a:pt x="495" y="370"/>
                    <a:pt x="512" y="381"/>
                  </a:cubicBezTo>
                  <a:cubicBezTo>
                    <a:pt x="520" y="386"/>
                    <a:pt x="537" y="412"/>
                    <a:pt x="551" y="435"/>
                  </a:cubicBezTo>
                  <a:cubicBezTo>
                    <a:pt x="567" y="458"/>
                    <a:pt x="585" y="475"/>
                    <a:pt x="608" y="482"/>
                  </a:cubicBezTo>
                  <a:cubicBezTo>
                    <a:pt x="617" y="486"/>
                    <a:pt x="617" y="494"/>
                    <a:pt x="617" y="499"/>
                  </a:cubicBezTo>
                  <a:cubicBezTo>
                    <a:pt x="619" y="553"/>
                    <a:pt x="621" y="616"/>
                    <a:pt x="617" y="643"/>
                  </a:cubicBezTo>
                  <a:cubicBezTo>
                    <a:pt x="614" y="658"/>
                    <a:pt x="612" y="670"/>
                    <a:pt x="611" y="680"/>
                  </a:cubicBezTo>
                  <a:cubicBezTo>
                    <a:pt x="601" y="658"/>
                    <a:pt x="578" y="641"/>
                    <a:pt x="578" y="641"/>
                  </a:cubicBezTo>
                  <a:cubicBezTo>
                    <a:pt x="578" y="641"/>
                    <a:pt x="578" y="641"/>
                    <a:pt x="578" y="641"/>
                  </a:cubicBezTo>
                  <a:cubicBezTo>
                    <a:pt x="578" y="641"/>
                    <a:pt x="578" y="641"/>
                    <a:pt x="578" y="641"/>
                  </a:cubicBezTo>
                  <a:cubicBezTo>
                    <a:pt x="574" y="639"/>
                    <a:pt x="570" y="643"/>
                    <a:pt x="568" y="649"/>
                  </a:cubicBezTo>
                  <a:cubicBezTo>
                    <a:pt x="566" y="655"/>
                    <a:pt x="567" y="660"/>
                    <a:pt x="570" y="662"/>
                  </a:cubicBezTo>
                  <a:cubicBezTo>
                    <a:pt x="570" y="662"/>
                    <a:pt x="570" y="661"/>
                    <a:pt x="570" y="661"/>
                  </a:cubicBezTo>
                  <a:cubicBezTo>
                    <a:pt x="570" y="662"/>
                    <a:pt x="570" y="662"/>
                    <a:pt x="570" y="662"/>
                  </a:cubicBezTo>
                  <a:cubicBezTo>
                    <a:pt x="578" y="670"/>
                    <a:pt x="603" y="707"/>
                    <a:pt x="608" y="747"/>
                  </a:cubicBezTo>
                  <a:cubicBezTo>
                    <a:pt x="607" y="752"/>
                    <a:pt x="607" y="757"/>
                    <a:pt x="606" y="762"/>
                  </a:cubicBezTo>
                  <a:cubicBezTo>
                    <a:pt x="604" y="784"/>
                    <a:pt x="605" y="808"/>
                    <a:pt x="604" y="832"/>
                  </a:cubicBezTo>
                  <a:cubicBezTo>
                    <a:pt x="603" y="848"/>
                    <a:pt x="602" y="865"/>
                    <a:pt x="602" y="882"/>
                  </a:cubicBezTo>
                  <a:cubicBezTo>
                    <a:pt x="601" y="897"/>
                    <a:pt x="596" y="975"/>
                    <a:pt x="593" y="1050"/>
                  </a:cubicBezTo>
                  <a:cubicBezTo>
                    <a:pt x="582" y="1040"/>
                    <a:pt x="573" y="1031"/>
                    <a:pt x="569" y="1027"/>
                  </a:cubicBezTo>
                  <a:cubicBezTo>
                    <a:pt x="570" y="1029"/>
                    <a:pt x="570" y="1033"/>
                    <a:pt x="569" y="1038"/>
                  </a:cubicBezTo>
                  <a:cubicBezTo>
                    <a:pt x="567" y="1043"/>
                    <a:pt x="562" y="1047"/>
                    <a:pt x="559" y="1046"/>
                  </a:cubicBezTo>
                  <a:cubicBezTo>
                    <a:pt x="559" y="1046"/>
                    <a:pt x="559" y="1046"/>
                    <a:pt x="559" y="1046"/>
                  </a:cubicBezTo>
                  <a:cubicBezTo>
                    <a:pt x="559" y="1046"/>
                    <a:pt x="559" y="1046"/>
                    <a:pt x="559" y="1046"/>
                  </a:cubicBezTo>
                  <a:cubicBezTo>
                    <a:pt x="565" y="1052"/>
                    <a:pt x="581" y="1074"/>
                    <a:pt x="590" y="1102"/>
                  </a:cubicBezTo>
                  <a:cubicBezTo>
                    <a:pt x="588" y="1148"/>
                    <a:pt x="586" y="1153"/>
                    <a:pt x="587" y="1163"/>
                  </a:cubicBezTo>
                  <a:cubicBezTo>
                    <a:pt x="588" y="1172"/>
                    <a:pt x="600" y="1183"/>
                    <a:pt x="623" y="1183"/>
                  </a:cubicBezTo>
                  <a:cubicBezTo>
                    <a:pt x="646" y="1183"/>
                    <a:pt x="666" y="1176"/>
                    <a:pt x="665" y="1167"/>
                  </a:cubicBezTo>
                  <a:cubicBezTo>
                    <a:pt x="664" y="1138"/>
                    <a:pt x="671" y="1065"/>
                    <a:pt x="671" y="1026"/>
                  </a:cubicBezTo>
                  <a:cubicBezTo>
                    <a:pt x="671" y="997"/>
                    <a:pt x="670" y="874"/>
                    <a:pt x="673" y="835"/>
                  </a:cubicBezTo>
                  <a:cubicBezTo>
                    <a:pt x="674" y="811"/>
                    <a:pt x="672" y="795"/>
                    <a:pt x="675" y="771"/>
                  </a:cubicBezTo>
                  <a:cubicBezTo>
                    <a:pt x="676" y="753"/>
                    <a:pt x="677" y="741"/>
                    <a:pt x="677" y="728"/>
                  </a:cubicBezTo>
                  <a:cubicBezTo>
                    <a:pt x="677" y="709"/>
                    <a:pt x="679" y="693"/>
                    <a:pt x="685" y="657"/>
                  </a:cubicBezTo>
                  <a:cubicBezTo>
                    <a:pt x="686" y="652"/>
                    <a:pt x="688" y="641"/>
                    <a:pt x="689" y="636"/>
                  </a:cubicBezTo>
                  <a:cubicBezTo>
                    <a:pt x="697" y="599"/>
                    <a:pt x="721" y="558"/>
                    <a:pt x="728" y="551"/>
                  </a:cubicBezTo>
                  <a:close/>
                </a:path>
              </a:pathLst>
            </a:custGeom>
            <a:solidFill>
              <a:srgbClr val="FDC270"/>
            </a:solidFill>
            <a:ln w="9525">
              <a:solidFill>
                <a:srgbClr val="9A3204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 sz="1050" baseline="0">
                <a:solidFill>
                  <a:prstClr val="black"/>
                </a:solidFill>
              </a:endParaRPr>
            </a:p>
          </p:txBody>
        </p:sp>
        <p:sp>
          <p:nvSpPr>
            <p:cNvPr id="485" name="Freeform 13"/>
            <p:cNvSpPr>
              <a:spLocks/>
            </p:cNvSpPr>
            <p:nvPr/>
          </p:nvSpPr>
          <p:spPr bwMode="auto">
            <a:xfrm>
              <a:off x="8285163" y="3867150"/>
              <a:ext cx="90487" cy="114300"/>
            </a:xfrm>
            <a:custGeom>
              <a:avLst/>
              <a:gdLst>
                <a:gd name="T0" fmla="*/ 2147483646 w 15"/>
                <a:gd name="T1" fmla="*/ 2147483646 h 24"/>
                <a:gd name="T2" fmla="*/ 2147483646 w 15"/>
                <a:gd name="T3" fmla="*/ 2147483646 h 24"/>
                <a:gd name="T4" fmla="*/ 2147483646 w 15"/>
                <a:gd name="T5" fmla="*/ 2147483646 h 24"/>
                <a:gd name="T6" fmla="*/ 2147483646 w 15"/>
                <a:gd name="T7" fmla="*/ 2147483646 h 24"/>
                <a:gd name="T8" fmla="*/ 2147483646 w 15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" h="24">
                  <a:moveTo>
                    <a:pt x="12" y="2"/>
                  </a:moveTo>
                  <a:cubicBezTo>
                    <a:pt x="8" y="0"/>
                    <a:pt x="4" y="4"/>
                    <a:pt x="2" y="10"/>
                  </a:cubicBezTo>
                  <a:cubicBezTo>
                    <a:pt x="0" y="16"/>
                    <a:pt x="1" y="21"/>
                    <a:pt x="4" y="23"/>
                  </a:cubicBezTo>
                  <a:cubicBezTo>
                    <a:pt x="7" y="24"/>
                    <a:pt x="11" y="20"/>
                    <a:pt x="13" y="14"/>
                  </a:cubicBezTo>
                  <a:cubicBezTo>
                    <a:pt x="15" y="9"/>
                    <a:pt x="15" y="3"/>
                    <a:pt x="12" y="2"/>
                  </a:cubicBezTo>
                  <a:close/>
                </a:path>
              </a:pathLst>
            </a:custGeom>
            <a:solidFill>
              <a:srgbClr val="FEE1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6" name="Freeform 14"/>
            <p:cNvSpPr>
              <a:spLocks/>
            </p:cNvSpPr>
            <p:nvPr/>
          </p:nvSpPr>
          <p:spPr bwMode="auto">
            <a:xfrm>
              <a:off x="8307388" y="3897313"/>
              <a:ext cx="46037" cy="55562"/>
            </a:xfrm>
            <a:custGeom>
              <a:avLst/>
              <a:gdLst>
                <a:gd name="T0" fmla="*/ 2147483646 w 8"/>
                <a:gd name="T1" fmla="*/ 0 h 12"/>
                <a:gd name="T2" fmla="*/ 2147483646 w 8"/>
                <a:gd name="T3" fmla="*/ 2147483646 h 12"/>
                <a:gd name="T4" fmla="*/ 2147483646 w 8"/>
                <a:gd name="T5" fmla="*/ 2147483646 h 12"/>
                <a:gd name="T6" fmla="*/ 2147483646 w 8"/>
                <a:gd name="T7" fmla="*/ 2147483646 h 12"/>
                <a:gd name="T8" fmla="*/ 2147483646 w 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12">
                  <a:moveTo>
                    <a:pt x="6" y="0"/>
                  </a:moveTo>
                  <a:cubicBezTo>
                    <a:pt x="4" y="0"/>
                    <a:pt x="2" y="2"/>
                    <a:pt x="1" y="5"/>
                  </a:cubicBezTo>
                  <a:cubicBezTo>
                    <a:pt x="0" y="8"/>
                    <a:pt x="0" y="11"/>
                    <a:pt x="2" y="12"/>
                  </a:cubicBezTo>
                  <a:cubicBezTo>
                    <a:pt x="3" y="12"/>
                    <a:pt x="6" y="10"/>
                    <a:pt x="7" y="7"/>
                  </a:cubicBezTo>
                  <a:cubicBezTo>
                    <a:pt x="8" y="4"/>
                    <a:pt x="7" y="1"/>
                    <a:pt x="6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8A4E05"/>
                </a:gs>
                <a:gs pos="50000">
                  <a:srgbClr val="C7720D"/>
                </a:gs>
                <a:gs pos="100000">
                  <a:srgbClr val="ED8912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7" name="Freeform 19"/>
            <p:cNvSpPr>
              <a:spLocks/>
            </p:cNvSpPr>
            <p:nvPr/>
          </p:nvSpPr>
          <p:spPr bwMode="auto">
            <a:xfrm>
              <a:off x="7502525" y="1389063"/>
              <a:ext cx="508000" cy="995362"/>
            </a:xfrm>
            <a:custGeom>
              <a:avLst/>
              <a:gdLst>
                <a:gd name="T0" fmla="*/ 2147483646 w 87"/>
                <a:gd name="T1" fmla="*/ 2147483646 h 210"/>
                <a:gd name="T2" fmla="*/ 2147483646 w 87"/>
                <a:gd name="T3" fmla="*/ 2147483646 h 210"/>
                <a:gd name="T4" fmla="*/ 2147483646 w 87"/>
                <a:gd name="T5" fmla="*/ 2147483646 h 210"/>
                <a:gd name="T6" fmla="*/ 2147483646 w 87"/>
                <a:gd name="T7" fmla="*/ 0 h 210"/>
                <a:gd name="T8" fmla="*/ 2147483646 w 87"/>
                <a:gd name="T9" fmla="*/ 2147483646 h 210"/>
                <a:gd name="T10" fmla="*/ 2147483646 w 87"/>
                <a:gd name="T11" fmla="*/ 2147483646 h 2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7" h="210">
                  <a:moveTo>
                    <a:pt x="7" y="210"/>
                  </a:moveTo>
                  <a:cubicBezTo>
                    <a:pt x="4" y="183"/>
                    <a:pt x="0" y="159"/>
                    <a:pt x="28" y="133"/>
                  </a:cubicBezTo>
                  <a:cubicBezTo>
                    <a:pt x="70" y="93"/>
                    <a:pt x="73" y="83"/>
                    <a:pt x="72" y="20"/>
                  </a:cubicBezTo>
                  <a:cubicBezTo>
                    <a:pt x="72" y="13"/>
                    <a:pt x="71" y="7"/>
                    <a:pt x="71" y="0"/>
                  </a:cubicBezTo>
                  <a:cubicBezTo>
                    <a:pt x="75" y="32"/>
                    <a:pt x="87" y="75"/>
                    <a:pt x="57" y="112"/>
                  </a:cubicBezTo>
                  <a:cubicBezTo>
                    <a:pt x="26" y="148"/>
                    <a:pt x="5" y="147"/>
                    <a:pt x="7" y="2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8" name="Freeform 21"/>
            <p:cNvSpPr>
              <a:spLocks/>
            </p:cNvSpPr>
            <p:nvPr/>
          </p:nvSpPr>
          <p:spPr bwMode="auto">
            <a:xfrm>
              <a:off x="7026275" y="2914650"/>
              <a:ext cx="254000" cy="301625"/>
            </a:xfrm>
            <a:custGeom>
              <a:avLst/>
              <a:gdLst>
                <a:gd name="T0" fmla="*/ 0 w 43"/>
                <a:gd name="T1" fmla="*/ 2147483646 h 64"/>
                <a:gd name="T2" fmla="*/ 2147483646 w 43"/>
                <a:gd name="T3" fmla="*/ 2147483646 h 64"/>
                <a:gd name="T4" fmla="*/ 2147483646 w 43"/>
                <a:gd name="T5" fmla="*/ 0 h 64"/>
                <a:gd name="T6" fmla="*/ 0 w 43"/>
                <a:gd name="T7" fmla="*/ 2147483646 h 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3" h="64">
                  <a:moveTo>
                    <a:pt x="0" y="64"/>
                  </a:moveTo>
                  <a:cubicBezTo>
                    <a:pt x="5" y="60"/>
                    <a:pt x="9" y="55"/>
                    <a:pt x="13" y="49"/>
                  </a:cubicBezTo>
                  <a:cubicBezTo>
                    <a:pt x="27" y="29"/>
                    <a:pt x="24" y="16"/>
                    <a:pt x="12" y="0"/>
                  </a:cubicBezTo>
                  <a:cubicBezTo>
                    <a:pt x="25" y="13"/>
                    <a:pt x="43" y="29"/>
                    <a:pt x="0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89" name="Freeform 22"/>
            <p:cNvSpPr>
              <a:spLocks/>
            </p:cNvSpPr>
            <p:nvPr/>
          </p:nvSpPr>
          <p:spPr bwMode="auto">
            <a:xfrm>
              <a:off x="6746875" y="1947863"/>
              <a:ext cx="685800" cy="501650"/>
            </a:xfrm>
            <a:custGeom>
              <a:avLst/>
              <a:gdLst>
                <a:gd name="T0" fmla="*/ 0 w 117"/>
                <a:gd name="T1" fmla="*/ 2147483646 h 106"/>
                <a:gd name="T2" fmla="*/ 2147483646 w 117"/>
                <a:gd name="T3" fmla="*/ 2147483646 h 106"/>
                <a:gd name="T4" fmla="*/ 2147483646 w 117"/>
                <a:gd name="T5" fmla="*/ 2147483646 h 106"/>
                <a:gd name="T6" fmla="*/ 2147483646 w 117"/>
                <a:gd name="T7" fmla="*/ 0 h 106"/>
                <a:gd name="T8" fmla="*/ 2147483646 w 117"/>
                <a:gd name="T9" fmla="*/ 2147483646 h 106"/>
                <a:gd name="T10" fmla="*/ 0 w 117"/>
                <a:gd name="T11" fmla="*/ 2147483646 h 1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7" h="106">
                  <a:moveTo>
                    <a:pt x="0" y="106"/>
                  </a:moveTo>
                  <a:cubicBezTo>
                    <a:pt x="0" y="100"/>
                    <a:pt x="1" y="94"/>
                    <a:pt x="3" y="89"/>
                  </a:cubicBezTo>
                  <a:cubicBezTo>
                    <a:pt x="10" y="70"/>
                    <a:pt x="29" y="56"/>
                    <a:pt x="61" y="47"/>
                  </a:cubicBezTo>
                  <a:cubicBezTo>
                    <a:pt x="84" y="40"/>
                    <a:pt x="106" y="22"/>
                    <a:pt x="117" y="0"/>
                  </a:cubicBezTo>
                  <a:cubicBezTo>
                    <a:pt x="102" y="24"/>
                    <a:pt x="96" y="40"/>
                    <a:pt x="50" y="58"/>
                  </a:cubicBezTo>
                  <a:cubicBezTo>
                    <a:pt x="4" y="75"/>
                    <a:pt x="4" y="92"/>
                    <a:pt x="0" y="10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0" name="Freeform 23"/>
            <p:cNvSpPr>
              <a:spLocks/>
            </p:cNvSpPr>
            <p:nvPr/>
          </p:nvSpPr>
          <p:spPr bwMode="auto">
            <a:xfrm>
              <a:off x="6732588" y="1435100"/>
              <a:ext cx="263525" cy="312738"/>
            </a:xfrm>
            <a:custGeom>
              <a:avLst/>
              <a:gdLst>
                <a:gd name="T0" fmla="*/ 2147483646 w 45"/>
                <a:gd name="T1" fmla="*/ 2147483646 h 66"/>
                <a:gd name="T2" fmla="*/ 2147483646 w 45"/>
                <a:gd name="T3" fmla="*/ 0 h 66"/>
                <a:gd name="T4" fmla="*/ 2147483646 w 45"/>
                <a:gd name="T5" fmla="*/ 2147483646 h 6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5" h="66">
                  <a:moveTo>
                    <a:pt x="6" y="66"/>
                  </a:moveTo>
                  <a:cubicBezTo>
                    <a:pt x="0" y="30"/>
                    <a:pt x="24" y="13"/>
                    <a:pt x="45" y="0"/>
                  </a:cubicBezTo>
                  <a:cubicBezTo>
                    <a:pt x="32" y="12"/>
                    <a:pt x="4" y="39"/>
                    <a:pt x="6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1" name="Freeform 24"/>
            <p:cNvSpPr>
              <a:spLocks/>
            </p:cNvSpPr>
            <p:nvPr/>
          </p:nvSpPr>
          <p:spPr bwMode="auto">
            <a:xfrm>
              <a:off x="7200900" y="915988"/>
              <a:ext cx="344488" cy="384175"/>
            </a:xfrm>
            <a:custGeom>
              <a:avLst/>
              <a:gdLst>
                <a:gd name="T0" fmla="*/ 2147483646 w 59"/>
                <a:gd name="T1" fmla="*/ 0 h 81"/>
                <a:gd name="T2" fmla="*/ 2147483646 w 59"/>
                <a:gd name="T3" fmla="*/ 2147483646 h 81"/>
                <a:gd name="T4" fmla="*/ 0 w 59"/>
                <a:gd name="T5" fmla="*/ 2147483646 h 81"/>
                <a:gd name="T6" fmla="*/ 2147483646 w 59"/>
                <a:gd name="T7" fmla="*/ 2147483646 h 81"/>
                <a:gd name="T8" fmla="*/ 2147483646 w 59"/>
                <a:gd name="T9" fmla="*/ 0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9" h="81">
                  <a:moveTo>
                    <a:pt x="59" y="0"/>
                  </a:moveTo>
                  <a:cubicBezTo>
                    <a:pt x="19" y="4"/>
                    <a:pt x="13" y="34"/>
                    <a:pt x="8" y="56"/>
                  </a:cubicBezTo>
                  <a:cubicBezTo>
                    <a:pt x="6" y="65"/>
                    <a:pt x="4" y="74"/>
                    <a:pt x="0" y="81"/>
                  </a:cubicBezTo>
                  <a:cubicBezTo>
                    <a:pt x="9" y="71"/>
                    <a:pt x="12" y="55"/>
                    <a:pt x="18" y="39"/>
                  </a:cubicBezTo>
                  <a:cubicBezTo>
                    <a:pt x="24" y="23"/>
                    <a:pt x="36" y="3"/>
                    <a:pt x="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2" name="Freeform 43"/>
            <p:cNvSpPr>
              <a:spLocks/>
            </p:cNvSpPr>
            <p:nvPr/>
          </p:nvSpPr>
          <p:spPr bwMode="auto">
            <a:xfrm>
              <a:off x="8283575" y="3867150"/>
              <a:ext cx="90488" cy="114300"/>
            </a:xfrm>
            <a:custGeom>
              <a:avLst/>
              <a:gdLst>
                <a:gd name="T0" fmla="*/ 2147483646 w 15"/>
                <a:gd name="T1" fmla="*/ 2147483646 h 24"/>
                <a:gd name="T2" fmla="*/ 2147483646 w 15"/>
                <a:gd name="T3" fmla="*/ 2147483646 h 24"/>
                <a:gd name="T4" fmla="*/ 2147483646 w 15"/>
                <a:gd name="T5" fmla="*/ 2147483646 h 24"/>
                <a:gd name="T6" fmla="*/ 2147483646 w 15"/>
                <a:gd name="T7" fmla="*/ 2147483646 h 24"/>
                <a:gd name="T8" fmla="*/ 2147483646 w 15"/>
                <a:gd name="T9" fmla="*/ 2147483646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" h="24">
                  <a:moveTo>
                    <a:pt x="12" y="2"/>
                  </a:moveTo>
                  <a:cubicBezTo>
                    <a:pt x="8" y="0"/>
                    <a:pt x="4" y="4"/>
                    <a:pt x="2" y="10"/>
                  </a:cubicBezTo>
                  <a:cubicBezTo>
                    <a:pt x="0" y="16"/>
                    <a:pt x="1" y="21"/>
                    <a:pt x="4" y="23"/>
                  </a:cubicBezTo>
                  <a:cubicBezTo>
                    <a:pt x="7" y="24"/>
                    <a:pt x="11" y="20"/>
                    <a:pt x="13" y="14"/>
                  </a:cubicBezTo>
                  <a:cubicBezTo>
                    <a:pt x="15" y="9"/>
                    <a:pt x="15" y="3"/>
                    <a:pt x="12" y="2"/>
                  </a:cubicBezTo>
                  <a:close/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3" name="Freeform 7"/>
            <p:cNvSpPr>
              <a:spLocks/>
            </p:cNvSpPr>
            <p:nvPr/>
          </p:nvSpPr>
          <p:spPr bwMode="auto">
            <a:xfrm>
              <a:off x="4952665" y="855936"/>
              <a:ext cx="1663352" cy="3137273"/>
            </a:xfrm>
            <a:custGeom>
              <a:avLst/>
              <a:gdLst>
                <a:gd name="T0" fmla="*/ 718 w 728"/>
                <a:gd name="T1" fmla="*/ 543 h 1183"/>
                <a:gd name="T2" fmla="*/ 690 w 728"/>
                <a:gd name="T3" fmla="*/ 563 h 1183"/>
                <a:gd name="T4" fmla="*/ 648 w 728"/>
                <a:gd name="T5" fmla="*/ 419 h 1183"/>
                <a:gd name="T6" fmla="*/ 615 w 728"/>
                <a:gd name="T7" fmla="*/ 447 h 1183"/>
                <a:gd name="T8" fmla="*/ 546 w 728"/>
                <a:gd name="T9" fmla="*/ 384 h 1183"/>
                <a:gd name="T10" fmla="*/ 529 w 728"/>
                <a:gd name="T11" fmla="*/ 133 h 1183"/>
                <a:gd name="T12" fmla="*/ 388 w 728"/>
                <a:gd name="T13" fmla="*/ 70 h 1183"/>
                <a:gd name="T14" fmla="*/ 307 w 728"/>
                <a:gd name="T15" fmla="*/ 196 h 1183"/>
                <a:gd name="T16" fmla="*/ 410 w 728"/>
                <a:gd name="T17" fmla="*/ 180 h 1183"/>
                <a:gd name="T18" fmla="*/ 361 w 728"/>
                <a:gd name="T19" fmla="*/ 277 h 1183"/>
                <a:gd name="T20" fmla="*/ 345 w 728"/>
                <a:gd name="T21" fmla="*/ 418 h 1183"/>
                <a:gd name="T22" fmla="*/ 285 w 728"/>
                <a:gd name="T23" fmla="*/ 673 h 1183"/>
                <a:gd name="T24" fmla="*/ 286 w 728"/>
                <a:gd name="T25" fmla="*/ 914 h 1183"/>
                <a:gd name="T26" fmla="*/ 266 w 728"/>
                <a:gd name="T27" fmla="*/ 1102 h 1183"/>
                <a:gd name="T28" fmla="*/ 252 w 728"/>
                <a:gd name="T29" fmla="*/ 697 h 1183"/>
                <a:gd name="T30" fmla="*/ 239 w 728"/>
                <a:gd name="T31" fmla="*/ 457 h 1183"/>
                <a:gd name="T32" fmla="*/ 268 w 728"/>
                <a:gd name="T33" fmla="*/ 179 h 1183"/>
                <a:gd name="T34" fmla="*/ 193 w 728"/>
                <a:gd name="T35" fmla="*/ 1 h 1183"/>
                <a:gd name="T36" fmla="*/ 140 w 728"/>
                <a:gd name="T37" fmla="*/ 112 h 1183"/>
                <a:gd name="T38" fmla="*/ 2 w 728"/>
                <a:gd name="T39" fmla="*/ 32 h 1183"/>
                <a:gd name="T40" fmla="*/ 0 w 728"/>
                <a:gd name="T41" fmla="*/ 68 h 1183"/>
                <a:gd name="T42" fmla="*/ 72 w 728"/>
                <a:gd name="T43" fmla="*/ 97 h 1183"/>
                <a:gd name="T44" fmla="*/ 179 w 728"/>
                <a:gd name="T45" fmla="*/ 34 h 1183"/>
                <a:gd name="T46" fmla="*/ 246 w 728"/>
                <a:gd name="T47" fmla="*/ 159 h 1183"/>
                <a:gd name="T48" fmla="*/ 202 w 728"/>
                <a:gd name="T49" fmla="*/ 347 h 1183"/>
                <a:gd name="T50" fmla="*/ 233 w 728"/>
                <a:gd name="T51" fmla="*/ 661 h 1183"/>
                <a:gd name="T52" fmla="*/ 252 w 728"/>
                <a:gd name="T53" fmla="*/ 1108 h 1183"/>
                <a:gd name="T54" fmla="*/ 298 w 728"/>
                <a:gd name="T55" fmla="*/ 924 h 1183"/>
                <a:gd name="T56" fmla="*/ 303 w 728"/>
                <a:gd name="T57" fmla="*/ 703 h 1183"/>
                <a:gd name="T58" fmla="*/ 384 w 728"/>
                <a:gd name="T59" fmla="*/ 499 h 1183"/>
                <a:gd name="T60" fmla="*/ 329 w 728"/>
                <a:gd name="T61" fmla="*/ 328 h 1183"/>
                <a:gd name="T62" fmla="*/ 444 w 728"/>
                <a:gd name="T63" fmla="*/ 168 h 1183"/>
                <a:gd name="T64" fmla="*/ 340 w 728"/>
                <a:gd name="T65" fmla="*/ 189 h 1183"/>
                <a:gd name="T66" fmla="*/ 394 w 728"/>
                <a:gd name="T67" fmla="*/ 121 h 1183"/>
                <a:gd name="T68" fmla="*/ 483 w 728"/>
                <a:gd name="T69" fmla="*/ 52 h 1183"/>
                <a:gd name="T70" fmla="*/ 451 w 728"/>
                <a:gd name="T71" fmla="*/ 342 h 1183"/>
                <a:gd name="T72" fmla="*/ 608 w 728"/>
                <a:gd name="T73" fmla="*/ 482 h 1183"/>
                <a:gd name="T74" fmla="*/ 611 w 728"/>
                <a:gd name="T75" fmla="*/ 680 h 1183"/>
                <a:gd name="T76" fmla="*/ 578 w 728"/>
                <a:gd name="T77" fmla="*/ 641 h 1183"/>
                <a:gd name="T78" fmla="*/ 570 w 728"/>
                <a:gd name="T79" fmla="*/ 661 h 1183"/>
                <a:gd name="T80" fmla="*/ 606 w 728"/>
                <a:gd name="T81" fmla="*/ 762 h 1183"/>
                <a:gd name="T82" fmla="*/ 593 w 728"/>
                <a:gd name="T83" fmla="*/ 1050 h 1183"/>
                <a:gd name="T84" fmla="*/ 559 w 728"/>
                <a:gd name="T85" fmla="*/ 1046 h 1183"/>
                <a:gd name="T86" fmla="*/ 590 w 728"/>
                <a:gd name="T87" fmla="*/ 1102 h 1183"/>
                <a:gd name="T88" fmla="*/ 665 w 728"/>
                <a:gd name="T89" fmla="*/ 1167 h 1183"/>
                <a:gd name="T90" fmla="*/ 675 w 728"/>
                <a:gd name="T91" fmla="*/ 771 h 1183"/>
                <a:gd name="T92" fmla="*/ 689 w 728"/>
                <a:gd name="T93" fmla="*/ 636 h 1183"/>
                <a:gd name="connsiteX0" fmla="*/ 10000 w 10000"/>
                <a:gd name="connsiteY0" fmla="*/ 4651 h 10058"/>
                <a:gd name="connsiteX1" fmla="*/ 10000 w 10000"/>
                <a:gd name="connsiteY1" fmla="*/ 4651 h 10058"/>
                <a:gd name="connsiteX2" fmla="*/ 9863 w 10000"/>
                <a:gd name="connsiteY2" fmla="*/ 4583 h 10058"/>
                <a:gd name="connsiteX3" fmla="*/ 9890 w 10000"/>
                <a:gd name="connsiteY3" fmla="*/ 4473 h 10058"/>
                <a:gd name="connsiteX4" fmla="*/ 9890 w 10000"/>
                <a:gd name="connsiteY4" fmla="*/ 4473 h 10058"/>
                <a:gd name="connsiteX5" fmla="*/ 9478 w 10000"/>
                <a:gd name="connsiteY5" fmla="*/ 4752 h 10058"/>
                <a:gd name="connsiteX6" fmla="*/ 9409 w 10000"/>
                <a:gd name="connsiteY6" fmla="*/ 4380 h 10058"/>
                <a:gd name="connsiteX7" fmla="*/ 9396 w 10000"/>
                <a:gd name="connsiteY7" fmla="*/ 3459 h 10058"/>
                <a:gd name="connsiteX8" fmla="*/ 8901 w 10000"/>
                <a:gd name="connsiteY8" fmla="*/ 3535 h 10058"/>
                <a:gd name="connsiteX9" fmla="*/ 8434 w 10000"/>
                <a:gd name="connsiteY9" fmla="*/ 3450 h 10058"/>
                <a:gd name="connsiteX10" fmla="*/ 8434 w 10000"/>
                <a:gd name="connsiteY10" fmla="*/ 3450 h 10058"/>
                <a:gd name="connsiteX11" fmla="*/ 8448 w 10000"/>
                <a:gd name="connsiteY11" fmla="*/ 3772 h 10058"/>
                <a:gd name="connsiteX12" fmla="*/ 8379 w 10000"/>
                <a:gd name="connsiteY12" fmla="*/ 3814 h 10058"/>
                <a:gd name="connsiteX13" fmla="*/ 7885 w 10000"/>
                <a:gd name="connsiteY13" fmla="*/ 3569 h 10058"/>
                <a:gd name="connsiteX14" fmla="*/ 7500 w 10000"/>
                <a:gd name="connsiteY14" fmla="*/ 3239 h 10058"/>
                <a:gd name="connsiteX15" fmla="*/ 6868 w 10000"/>
                <a:gd name="connsiteY15" fmla="*/ 2926 h 10058"/>
                <a:gd name="connsiteX16" fmla="*/ 6538 w 10000"/>
                <a:gd name="connsiteY16" fmla="*/ 2242 h 10058"/>
                <a:gd name="connsiteX17" fmla="*/ 7266 w 10000"/>
                <a:gd name="connsiteY17" fmla="*/ 1117 h 10058"/>
                <a:gd name="connsiteX18" fmla="*/ 6896 w 10000"/>
                <a:gd name="connsiteY18" fmla="*/ 263 h 10058"/>
                <a:gd name="connsiteX19" fmla="*/ 6126 w 10000"/>
                <a:gd name="connsiteY19" fmla="*/ 111 h 10058"/>
                <a:gd name="connsiteX20" fmla="*/ 5330 w 10000"/>
                <a:gd name="connsiteY20" fmla="*/ 585 h 10058"/>
                <a:gd name="connsiteX21" fmla="*/ 5151 w 10000"/>
                <a:gd name="connsiteY21" fmla="*/ 855 h 10058"/>
                <a:gd name="connsiteX22" fmla="*/ 4794 w 10000"/>
                <a:gd name="connsiteY22" fmla="*/ 1016 h 10058"/>
                <a:gd name="connsiteX23" fmla="*/ 4217 w 10000"/>
                <a:gd name="connsiteY23" fmla="*/ 1650 h 10058"/>
                <a:gd name="connsiteX24" fmla="*/ 4437 w 10000"/>
                <a:gd name="connsiteY24" fmla="*/ 1819 h 10058"/>
                <a:gd name="connsiteX25" fmla="*/ 5206 w 10000"/>
                <a:gd name="connsiteY25" fmla="*/ 1667 h 10058"/>
                <a:gd name="connsiteX26" fmla="*/ 5632 w 10000"/>
                <a:gd name="connsiteY26" fmla="*/ 1515 h 10058"/>
                <a:gd name="connsiteX27" fmla="*/ 5783 w 10000"/>
                <a:gd name="connsiteY27" fmla="*/ 1531 h 10058"/>
                <a:gd name="connsiteX28" fmla="*/ 5783 w 10000"/>
                <a:gd name="connsiteY28" fmla="*/ 1878 h 10058"/>
                <a:gd name="connsiteX29" fmla="*/ 4959 w 10000"/>
                <a:gd name="connsiteY29" fmla="*/ 2335 h 10058"/>
                <a:gd name="connsiteX30" fmla="*/ 4176 w 10000"/>
                <a:gd name="connsiteY30" fmla="*/ 2690 h 10058"/>
                <a:gd name="connsiteX31" fmla="*/ 4327 w 10000"/>
                <a:gd name="connsiteY31" fmla="*/ 3222 h 10058"/>
                <a:gd name="connsiteX32" fmla="*/ 4739 w 10000"/>
                <a:gd name="connsiteY32" fmla="*/ 3526 h 10058"/>
                <a:gd name="connsiteX33" fmla="*/ 4973 w 10000"/>
                <a:gd name="connsiteY33" fmla="*/ 4084 h 10058"/>
                <a:gd name="connsiteX34" fmla="*/ 4615 w 10000"/>
                <a:gd name="connsiteY34" fmla="*/ 4287 h 10058"/>
                <a:gd name="connsiteX35" fmla="*/ 3915 w 10000"/>
                <a:gd name="connsiteY35" fmla="*/ 5682 h 10058"/>
                <a:gd name="connsiteX36" fmla="*/ 3984 w 10000"/>
                <a:gd name="connsiteY36" fmla="*/ 5927 h 10058"/>
                <a:gd name="connsiteX37" fmla="*/ 3970 w 10000"/>
                <a:gd name="connsiteY37" fmla="*/ 6460 h 10058"/>
                <a:gd name="connsiteX38" fmla="*/ 3929 w 10000"/>
                <a:gd name="connsiteY38" fmla="*/ 7719 h 10058"/>
                <a:gd name="connsiteX39" fmla="*/ 3929 w 10000"/>
                <a:gd name="connsiteY39" fmla="*/ 7804 h 10058"/>
                <a:gd name="connsiteX40" fmla="*/ 3681 w 10000"/>
                <a:gd name="connsiteY40" fmla="*/ 9291 h 10058"/>
                <a:gd name="connsiteX41" fmla="*/ 3654 w 10000"/>
                <a:gd name="connsiteY41" fmla="*/ 9308 h 10058"/>
                <a:gd name="connsiteX42" fmla="*/ 3571 w 10000"/>
                <a:gd name="connsiteY42" fmla="*/ 9283 h 10058"/>
                <a:gd name="connsiteX43" fmla="*/ 3338 w 10000"/>
                <a:gd name="connsiteY43" fmla="*/ 7702 h 10058"/>
                <a:gd name="connsiteX44" fmla="*/ 3462 w 10000"/>
                <a:gd name="connsiteY44" fmla="*/ 5885 h 10058"/>
                <a:gd name="connsiteX45" fmla="*/ 3571 w 10000"/>
                <a:gd name="connsiteY45" fmla="*/ 5606 h 10058"/>
                <a:gd name="connsiteX46" fmla="*/ 3585 w 10000"/>
                <a:gd name="connsiteY46" fmla="*/ 5538 h 10058"/>
                <a:gd name="connsiteX47" fmla="*/ 3283 w 10000"/>
                <a:gd name="connsiteY47" fmla="*/ 3856 h 10058"/>
                <a:gd name="connsiteX48" fmla="*/ 3146 w 10000"/>
                <a:gd name="connsiteY48" fmla="*/ 2892 h 10058"/>
                <a:gd name="connsiteX49" fmla="*/ 3475 w 10000"/>
                <a:gd name="connsiteY49" fmla="*/ 1886 h 10058"/>
                <a:gd name="connsiteX50" fmla="*/ 3681 w 10000"/>
                <a:gd name="connsiteY50" fmla="*/ 1506 h 10058"/>
                <a:gd name="connsiteX51" fmla="*/ 3723 w 10000"/>
                <a:gd name="connsiteY51" fmla="*/ 1405 h 10058"/>
                <a:gd name="connsiteX52" fmla="*/ 3544 w 10000"/>
                <a:gd name="connsiteY52" fmla="*/ 247 h 10058"/>
                <a:gd name="connsiteX53" fmla="*/ 2651 w 10000"/>
                <a:gd name="connsiteY53" fmla="*/ 1 h 10058"/>
                <a:gd name="connsiteX54" fmla="*/ 2170 w 10000"/>
                <a:gd name="connsiteY54" fmla="*/ 128 h 10058"/>
                <a:gd name="connsiteX55" fmla="*/ 2060 w 10000"/>
                <a:gd name="connsiteY55" fmla="*/ 585 h 10058"/>
                <a:gd name="connsiteX56" fmla="*/ 1923 w 10000"/>
                <a:gd name="connsiteY56" fmla="*/ 940 h 10058"/>
                <a:gd name="connsiteX57" fmla="*/ 1277 w 10000"/>
                <a:gd name="connsiteY57" fmla="*/ 661 h 10058"/>
                <a:gd name="connsiteX58" fmla="*/ 440 w 10000"/>
                <a:gd name="connsiteY58" fmla="*/ 289 h 10058"/>
                <a:gd name="connsiteX59" fmla="*/ 27 w 10000"/>
                <a:gd name="connsiteY59" fmla="*/ 263 h 10058"/>
                <a:gd name="connsiteX60" fmla="*/ 27 w 10000"/>
                <a:gd name="connsiteY60" fmla="*/ 263 h 10058"/>
                <a:gd name="connsiteX61" fmla="*/ 357 w 10000"/>
                <a:gd name="connsiteY61" fmla="*/ 407 h 10058"/>
                <a:gd name="connsiteX62" fmla="*/ 0 w 10000"/>
                <a:gd name="connsiteY62" fmla="*/ 568 h 10058"/>
                <a:gd name="connsiteX63" fmla="*/ 0 w 10000"/>
                <a:gd name="connsiteY63" fmla="*/ 568 h 10058"/>
                <a:gd name="connsiteX64" fmla="*/ 453 w 10000"/>
                <a:gd name="connsiteY64" fmla="*/ 551 h 10058"/>
                <a:gd name="connsiteX65" fmla="*/ 989 w 10000"/>
                <a:gd name="connsiteY65" fmla="*/ 813 h 10058"/>
                <a:gd name="connsiteX66" fmla="*/ 2047 w 10000"/>
                <a:gd name="connsiteY66" fmla="*/ 1160 h 10058"/>
                <a:gd name="connsiteX67" fmla="*/ 2431 w 10000"/>
                <a:gd name="connsiteY67" fmla="*/ 559 h 10058"/>
                <a:gd name="connsiteX68" fmla="*/ 2459 w 10000"/>
                <a:gd name="connsiteY68" fmla="*/ 280 h 10058"/>
                <a:gd name="connsiteX69" fmla="*/ 2679 w 10000"/>
                <a:gd name="connsiteY69" fmla="*/ 238 h 10058"/>
                <a:gd name="connsiteX70" fmla="*/ 3255 w 10000"/>
                <a:gd name="connsiteY70" fmla="*/ 390 h 10058"/>
                <a:gd name="connsiteX71" fmla="*/ 3379 w 10000"/>
                <a:gd name="connsiteY71" fmla="*/ 1337 h 10058"/>
                <a:gd name="connsiteX72" fmla="*/ 3324 w 10000"/>
                <a:gd name="connsiteY72" fmla="*/ 1438 h 10058"/>
                <a:gd name="connsiteX73" fmla="*/ 3146 w 10000"/>
                <a:gd name="connsiteY73" fmla="*/ 1777 h 10058"/>
                <a:gd name="connsiteX74" fmla="*/ 2775 w 10000"/>
                <a:gd name="connsiteY74" fmla="*/ 2926 h 10058"/>
                <a:gd name="connsiteX75" fmla="*/ 2926 w 10000"/>
                <a:gd name="connsiteY75" fmla="*/ 3924 h 10058"/>
                <a:gd name="connsiteX76" fmla="*/ 3214 w 10000"/>
                <a:gd name="connsiteY76" fmla="*/ 5513 h 10058"/>
                <a:gd name="connsiteX77" fmla="*/ 3201 w 10000"/>
                <a:gd name="connsiteY77" fmla="*/ 5580 h 10058"/>
                <a:gd name="connsiteX78" fmla="*/ 3297 w 10000"/>
                <a:gd name="connsiteY78" fmla="*/ 5885 h 10058"/>
                <a:gd name="connsiteX79" fmla="*/ 3173 w 10000"/>
                <a:gd name="connsiteY79" fmla="*/ 7702 h 10058"/>
                <a:gd name="connsiteX80" fmla="*/ 3462 w 10000"/>
                <a:gd name="connsiteY80" fmla="*/ 9359 h 10058"/>
                <a:gd name="connsiteX81" fmla="*/ 3654 w 10000"/>
                <a:gd name="connsiteY81" fmla="*/ 9410 h 10058"/>
                <a:gd name="connsiteX82" fmla="*/ 3805 w 10000"/>
                <a:gd name="connsiteY82" fmla="*/ 9367 h 10058"/>
                <a:gd name="connsiteX83" fmla="*/ 4093 w 10000"/>
                <a:gd name="connsiteY83" fmla="*/ 7804 h 10058"/>
                <a:gd name="connsiteX84" fmla="*/ 4093 w 10000"/>
                <a:gd name="connsiteY84" fmla="*/ 7719 h 10058"/>
                <a:gd name="connsiteX85" fmla="*/ 4135 w 10000"/>
                <a:gd name="connsiteY85" fmla="*/ 6460 h 10058"/>
                <a:gd name="connsiteX86" fmla="*/ 4162 w 10000"/>
                <a:gd name="connsiteY86" fmla="*/ 5936 h 10058"/>
                <a:gd name="connsiteX87" fmla="*/ 4286 w 10000"/>
                <a:gd name="connsiteY87" fmla="*/ 5682 h 10058"/>
                <a:gd name="connsiteX88" fmla="*/ 4821 w 10000"/>
                <a:gd name="connsiteY88" fmla="*/ 4482 h 10058"/>
                <a:gd name="connsiteX89" fmla="*/ 5275 w 10000"/>
                <a:gd name="connsiteY89" fmla="*/ 4211 h 10058"/>
                <a:gd name="connsiteX90" fmla="*/ 5014 w 10000"/>
                <a:gd name="connsiteY90" fmla="*/ 3366 h 10058"/>
                <a:gd name="connsiteX91" fmla="*/ 4657 w 10000"/>
                <a:gd name="connsiteY91" fmla="*/ 3095 h 10058"/>
                <a:gd name="connsiteX92" fmla="*/ 4519 w 10000"/>
                <a:gd name="connsiteY92" fmla="*/ 2766 h 10058"/>
                <a:gd name="connsiteX93" fmla="*/ 5069 w 10000"/>
                <a:gd name="connsiteY93" fmla="*/ 2554 h 10058"/>
                <a:gd name="connsiteX94" fmla="*/ 6126 w 10000"/>
                <a:gd name="connsiteY94" fmla="*/ 1971 h 10058"/>
                <a:gd name="connsiteX95" fmla="*/ 6099 w 10000"/>
                <a:gd name="connsiteY95" fmla="*/ 1413 h 10058"/>
                <a:gd name="connsiteX96" fmla="*/ 5838 w 10000"/>
                <a:gd name="connsiteY96" fmla="*/ 1286 h 10058"/>
                <a:gd name="connsiteX97" fmla="*/ 5000 w 10000"/>
                <a:gd name="connsiteY97" fmla="*/ 1472 h 10058"/>
                <a:gd name="connsiteX98" fmla="*/ 4670 w 10000"/>
                <a:gd name="connsiteY98" fmla="*/ 1591 h 10058"/>
                <a:gd name="connsiteX99" fmla="*/ 4560 w 10000"/>
                <a:gd name="connsiteY99" fmla="*/ 1498 h 10058"/>
                <a:gd name="connsiteX100" fmla="*/ 4986 w 10000"/>
                <a:gd name="connsiteY100" fmla="*/ 1210 h 10058"/>
                <a:gd name="connsiteX101" fmla="*/ 5412 w 10000"/>
                <a:gd name="connsiteY101" fmla="*/ 1016 h 10058"/>
                <a:gd name="connsiteX102" fmla="*/ 5701 w 10000"/>
                <a:gd name="connsiteY102" fmla="*/ 627 h 10058"/>
                <a:gd name="connsiteX103" fmla="*/ 6140 w 10000"/>
                <a:gd name="connsiteY103" fmla="*/ 340 h 10058"/>
                <a:gd name="connsiteX104" fmla="*/ 6635 w 10000"/>
                <a:gd name="connsiteY104" fmla="*/ 433 h 10058"/>
                <a:gd name="connsiteX105" fmla="*/ 6896 w 10000"/>
                <a:gd name="connsiteY105" fmla="*/ 1117 h 10058"/>
                <a:gd name="connsiteX106" fmla="*/ 6291 w 10000"/>
                <a:gd name="connsiteY106" fmla="*/ 2072 h 10058"/>
                <a:gd name="connsiteX107" fmla="*/ 6195 w 10000"/>
                <a:gd name="connsiteY107" fmla="*/ 2884 h 10058"/>
                <a:gd name="connsiteX108" fmla="*/ 7033 w 10000"/>
                <a:gd name="connsiteY108" fmla="*/ 3214 h 10058"/>
                <a:gd name="connsiteX109" fmla="*/ 7569 w 10000"/>
                <a:gd name="connsiteY109" fmla="*/ 3670 h 10058"/>
                <a:gd name="connsiteX110" fmla="*/ 8352 w 10000"/>
                <a:gd name="connsiteY110" fmla="*/ 4067 h 10058"/>
                <a:gd name="connsiteX111" fmla="*/ 8475 w 10000"/>
                <a:gd name="connsiteY111" fmla="*/ 4211 h 10058"/>
                <a:gd name="connsiteX112" fmla="*/ 8475 w 10000"/>
                <a:gd name="connsiteY112" fmla="*/ 5428 h 10058"/>
                <a:gd name="connsiteX113" fmla="*/ 8393 w 10000"/>
                <a:gd name="connsiteY113" fmla="*/ 5741 h 10058"/>
                <a:gd name="connsiteX114" fmla="*/ 7940 w 10000"/>
                <a:gd name="connsiteY114" fmla="*/ 5411 h 10058"/>
                <a:gd name="connsiteX115" fmla="*/ 7940 w 10000"/>
                <a:gd name="connsiteY115" fmla="*/ 5411 h 10058"/>
                <a:gd name="connsiteX116" fmla="*/ 7940 w 10000"/>
                <a:gd name="connsiteY116" fmla="*/ 5411 h 10058"/>
                <a:gd name="connsiteX117" fmla="*/ 7802 w 10000"/>
                <a:gd name="connsiteY117" fmla="*/ 5479 h 10058"/>
                <a:gd name="connsiteX118" fmla="*/ 7830 w 10000"/>
                <a:gd name="connsiteY118" fmla="*/ 5589 h 10058"/>
                <a:gd name="connsiteX119" fmla="*/ 7830 w 10000"/>
                <a:gd name="connsiteY119" fmla="*/ 5580 h 10058"/>
                <a:gd name="connsiteX120" fmla="*/ 7830 w 10000"/>
                <a:gd name="connsiteY120" fmla="*/ 5589 h 10058"/>
                <a:gd name="connsiteX121" fmla="*/ 8352 w 10000"/>
                <a:gd name="connsiteY121" fmla="*/ 6307 h 10058"/>
                <a:gd name="connsiteX122" fmla="*/ 8324 w 10000"/>
                <a:gd name="connsiteY122" fmla="*/ 6434 h 10058"/>
                <a:gd name="connsiteX123" fmla="*/ 8297 w 10000"/>
                <a:gd name="connsiteY123" fmla="*/ 7026 h 10058"/>
                <a:gd name="connsiteX124" fmla="*/ 8269 w 10000"/>
                <a:gd name="connsiteY124" fmla="*/ 7449 h 10058"/>
                <a:gd name="connsiteX125" fmla="*/ 8146 w 10000"/>
                <a:gd name="connsiteY125" fmla="*/ 8869 h 10058"/>
                <a:gd name="connsiteX126" fmla="*/ 7816 w 10000"/>
                <a:gd name="connsiteY126" fmla="*/ 8674 h 10058"/>
                <a:gd name="connsiteX127" fmla="*/ 7816 w 10000"/>
                <a:gd name="connsiteY127" fmla="*/ 8767 h 10058"/>
                <a:gd name="connsiteX128" fmla="*/ 7679 w 10000"/>
                <a:gd name="connsiteY128" fmla="*/ 8835 h 10058"/>
                <a:gd name="connsiteX129" fmla="*/ 7679 w 10000"/>
                <a:gd name="connsiteY129" fmla="*/ 8835 h 10058"/>
                <a:gd name="connsiteX130" fmla="*/ 7679 w 10000"/>
                <a:gd name="connsiteY130" fmla="*/ 8835 h 10058"/>
                <a:gd name="connsiteX131" fmla="*/ 8104 w 10000"/>
                <a:gd name="connsiteY131" fmla="*/ 9308 h 10058"/>
                <a:gd name="connsiteX132" fmla="*/ 8063 w 10000"/>
                <a:gd name="connsiteY132" fmla="*/ 9824 h 10058"/>
                <a:gd name="connsiteX133" fmla="*/ 8558 w 10000"/>
                <a:gd name="connsiteY133" fmla="*/ 9993 h 10058"/>
                <a:gd name="connsiteX134" fmla="*/ 9217 w 10000"/>
                <a:gd name="connsiteY134" fmla="*/ 8666 h 10058"/>
                <a:gd name="connsiteX135" fmla="*/ 9245 w 10000"/>
                <a:gd name="connsiteY135" fmla="*/ 7051 h 10058"/>
                <a:gd name="connsiteX136" fmla="*/ 9272 w 10000"/>
                <a:gd name="connsiteY136" fmla="*/ 6510 h 10058"/>
                <a:gd name="connsiteX137" fmla="*/ 9299 w 10000"/>
                <a:gd name="connsiteY137" fmla="*/ 6147 h 10058"/>
                <a:gd name="connsiteX138" fmla="*/ 9409 w 10000"/>
                <a:gd name="connsiteY138" fmla="*/ 5547 h 10058"/>
                <a:gd name="connsiteX139" fmla="*/ 9464 w 10000"/>
                <a:gd name="connsiteY139" fmla="*/ 5369 h 10058"/>
                <a:gd name="connsiteX140" fmla="*/ 10000 w 10000"/>
                <a:gd name="connsiteY140" fmla="*/ 4651 h 10058"/>
                <a:gd name="connsiteX0" fmla="*/ 10000 w 10000"/>
                <a:gd name="connsiteY0" fmla="*/ 4651 h 9824"/>
                <a:gd name="connsiteX1" fmla="*/ 10000 w 10000"/>
                <a:gd name="connsiteY1" fmla="*/ 4651 h 9824"/>
                <a:gd name="connsiteX2" fmla="*/ 9863 w 10000"/>
                <a:gd name="connsiteY2" fmla="*/ 4583 h 9824"/>
                <a:gd name="connsiteX3" fmla="*/ 9890 w 10000"/>
                <a:gd name="connsiteY3" fmla="*/ 4473 h 9824"/>
                <a:gd name="connsiteX4" fmla="*/ 9890 w 10000"/>
                <a:gd name="connsiteY4" fmla="*/ 4473 h 9824"/>
                <a:gd name="connsiteX5" fmla="*/ 9478 w 10000"/>
                <a:gd name="connsiteY5" fmla="*/ 4752 h 9824"/>
                <a:gd name="connsiteX6" fmla="*/ 9409 w 10000"/>
                <a:gd name="connsiteY6" fmla="*/ 4380 h 9824"/>
                <a:gd name="connsiteX7" fmla="*/ 9396 w 10000"/>
                <a:gd name="connsiteY7" fmla="*/ 3459 h 9824"/>
                <a:gd name="connsiteX8" fmla="*/ 8901 w 10000"/>
                <a:gd name="connsiteY8" fmla="*/ 3535 h 9824"/>
                <a:gd name="connsiteX9" fmla="*/ 8434 w 10000"/>
                <a:gd name="connsiteY9" fmla="*/ 3450 h 9824"/>
                <a:gd name="connsiteX10" fmla="*/ 8434 w 10000"/>
                <a:gd name="connsiteY10" fmla="*/ 3450 h 9824"/>
                <a:gd name="connsiteX11" fmla="*/ 8448 w 10000"/>
                <a:gd name="connsiteY11" fmla="*/ 3772 h 9824"/>
                <a:gd name="connsiteX12" fmla="*/ 8379 w 10000"/>
                <a:gd name="connsiteY12" fmla="*/ 3814 h 9824"/>
                <a:gd name="connsiteX13" fmla="*/ 7885 w 10000"/>
                <a:gd name="connsiteY13" fmla="*/ 3569 h 9824"/>
                <a:gd name="connsiteX14" fmla="*/ 7500 w 10000"/>
                <a:gd name="connsiteY14" fmla="*/ 3239 h 9824"/>
                <a:gd name="connsiteX15" fmla="*/ 6868 w 10000"/>
                <a:gd name="connsiteY15" fmla="*/ 2926 h 9824"/>
                <a:gd name="connsiteX16" fmla="*/ 6538 w 10000"/>
                <a:gd name="connsiteY16" fmla="*/ 2242 h 9824"/>
                <a:gd name="connsiteX17" fmla="*/ 7266 w 10000"/>
                <a:gd name="connsiteY17" fmla="*/ 1117 h 9824"/>
                <a:gd name="connsiteX18" fmla="*/ 6896 w 10000"/>
                <a:gd name="connsiteY18" fmla="*/ 263 h 9824"/>
                <a:gd name="connsiteX19" fmla="*/ 6126 w 10000"/>
                <a:gd name="connsiteY19" fmla="*/ 111 h 9824"/>
                <a:gd name="connsiteX20" fmla="*/ 5330 w 10000"/>
                <a:gd name="connsiteY20" fmla="*/ 585 h 9824"/>
                <a:gd name="connsiteX21" fmla="*/ 5151 w 10000"/>
                <a:gd name="connsiteY21" fmla="*/ 855 h 9824"/>
                <a:gd name="connsiteX22" fmla="*/ 4794 w 10000"/>
                <a:gd name="connsiteY22" fmla="*/ 1016 h 9824"/>
                <a:gd name="connsiteX23" fmla="*/ 4217 w 10000"/>
                <a:gd name="connsiteY23" fmla="*/ 1650 h 9824"/>
                <a:gd name="connsiteX24" fmla="*/ 4437 w 10000"/>
                <a:gd name="connsiteY24" fmla="*/ 1819 h 9824"/>
                <a:gd name="connsiteX25" fmla="*/ 5206 w 10000"/>
                <a:gd name="connsiteY25" fmla="*/ 1667 h 9824"/>
                <a:gd name="connsiteX26" fmla="*/ 5632 w 10000"/>
                <a:gd name="connsiteY26" fmla="*/ 1515 h 9824"/>
                <a:gd name="connsiteX27" fmla="*/ 5783 w 10000"/>
                <a:gd name="connsiteY27" fmla="*/ 1531 h 9824"/>
                <a:gd name="connsiteX28" fmla="*/ 5783 w 10000"/>
                <a:gd name="connsiteY28" fmla="*/ 1878 h 9824"/>
                <a:gd name="connsiteX29" fmla="*/ 4959 w 10000"/>
                <a:gd name="connsiteY29" fmla="*/ 2335 h 9824"/>
                <a:gd name="connsiteX30" fmla="*/ 4176 w 10000"/>
                <a:gd name="connsiteY30" fmla="*/ 2690 h 9824"/>
                <a:gd name="connsiteX31" fmla="*/ 4327 w 10000"/>
                <a:gd name="connsiteY31" fmla="*/ 3222 h 9824"/>
                <a:gd name="connsiteX32" fmla="*/ 4739 w 10000"/>
                <a:gd name="connsiteY32" fmla="*/ 3526 h 9824"/>
                <a:gd name="connsiteX33" fmla="*/ 4973 w 10000"/>
                <a:gd name="connsiteY33" fmla="*/ 4084 h 9824"/>
                <a:gd name="connsiteX34" fmla="*/ 4615 w 10000"/>
                <a:gd name="connsiteY34" fmla="*/ 4287 h 9824"/>
                <a:gd name="connsiteX35" fmla="*/ 3915 w 10000"/>
                <a:gd name="connsiteY35" fmla="*/ 5682 h 9824"/>
                <a:gd name="connsiteX36" fmla="*/ 3984 w 10000"/>
                <a:gd name="connsiteY36" fmla="*/ 5927 h 9824"/>
                <a:gd name="connsiteX37" fmla="*/ 3970 w 10000"/>
                <a:gd name="connsiteY37" fmla="*/ 6460 h 9824"/>
                <a:gd name="connsiteX38" fmla="*/ 3929 w 10000"/>
                <a:gd name="connsiteY38" fmla="*/ 7719 h 9824"/>
                <a:gd name="connsiteX39" fmla="*/ 3929 w 10000"/>
                <a:gd name="connsiteY39" fmla="*/ 7804 h 9824"/>
                <a:gd name="connsiteX40" fmla="*/ 3681 w 10000"/>
                <a:gd name="connsiteY40" fmla="*/ 9291 h 9824"/>
                <a:gd name="connsiteX41" fmla="*/ 3654 w 10000"/>
                <a:gd name="connsiteY41" fmla="*/ 9308 h 9824"/>
                <a:gd name="connsiteX42" fmla="*/ 3571 w 10000"/>
                <a:gd name="connsiteY42" fmla="*/ 9283 h 9824"/>
                <a:gd name="connsiteX43" fmla="*/ 3338 w 10000"/>
                <a:gd name="connsiteY43" fmla="*/ 7702 h 9824"/>
                <a:gd name="connsiteX44" fmla="*/ 3462 w 10000"/>
                <a:gd name="connsiteY44" fmla="*/ 5885 h 9824"/>
                <a:gd name="connsiteX45" fmla="*/ 3571 w 10000"/>
                <a:gd name="connsiteY45" fmla="*/ 5606 h 9824"/>
                <a:gd name="connsiteX46" fmla="*/ 3585 w 10000"/>
                <a:gd name="connsiteY46" fmla="*/ 5538 h 9824"/>
                <a:gd name="connsiteX47" fmla="*/ 3283 w 10000"/>
                <a:gd name="connsiteY47" fmla="*/ 3856 h 9824"/>
                <a:gd name="connsiteX48" fmla="*/ 3146 w 10000"/>
                <a:gd name="connsiteY48" fmla="*/ 2892 h 9824"/>
                <a:gd name="connsiteX49" fmla="*/ 3475 w 10000"/>
                <a:gd name="connsiteY49" fmla="*/ 1886 h 9824"/>
                <a:gd name="connsiteX50" fmla="*/ 3681 w 10000"/>
                <a:gd name="connsiteY50" fmla="*/ 1506 h 9824"/>
                <a:gd name="connsiteX51" fmla="*/ 3723 w 10000"/>
                <a:gd name="connsiteY51" fmla="*/ 1405 h 9824"/>
                <a:gd name="connsiteX52" fmla="*/ 3544 w 10000"/>
                <a:gd name="connsiteY52" fmla="*/ 247 h 9824"/>
                <a:gd name="connsiteX53" fmla="*/ 2651 w 10000"/>
                <a:gd name="connsiteY53" fmla="*/ 1 h 9824"/>
                <a:gd name="connsiteX54" fmla="*/ 2170 w 10000"/>
                <a:gd name="connsiteY54" fmla="*/ 128 h 9824"/>
                <a:gd name="connsiteX55" fmla="*/ 2060 w 10000"/>
                <a:gd name="connsiteY55" fmla="*/ 585 h 9824"/>
                <a:gd name="connsiteX56" fmla="*/ 1923 w 10000"/>
                <a:gd name="connsiteY56" fmla="*/ 940 h 9824"/>
                <a:gd name="connsiteX57" fmla="*/ 1277 w 10000"/>
                <a:gd name="connsiteY57" fmla="*/ 661 h 9824"/>
                <a:gd name="connsiteX58" fmla="*/ 440 w 10000"/>
                <a:gd name="connsiteY58" fmla="*/ 289 h 9824"/>
                <a:gd name="connsiteX59" fmla="*/ 27 w 10000"/>
                <a:gd name="connsiteY59" fmla="*/ 263 h 9824"/>
                <a:gd name="connsiteX60" fmla="*/ 27 w 10000"/>
                <a:gd name="connsiteY60" fmla="*/ 263 h 9824"/>
                <a:gd name="connsiteX61" fmla="*/ 357 w 10000"/>
                <a:gd name="connsiteY61" fmla="*/ 407 h 9824"/>
                <a:gd name="connsiteX62" fmla="*/ 0 w 10000"/>
                <a:gd name="connsiteY62" fmla="*/ 568 h 9824"/>
                <a:gd name="connsiteX63" fmla="*/ 0 w 10000"/>
                <a:gd name="connsiteY63" fmla="*/ 568 h 9824"/>
                <a:gd name="connsiteX64" fmla="*/ 453 w 10000"/>
                <a:gd name="connsiteY64" fmla="*/ 551 h 9824"/>
                <a:gd name="connsiteX65" fmla="*/ 989 w 10000"/>
                <a:gd name="connsiteY65" fmla="*/ 813 h 9824"/>
                <a:gd name="connsiteX66" fmla="*/ 2047 w 10000"/>
                <a:gd name="connsiteY66" fmla="*/ 1160 h 9824"/>
                <a:gd name="connsiteX67" fmla="*/ 2431 w 10000"/>
                <a:gd name="connsiteY67" fmla="*/ 559 h 9824"/>
                <a:gd name="connsiteX68" fmla="*/ 2459 w 10000"/>
                <a:gd name="connsiteY68" fmla="*/ 280 h 9824"/>
                <a:gd name="connsiteX69" fmla="*/ 2679 w 10000"/>
                <a:gd name="connsiteY69" fmla="*/ 238 h 9824"/>
                <a:gd name="connsiteX70" fmla="*/ 3255 w 10000"/>
                <a:gd name="connsiteY70" fmla="*/ 390 h 9824"/>
                <a:gd name="connsiteX71" fmla="*/ 3379 w 10000"/>
                <a:gd name="connsiteY71" fmla="*/ 1337 h 9824"/>
                <a:gd name="connsiteX72" fmla="*/ 3324 w 10000"/>
                <a:gd name="connsiteY72" fmla="*/ 1438 h 9824"/>
                <a:gd name="connsiteX73" fmla="*/ 3146 w 10000"/>
                <a:gd name="connsiteY73" fmla="*/ 1777 h 9824"/>
                <a:gd name="connsiteX74" fmla="*/ 2775 w 10000"/>
                <a:gd name="connsiteY74" fmla="*/ 2926 h 9824"/>
                <a:gd name="connsiteX75" fmla="*/ 2926 w 10000"/>
                <a:gd name="connsiteY75" fmla="*/ 3924 h 9824"/>
                <a:gd name="connsiteX76" fmla="*/ 3214 w 10000"/>
                <a:gd name="connsiteY76" fmla="*/ 5513 h 9824"/>
                <a:gd name="connsiteX77" fmla="*/ 3201 w 10000"/>
                <a:gd name="connsiteY77" fmla="*/ 5580 h 9824"/>
                <a:gd name="connsiteX78" fmla="*/ 3297 w 10000"/>
                <a:gd name="connsiteY78" fmla="*/ 5885 h 9824"/>
                <a:gd name="connsiteX79" fmla="*/ 3173 w 10000"/>
                <a:gd name="connsiteY79" fmla="*/ 7702 h 9824"/>
                <a:gd name="connsiteX80" fmla="*/ 3462 w 10000"/>
                <a:gd name="connsiteY80" fmla="*/ 9359 h 9824"/>
                <a:gd name="connsiteX81" fmla="*/ 3654 w 10000"/>
                <a:gd name="connsiteY81" fmla="*/ 9410 h 9824"/>
                <a:gd name="connsiteX82" fmla="*/ 3805 w 10000"/>
                <a:gd name="connsiteY82" fmla="*/ 9367 h 9824"/>
                <a:gd name="connsiteX83" fmla="*/ 4093 w 10000"/>
                <a:gd name="connsiteY83" fmla="*/ 7804 h 9824"/>
                <a:gd name="connsiteX84" fmla="*/ 4093 w 10000"/>
                <a:gd name="connsiteY84" fmla="*/ 7719 h 9824"/>
                <a:gd name="connsiteX85" fmla="*/ 4135 w 10000"/>
                <a:gd name="connsiteY85" fmla="*/ 6460 h 9824"/>
                <a:gd name="connsiteX86" fmla="*/ 4162 w 10000"/>
                <a:gd name="connsiteY86" fmla="*/ 5936 h 9824"/>
                <a:gd name="connsiteX87" fmla="*/ 4286 w 10000"/>
                <a:gd name="connsiteY87" fmla="*/ 5682 h 9824"/>
                <a:gd name="connsiteX88" fmla="*/ 4821 w 10000"/>
                <a:gd name="connsiteY88" fmla="*/ 4482 h 9824"/>
                <a:gd name="connsiteX89" fmla="*/ 5275 w 10000"/>
                <a:gd name="connsiteY89" fmla="*/ 4211 h 9824"/>
                <a:gd name="connsiteX90" fmla="*/ 5014 w 10000"/>
                <a:gd name="connsiteY90" fmla="*/ 3366 h 9824"/>
                <a:gd name="connsiteX91" fmla="*/ 4657 w 10000"/>
                <a:gd name="connsiteY91" fmla="*/ 3095 h 9824"/>
                <a:gd name="connsiteX92" fmla="*/ 4519 w 10000"/>
                <a:gd name="connsiteY92" fmla="*/ 2766 h 9824"/>
                <a:gd name="connsiteX93" fmla="*/ 5069 w 10000"/>
                <a:gd name="connsiteY93" fmla="*/ 2554 h 9824"/>
                <a:gd name="connsiteX94" fmla="*/ 6126 w 10000"/>
                <a:gd name="connsiteY94" fmla="*/ 1971 h 9824"/>
                <a:gd name="connsiteX95" fmla="*/ 6099 w 10000"/>
                <a:gd name="connsiteY95" fmla="*/ 1413 h 9824"/>
                <a:gd name="connsiteX96" fmla="*/ 5838 w 10000"/>
                <a:gd name="connsiteY96" fmla="*/ 1286 h 9824"/>
                <a:gd name="connsiteX97" fmla="*/ 5000 w 10000"/>
                <a:gd name="connsiteY97" fmla="*/ 1472 h 9824"/>
                <a:gd name="connsiteX98" fmla="*/ 4670 w 10000"/>
                <a:gd name="connsiteY98" fmla="*/ 1591 h 9824"/>
                <a:gd name="connsiteX99" fmla="*/ 4560 w 10000"/>
                <a:gd name="connsiteY99" fmla="*/ 1498 h 9824"/>
                <a:gd name="connsiteX100" fmla="*/ 4986 w 10000"/>
                <a:gd name="connsiteY100" fmla="*/ 1210 h 9824"/>
                <a:gd name="connsiteX101" fmla="*/ 5412 w 10000"/>
                <a:gd name="connsiteY101" fmla="*/ 1016 h 9824"/>
                <a:gd name="connsiteX102" fmla="*/ 5701 w 10000"/>
                <a:gd name="connsiteY102" fmla="*/ 627 h 9824"/>
                <a:gd name="connsiteX103" fmla="*/ 6140 w 10000"/>
                <a:gd name="connsiteY103" fmla="*/ 340 h 9824"/>
                <a:gd name="connsiteX104" fmla="*/ 6635 w 10000"/>
                <a:gd name="connsiteY104" fmla="*/ 433 h 9824"/>
                <a:gd name="connsiteX105" fmla="*/ 6896 w 10000"/>
                <a:gd name="connsiteY105" fmla="*/ 1117 h 9824"/>
                <a:gd name="connsiteX106" fmla="*/ 6291 w 10000"/>
                <a:gd name="connsiteY106" fmla="*/ 2072 h 9824"/>
                <a:gd name="connsiteX107" fmla="*/ 6195 w 10000"/>
                <a:gd name="connsiteY107" fmla="*/ 2884 h 9824"/>
                <a:gd name="connsiteX108" fmla="*/ 7033 w 10000"/>
                <a:gd name="connsiteY108" fmla="*/ 3214 h 9824"/>
                <a:gd name="connsiteX109" fmla="*/ 7569 w 10000"/>
                <a:gd name="connsiteY109" fmla="*/ 3670 h 9824"/>
                <a:gd name="connsiteX110" fmla="*/ 8352 w 10000"/>
                <a:gd name="connsiteY110" fmla="*/ 4067 h 9824"/>
                <a:gd name="connsiteX111" fmla="*/ 8475 w 10000"/>
                <a:gd name="connsiteY111" fmla="*/ 4211 h 9824"/>
                <a:gd name="connsiteX112" fmla="*/ 8475 w 10000"/>
                <a:gd name="connsiteY112" fmla="*/ 5428 h 9824"/>
                <a:gd name="connsiteX113" fmla="*/ 8393 w 10000"/>
                <a:gd name="connsiteY113" fmla="*/ 5741 h 9824"/>
                <a:gd name="connsiteX114" fmla="*/ 7940 w 10000"/>
                <a:gd name="connsiteY114" fmla="*/ 5411 h 9824"/>
                <a:gd name="connsiteX115" fmla="*/ 7940 w 10000"/>
                <a:gd name="connsiteY115" fmla="*/ 5411 h 9824"/>
                <a:gd name="connsiteX116" fmla="*/ 7940 w 10000"/>
                <a:gd name="connsiteY116" fmla="*/ 5411 h 9824"/>
                <a:gd name="connsiteX117" fmla="*/ 7802 w 10000"/>
                <a:gd name="connsiteY117" fmla="*/ 5479 h 9824"/>
                <a:gd name="connsiteX118" fmla="*/ 7830 w 10000"/>
                <a:gd name="connsiteY118" fmla="*/ 5589 h 9824"/>
                <a:gd name="connsiteX119" fmla="*/ 7830 w 10000"/>
                <a:gd name="connsiteY119" fmla="*/ 5580 h 9824"/>
                <a:gd name="connsiteX120" fmla="*/ 7830 w 10000"/>
                <a:gd name="connsiteY120" fmla="*/ 5589 h 9824"/>
                <a:gd name="connsiteX121" fmla="*/ 8352 w 10000"/>
                <a:gd name="connsiteY121" fmla="*/ 6307 h 9824"/>
                <a:gd name="connsiteX122" fmla="*/ 8324 w 10000"/>
                <a:gd name="connsiteY122" fmla="*/ 6434 h 9824"/>
                <a:gd name="connsiteX123" fmla="*/ 8297 w 10000"/>
                <a:gd name="connsiteY123" fmla="*/ 7026 h 9824"/>
                <a:gd name="connsiteX124" fmla="*/ 8269 w 10000"/>
                <a:gd name="connsiteY124" fmla="*/ 7449 h 9824"/>
                <a:gd name="connsiteX125" fmla="*/ 8146 w 10000"/>
                <a:gd name="connsiteY125" fmla="*/ 8869 h 9824"/>
                <a:gd name="connsiteX126" fmla="*/ 7816 w 10000"/>
                <a:gd name="connsiteY126" fmla="*/ 8674 h 9824"/>
                <a:gd name="connsiteX127" fmla="*/ 7816 w 10000"/>
                <a:gd name="connsiteY127" fmla="*/ 8767 h 9824"/>
                <a:gd name="connsiteX128" fmla="*/ 7679 w 10000"/>
                <a:gd name="connsiteY128" fmla="*/ 8835 h 9824"/>
                <a:gd name="connsiteX129" fmla="*/ 7679 w 10000"/>
                <a:gd name="connsiteY129" fmla="*/ 8835 h 9824"/>
                <a:gd name="connsiteX130" fmla="*/ 7679 w 10000"/>
                <a:gd name="connsiteY130" fmla="*/ 8835 h 9824"/>
                <a:gd name="connsiteX131" fmla="*/ 8104 w 10000"/>
                <a:gd name="connsiteY131" fmla="*/ 9308 h 9824"/>
                <a:gd name="connsiteX132" fmla="*/ 8063 w 10000"/>
                <a:gd name="connsiteY132" fmla="*/ 9824 h 9824"/>
                <a:gd name="connsiteX133" fmla="*/ 9217 w 10000"/>
                <a:gd name="connsiteY133" fmla="*/ 8666 h 9824"/>
                <a:gd name="connsiteX134" fmla="*/ 9245 w 10000"/>
                <a:gd name="connsiteY134" fmla="*/ 7051 h 9824"/>
                <a:gd name="connsiteX135" fmla="*/ 9272 w 10000"/>
                <a:gd name="connsiteY135" fmla="*/ 6510 h 9824"/>
                <a:gd name="connsiteX136" fmla="*/ 9299 w 10000"/>
                <a:gd name="connsiteY136" fmla="*/ 6147 h 9824"/>
                <a:gd name="connsiteX137" fmla="*/ 9409 w 10000"/>
                <a:gd name="connsiteY137" fmla="*/ 5547 h 9824"/>
                <a:gd name="connsiteX138" fmla="*/ 9464 w 10000"/>
                <a:gd name="connsiteY138" fmla="*/ 5369 h 9824"/>
                <a:gd name="connsiteX139" fmla="*/ 10000 w 10000"/>
                <a:gd name="connsiteY139" fmla="*/ 4651 h 9824"/>
                <a:gd name="connsiteX0" fmla="*/ 10000 w 10000"/>
                <a:gd name="connsiteY0" fmla="*/ 4734 h 9579"/>
                <a:gd name="connsiteX1" fmla="*/ 10000 w 10000"/>
                <a:gd name="connsiteY1" fmla="*/ 4734 h 9579"/>
                <a:gd name="connsiteX2" fmla="*/ 9863 w 10000"/>
                <a:gd name="connsiteY2" fmla="*/ 4665 h 9579"/>
                <a:gd name="connsiteX3" fmla="*/ 9890 w 10000"/>
                <a:gd name="connsiteY3" fmla="*/ 4553 h 9579"/>
                <a:gd name="connsiteX4" fmla="*/ 9890 w 10000"/>
                <a:gd name="connsiteY4" fmla="*/ 4553 h 9579"/>
                <a:gd name="connsiteX5" fmla="*/ 9478 w 10000"/>
                <a:gd name="connsiteY5" fmla="*/ 4837 h 9579"/>
                <a:gd name="connsiteX6" fmla="*/ 9409 w 10000"/>
                <a:gd name="connsiteY6" fmla="*/ 4458 h 9579"/>
                <a:gd name="connsiteX7" fmla="*/ 9396 w 10000"/>
                <a:gd name="connsiteY7" fmla="*/ 3521 h 9579"/>
                <a:gd name="connsiteX8" fmla="*/ 8901 w 10000"/>
                <a:gd name="connsiteY8" fmla="*/ 3598 h 9579"/>
                <a:gd name="connsiteX9" fmla="*/ 8434 w 10000"/>
                <a:gd name="connsiteY9" fmla="*/ 3512 h 9579"/>
                <a:gd name="connsiteX10" fmla="*/ 8434 w 10000"/>
                <a:gd name="connsiteY10" fmla="*/ 3512 h 9579"/>
                <a:gd name="connsiteX11" fmla="*/ 8448 w 10000"/>
                <a:gd name="connsiteY11" fmla="*/ 3840 h 9579"/>
                <a:gd name="connsiteX12" fmla="*/ 8379 w 10000"/>
                <a:gd name="connsiteY12" fmla="*/ 3882 h 9579"/>
                <a:gd name="connsiteX13" fmla="*/ 7885 w 10000"/>
                <a:gd name="connsiteY13" fmla="*/ 3633 h 9579"/>
                <a:gd name="connsiteX14" fmla="*/ 7500 w 10000"/>
                <a:gd name="connsiteY14" fmla="*/ 3297 h 9579"/>
                <a:gd name="connsiteX15" fmla="*/ 6868 w 10000"/>
                <a:gd name="connsiteY15" fmla="*/ 2978 h 9579"/>
                <a:gd name="connsiteX16" fmla="*/ 6538 w 10000"/>
                <a:gd name="connsiteY16" fmla="*/ 2282 h 9579"/>
                <a:gd name="connsiteX17" fmla="*/ 7266 w 10000"/>
                <a:gd name="connsiteY17" fmla="*/ 1137 h 9579"/>
                <a:gd name="connsiteX18" fmla="*/ 6896 w 10000"/>
                <a:gd name="connsiteY18" fmla="*/ 268 h 9579"/>
                <a:gd name="connsiteX19" fmla="*/ 6126 w 10000"/>
                <a:gd name="connsiteY19" fmla="*/ 113 h 9579"/>
                <a:gd name="connsiteX20" fmla="*/ 5330 w 10000"/>
                <a:gd name="connsiteY20" fmla="*/ 595 h 9579"/>
                <a:gd name="connsiteX21" fmla="*/ 5151 w 10000"/>
                <a:gd name="connsiteY21" fmla="*/ 870 h 9579"/>
                <a:gd name="connsiteX22" fmla="*/ 4794 w 10000"/>
                <a:gd name="connsiteY22" fmla="*/ 1034 h 9579"/>
                <a:gd name="connsiteX23" fmla="*/ 4217 w 10000"/>
                <a:gd name="connsiteY23" fmla="*/ 1680 h 9579"/>
                <a:gd name="connsiteX24" fmla="*/ 4437 w 10000"/>
                <a:gd name="connsiteY24" fmla="*/ 1852 h 9579"/>
                <a:gd name="connsiteX25" fmla="*/ 5206 w 10000"/>
                <a:gd name="connsiteY25" fmla="*/ 1697 h 9579"/>
                <a:gd name="connsiteX26" fmla="*/ 5632 w 10000"/>
                <a:gd name="connsiteY26" fmla="*/ 1542 h 9579"/>
                <a:gd name="connsiteX27" fmla="*/ 5783 w 10000"/>
                <a:gd name="connsiteY27" fmla="*/ 1558 h 9579"/>
                <a:gd name="connsiteX28" fmla="*/ 5783 w 10000"/>
                <a:gd name="connsiteY28" fmla="*/ 1912 h 9579"/>
                <a:gd name="connsiteX29" fmla="*/ 4959 w 10000"/>
                <a:gd name="connsiteY29" fmla="*/ 2377 h 9579"/>
                <a:gd name="connsiteX30" fmla="*/ 4176 w 10000"/>
                <a:gd name="connsiteY30" fmla="*/ 2738 h 9579"/>
                <a:gd name="connsiteX31" fmla="*/ 4327 w 10000"/>
                <a:gd name="connsiteY31" fmla="*/ 3280 h 9579"/>
                <a:gd name="connsiteX32" fmla="*/ 4739 w 10000"/>
                <a:gd name="connsiteY32" fmla="*/ 3589 h 9579"/>
                <a:gd name="connsiteX33" fmla="*/ 4973 w 10000"/>
                <a:gd name="connsiteY33" fmla="*/ 4157 h 9579"/>
                <a:gd name="connsiteX34" fmla="*/ 4615 w 10000"/>
                <a:gd name="connsiteY34" fmla="*/ 4364 h 9579"/>
                <a:gd name="connsiteX35" fmla="*/ 3915 w 10000"/>
                <a:gd name="connsiteY35" fmla="*/ 5784 h 9579"/>
                <a:gd name="connsiteX36" fmla="*/ 3984 w 10000"/>
                <a:gd name="connsiteY36" fmla="*/ 6033 h 9579"/>
                <a:gd name="connsiteX37" fmla="*/ 3970 w 10000"/>
                <a:gd name="connsiteY37" fmla="*/ 6576 h 9579"/>
                <a:gd name="connsiteX38" fmla="*/ 3929 w 10000"/>
                <a:gd name="connsiteY38" fmla="*/ 7857 h 9579"/>
                <a:gd name="connsiteX39" fmla="*/ 3929 w 10000"/>
                <a:gd name="connsiteY39" fmla="*/ 7944 h 9579"/>
                <a:gd name="connsiteX40" fmla="*/ 3681 w 10000"/>
                <a:gd name="connsiteY40" fmla="*/ 9457 h 9579"/>
                <a:gd name="connsiteX41" fmla="*/ 3654 w 10000"/>
                <a:gd name="connsiteY41" fmla="*/ 9475 h 9579"/>
                <a:gd name="connsiteX42" fmla="*/ 3571 w 10000"/>
                <a:gd name="connsiteY42" fmla="*/ 9449 h 9579"/>
                <a:gd name="connsiteX43" fmla="*/ 3338 w 10000"/>
                <a:gd name="connsiteY43" fmla="*/ 7840 h 9579"/>
                <a:gd name="connsiteX44" fmla="*/ 3462 w 10000"/>
                <a:gd name="connsiteY44" fmla="*/ 5990 h 9579"/>
                <a:gd name="connsiteX45" fmla="*/ 3571 w 10000"/>
                <a:gd name="connsiteY45" fmla="*/ 5706 h 9579"/>
                <a:gd name="connsiteX46" fmla="*/ 3585 w 10000"/>
                <a:gd name="connsiteY46" fmla="*/ 5637 h 9579"/>
                <a:gd name="connsiteX47" fmla="*/ 3283 w 10000"/>
                <a:gd name="connsiteY47" fmla="*/ 3925 h 9579"/>
                <a:gd name="connsiteX48" fmla="*/ 3146 w 10000"/>
                <a:gd name="connsiteY48" fmla="*/ 2944 h 9579"/>
                <a:gd name="connsiteX49" fmla="*/ 3475 w 10000"/>
                <a:gd name="connsiteY49" fmla="*/ 1920 h 9579"/>
                <a:gd name="connsiteX50" fmla="*/ 3681 w 10000"/>
                <a:gd name="connsiteY50" fmla="*/ 1533 h 9579"/>
                <a:gd name="connsiteX51" fmla="*/ 3723 w 10000"/>
                <a:gd name="connsiteY51" fmla="*/ 1430 h 9579"/>
                <a:gd name="connsiteX52" fmla="*/ 3544 w 10000"/>
                <a:gd name="connsiteY52" fmla="*/ 251 h 9579"/>
                <a:gd name="connsiteX53" fmla="*/ 2651 w 10000"/>
                <a:gd name="connsiteY53" fmla="*/ 1 h 9579"/>
                <a:gd name="connsiteX54" fmla="*/ 2170 w 10000"/>
                <a:gd name="connsiteY54" fmla="*/ 130 h 9579"/>
                <a:gd name="connsiteX55" fmla="*/ 2060 w 10000"/>
                <a:gd name="connsiteY55" fmla="*/ 595 h 9579"/>
                <a:gd name="connsiteX56" fmla="*/ 1923 w 10000"/>
                <a:gd name="connsiteY56" fmla="*/ 957 h 9579"/>
                <a:gd name="connsiteX57" fmla="*/ 1277 w 10000"/>
                <a:gd name="connsiteY57" fmla="*/ 673 h 9579"/>
                <a:gd name="connsiteX58" fmla="*/ 440 w 10000"/>
                <a:gd name="connsiteY58" fmla="*/ 294 h 9579"/>
                <a:gd name="connsiteX59" fmla="*/ 27 w 10000"/>
                <a:gd name="connsiteY59" fmla="*/ 268 h 9579"/>
                <a:gd name="connsiteX60" fmla="*/ 27 w 10000"/>
                <a:gd name="connsiteY60" fmla="*/ 268 h 9579"/>
                <a:gd name="connsiteX61" fmla="*/ 357 w 10000"/>
                <a:gd name="connsiteY61" fmla="*/ 414 h 9579"/>
                <a:gd name="connsiteX62" fmla="*/ 0 w 10000"/>
                <a:gd name="connsiteY62" fmla="*/ 578 h 9579"/>
                <a:gd name="connsiteX63" fmla="*/ 0 w 10000"/>
                <a:gd name="connsiteY63" fmla="*/ 578 h 9579"/>
                <a:gd name="connsiteX64" fmla="*/ 453 w 10000"/>
                <a:gd name="connsiteY64" fmla="*/ 561 h 9579"/>
                <a:gd name="connsiteX65" fmla="*/ 989 w 10000"/>
                <a:gd name="connsiteY65" fmla="*/ 828 h 9579"/>
                <a:gd name="connsiteX66" fmla="*/ 2047 w 10000"/>
                <a:gd name="connsiteY66" fmla="*/ 1181 h 9579"/>
                <a:gd name="connsiteX67" fmla="*/ 2431 w 10000"/>
                <a:gd name="connsiteY67" fmla="*/ 569 h 9579"/>
                <a:gd name="connsiteX68" fmla="*/ 2459 w 10000"/>
                <a:gd name="connsiteY68" fmla="*/ 285 h 9579"/>
                <a:gd name="connsiteX69" fmla="*/ 2679 w 10000"/>
                <a:gd name="connsiteY69" fmla="*/ 242 h 9579"/>
                <a:gd name="connsiteX70" fmla="*/ 3255 w 10000"/>
                <a:gd name="connsiteY70" fmla="*/ 397 h 9579"/>
                <a:gd name="connsiteX71" fmla="*/ 3379 w 10000"/>
                <a:gd name="connsiteY71" fmla="*/ 1361 h 9579"/>
                <a:gd name="connsiteX72" fmla="*/ 3324 w 10000"/>
                <a:gd name="connsiteY72" fmla="*/ 1464 h 9579"/>
                <a:gd name="connsiteX73" fmla="*/ 3146 w 10000"/>
                <a:gd name="connsiteY73" fmla="*/ 1809 h 9579"/>
                <a:gd name="connsiteX74" fmla="*/ 2775 w 10000"/>
                <a:gd name="connsiteY74" fmla="*/ 2978 h 9579"/>
                <a:gd name="connsiteX75" fmla="*/ 2926 w 10000"/>
                <a:gd name="connsiteY75" fmla="*/ 3994 h 9579"/>
                <a:gd name="connsiteX76" fmla="*/ 3214 w 10000"/>
                <a:gd name="connsiteY76" fmla="*/ 5612 h 9579"/>
                <a:gd name="connsiteX77" fmla="*/ 3201 w 10000"/>
                <a:gd name="connsiteY77" fmla="*/ 5680 h 9579"/>
                <a:gd name="connsiteX78" fmla="*/ 3297 w 10000"/>
                <a:gd name="connsiteY78" fmla="*/ 5990 h 9579"/>
                <a:gd name="connsiteX79" fmla="*/ 3173 w 10000"/>
                <a:gd name="connsiteY79" fmla="*/ 7840 h 9579"/>
                <a:gd name="connsiteX80" fmla="*/ 3462 w 10000"/>
                <a:gd name="connsiteY80" fmla="*/ 9527 h 9579"/>
                <a:gd name="connsiteX81" fmla="*/ 3654 w 10000"/>
                <a:gd name="connsiteY81" fmla="*/ 9579 h 9579"/>
                <a:gd name="connsiteX82" fmla="*/ 3805 w 10000"/>
                <a:gd name="connsiteY82" fmla="*/ 9535 h 9579"/>
                <a:gd name="connsiteX83" fmla="*/ 4093 w 10000"/>
                <a:gd name="connsiteY83" fmla="*/ 7944 h 9579"/>
                <a:gd name="connsiteX84" fmla="*/ 4093 w 10000"/>
                <a:gd name="connsiteY84" fmla="*/ 7857 h 9579"/>
                <a:gd name="connsiteX85" fmla="*/ 4135 w 10000"/>
                <a:gd name="connsiteY85" fmla="*/ 6576 h 9579"/>
                <a:gd name="connsiteX86" fmla="*/ 4162 w 10000"/>
                <a:gd name="connsiteY86" fmla="*/ 6042 h 9579"/>
                <a:gd name="connsiteX87" fmla="*/ 4286 w 10000"/>
                <a:gd name="connsiteY87" fmla="*/ 5784 h 9579"/>
                <a:gd name="connsiteX88" fmla="*/ 4821 w 10000"/>
                <a:gd name="connsiteY88" fmla="*/ 4562 h 9579"/>
                <a:gd name="connsiteX89" fmla="*/ 5275 w 10000"/>
                <a:gd name="connsiteY89" fmla="*/ 4286 h 9579"/>
                <a:gd name="connsiteX90" fmla="*/ 5014 w 10000"/>
                <a:gd name="connsiteY90" fmla="*/ 3426 h 9579"/>
                <a:gd name="connsiteX91" fmla="*/ 4657 w 10000"/>
                <a:gd name="connsiteY91" fmla="*/ 3150 h 9579"/>
                <a:gd name="connsiteX92" fmla="*/ 4519 w 10000"/>
                <a:gd name="connsiteY92" fmla="*/ 2816 h 9579"/>
                <a:gd name="connsiteX93" fmla="*/ 5069 w 10000"/>
                <a:gd name="connsiteY93" fmla="*/ 2600 h 9579"/>
                <a:gd name="connsiteX94" fmla="*/ 6126 w 10000"/>
                <a:gd name="connsiteY94" fmla="*/ 2006 h 9579"/>
                <a:gd name="connsiteX95" fmla="*/ 6099 w 10000"/>
                <a:gd name="connsiteY95" fmla="*/ 1438 h 9579"/>
                <a:gd name="connsiteX96" fmla="*/ 5838 w 10000"/>
                <a:gd name="connsiteY96" fmla="*/ 1309 h 9579"/>
                <a:gd name="connsiteX97" fmla="*/ 5000 w 10000"/>
                <a:gd name="connsiteY97" fmla="*/ 1498 h 9579"/>
                <a:gd name="connsiteX98" fmla="*/ 4670 w 10000"/>
                <a:gd name="connsiteY98" fmla="*/ 1620 h 9579"/>
                <a:gd name="connsiteX99" fmla="*/ 4560 w 10000"/>
                <a:gd name="connsiteY99" fmla="*/ 1525 h 9579"/>
                <a:gd name="connsiteX100" fmla="*/ 4986 w 10000"/>
                <a:gd name="connsiteY100" fmla="*/ 1232 h 9579"/>
                <a:gd name="connsiteX101" fmla="*/ 5412 w 10000"/>
                <a:gd name="connsiteY101" fmla="*/ 1034 h 9579"/>
                <a:gd name="connsiteX102" fmla="*/ 5701 w 10000"/>
                <a:gd name="connsiteY102" fmla="*/ 638 h 9579"/>
                <a:gd name="connsiteX103" fmla="*/ 6140 w 10000"/>
                <a:gd name="connsiteY103" fmla="*/ 346 h 9579"/>
                <a:gd name="connsiteX104" fmla="*/ 6635 w 10000"/>
                <a:gd name="connsiteY104" fmla="*/ 441 h 9579"/>
                <a:gd name="connsiteX105" fmla="*/ 6896 w 10000"/>
                <a:gd name="connsiteY105" fmla="*/ 1137 h 9579"/>
                <a:gd name="connsiteX106" fmla="*/ 6291 w 10000"/>
                <a:gd name="connsiteY106" fmla="*/ 2109 h 9579"/>
                <a:gd name="connsiteX107" fmla="*/ 6195 w 10000"/>
                <a:gd name="connsiteY107" fmla="*/ 2936 h 9579"/>
                <a:gd name="connsiteX108" fmla="*/ 7033 w 10000"/>
                <a:gd name="connsiteY108" fmla="*/ 3272 h 9579"/>
                <a:gd name="connsiteX109" fmla="*/ 7569 w 10000"/>
                <a:gd name="connsiteY109" fmla="*/ 3736 h 9579"/>
                <a:gd name="connsiteX110" fmla="*/ 8352 w 10000"/>
                <a:gd name="connsiteY110" fmla="*/ 4140 h 9579"/>
                <a:gd name="connsiteX111" fmla="*/ 8475 w 10000"/>
                <a:gd name="connsiteY111" fmla="*/ 4286 h 9579"/>
                <a:gd name="connsiteX112" fmla="*/ 8475 w 10000"/>
                <a:gd name="connsiteY112" fmla="*/ 5525 h 9579"/>
                <a:gd name="connsiteX113" fmla="*/ 8393 w 10000"/>
                <a:gd name="connsiteY113" fmla="*/ 5844 h 9579"/>
                <a:gd name="connsiteX114" fmla="*/ 7940 w 10000"/>
                <a:gd name="connsiteY114" fmla="*/ 5508 h 9579"/>
                <a:gd name="connsiteX115" fmla="*/ 7940 w 10000"/>
                <a:gd name="connsiteY115" fmla="*/ 5508 h 9579"/>
                <a:gd name="connsiteX116" fmla="*/ 7940 w 10000"/>
                <a:gd name="connsiteY116" fmla="*/ 5508 h 9579"/>
                <a:gd name="connsiteX117" fmla="*/ 7802 w 10000"/>
                <a:gd name="connsiteY117" fmla="*/ 5577 h 9579"/>
                <a:gd name="connsiteX118" fmla="*/ 7830 w 10000"/>
                <a:gd name="connsiteY118" fmla="*/ 5689 h 9579"/>
                <a:gd name="connsiteX119" fmla="*/ 7830 w 10000"/>
                <a:gd name="connsiteY119" fmla="*/ 5680 h 9579"/>
                <a:gd name="connsiteX120" fmla="*/ 7830 w 10000"/>
                <a:gd name="connsiteY120" fmla="*/ 5689 h 9579"/>
                <a:gd name="connsiteX121" fmla="*/ 8352 w 10000"/>
                <a:gd name="connsiteY121" fmla="*/ 6420 h 9579"/>
                <a:gd name="connsiteX122" fmla="*/ 8324 w 10000"/>
                <a:gd name="connsiteY122" fmla="*/ 6549 h 9579"/>
                <a:gd name="connsiteX123" fmla="*/ 8297 w 10000"/>
                <a:gd name="connsiteY123" fmla="*/ 7152 h 9579"/>
                <a:gd name="connsiteX124" fmla="*/ 8269 w 10000"/>
                <a:gd name="connsiteY124" fmla="*/ 7582 h 9579"/>
                <a:gd name="connsiteX125" fmla="*/ 8146 w 10000"/>
                <a:gd name="connsiteY125" fmla="*/ 9028 h 9579"/>
                <a:gd name="connsiteX126" fmla="*/ 7816 w 10000"/>
                <a:gd name="connsiteY126" fmla="*/ 8829 h 9579"/>
                <a:gd name="connsiteX127" fmla="*/ 7816 w 10000"/>
                <a:gd name="connsiteY127" fmla="*/ 8924 h 9579"/>
                <a:gd name="connsiteX128" fmla="*/ 7679 w 10000"/>
                <a:gd name="connsiteY128" fmla="*/ 8993 h 9579"/>
                <a:gd name="connsiteX129" fmla="*/ 7679 w 10000"/>
                <a:gd name="connsiteY129" fmla="*/ 8993 h 9579"/>
                <a:gd name="connsiteX130" fmla="*/ 7679 w 10000"/>
                <a:gd name="connsiteY130" fmla="*/ 8993 h 9579"/>
                <a:gd name="connsiteX131" fmla="*/ 8104 w 10000"/>
                <a:gd name="connsiteY131" fmla="*/ 9475 h 9579"/>
                <a:gd name="connsiteX132" fmla="*/ 9217 w 10000"/>
                <a:gd name="connsiteY132" fmla="*/ 8821 h 9579"/>
                <a:gd name="connsiteX133" fmla="*/ 9245 w 10000"/>
                <a:gd name="connsiteY133" fmla="*/ 7177 h 9579"/>
                <a:gd name="connsiteX134" fmla="*/ 9272 w 10000"/>
                <a:gd name="connsiteY134" fmla="*/ 6627 h 9579"/>
                <a:gd name="connsiteX135" fmla="*/ 9299 w 10000"/>
                <a:gd name="connsiteY135" fmla="*/ 6257 h 9579"/>
                <a:gd name="connsiteX136" fmla="*/ 9409 w 10000"/>
                <a:gd name="connsiteY136" fmla="*/ 5646 h 9579"/>
                <a:gd name="connsiteX137" fmla="*/ 9464 w 10000"/>
                <a:gd name="connsiteY137" fmla="*/ 5465 h 9579"/>
                <a:gd name="connsiteX138" fmla="*/ 10000 w 10000"/>
                <a:gd name="connsiteY138" fmla="*/ 4734 h 9579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8146 w 10000"/>
                <a:gd name="connsiteY125" fmla="*/ 9425 h 10000"/>
                <a:gd name="connsiteX126" fmla="*/ 7816 w 10000"/>
                <a:gd name="connsiteY126" fmla="*/ 9217 h 10000"/>
                <a:gd name="connsiteX127" fmla="*/ 7816 w 10000"/>
                <a:gd name="connsiteY127" fmla="*/ 9316 h 10000"/>
                <a:gd name="connsiteX128" fmla="*/ 7679 w 10000"/>
                <a:gd name="connsiteY128" fmla="*/ 9388 h 10000"/>
                <a:gd name="connsiteX129" fmla="*/ 7679 w 10000"/>
                <a:gd name="connsiteY129" fmla="*/ 9388 h 10000"/>
                <a:gd name="connsiteX130" fmla="*/ 7679 w 10000"/>
                <a:gd name="connsiteY130" fmla="*/ 9388 h 10000"/>
                <a:gd name="connsiteX131" fmla="*/ 9217 w 10000"/>
                <a:gd name="connsiteY131" fmla="*/ 9209 h 10000"/>
                <a:gd name="connsiteX132" fmla="*/ 9245 w 10000"/>
                <a:gd name="connsiteY132" fmla="*/ 7492 h 10000"/>
                <a:gd name="connsiteX133" fmla="*/ 9272 w 10000"/>
                <a:gd name="connsiteY133" fmla="*/ 6918 h 10000"/>
                <a:gd name="connsiteX134" fmla="*/ 9299 w 10000"/>
                <a:gd name="connsiteY134" fmla="*/ 6532 h 10000"/>
                <a:gd name="connsiteX135" fmla="*/ 9409 w 10000"/>
                <a:gd name="connsiteY135" fmla="*/ 5894 h 10000"/>
                <a:gd name="connsiteX136" fmla="*/ 9464 w 10000"/>
                <a:gd name="connsiteY136" fmla="*/ 5705 h 10000"/>
                <a:gd name="connsiteX137" fmla="*/ 10000 w 10000"/>
                <a:gd name="connsiteY137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8146 w 10000"/>
                <a:gd name="connsiteY125" fmla="*/ 9425 h 10000"/>
                <a:gd name="connsiteX126" fmla="*/ 7816 w 10000"/>
                <a:gd name="connsiteY126" fmla="*/ 9217 h 10000"/>
                <a:gd name="connsiteX127" fmla="*/ 7816 w 10000"/>
                <a:gd name="connsiteY127" fmla="*/ 9316 h 10000"/>
                <a:gd name="connsiteX128" fmla="*/ 7679 w 10000"/>
                <a:gd name="connsiteY128" fmla="*/ 9388 h 10000"/>
                <a:gd name="connsiteX129" fmla="*/ 7679 w 10000"/>
                <a:gd name="connsiteY129" fmla="*/ 9388 h 10000"/>
                <a:gd name="connsiteX130" fmla="*/ 9217 w 10000"/>
                <a:gd name="connsiteY130" fmla="*/ 9209 h 10000"/>
                <a:gd name="connsiteX131" fmla="*/ 9245 w 10000"/>
                <a:gd name="connsiteY131" fmla="*/ 7492 h 10000"/>
                <a:gd name="connsiteX132" fmla="*/ 9272 w 10000"/>
                <a:gd name="connsiteY132" fmla="*/ 6918 h 10000"/>
                <a:gd name="connsiteX133" fmla="*/ 9299 w 10000"/>
                <a:gd name="connsiteY133" fmla="*/ 6532 h 10000"/>
                <a:gd name="connsiteX134" fmla="*/ 9409 w 10000"/>
                <a:gd name="connsiteY134" fmla="*/ 5894 h 10000"/>
                <a:gd name="connsiteX135" fmla="*/ 9464 w 10000"/>
                <a:gd name="connsiteY135" fmla="*/ 5705 h 10000"/>
                <a:gd name="connsiteX136" fmla="*/ 10000 w 10000"/>
                <a:gd name="connsiteY136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8146 w 10000"/>
                <a:gd name="connsiteY125" fmla="*/ 9425 h 10000"/>
                <a:gd name="connsiteX126" fmla="*/ 7816 w 10000"/>
                <a:gd name="connsiteY126" fmla="*/ 9217 h 10000"/>
                <a:gd name="connsiteX127" fmla="*/ 7679 w 10000"/>
                <a:gd name="connsiteY127" fmla="*/ 9388 h 10000"/>
                <a:gd name="connsiteX128" fmla="*/ 7679 w 10000"/>
                <a:gd name="connsiteY128" fmla="*/ 9388 h 10000"/>
                <a:gd name="connsiteX129" fmla="*/ 9217 w 10000"/>
                <a:gd name="connsiteY129" fmla="*/ 9209 h 10000"/>
                <a:gd name="connsiteX130" fmla="*/ 9245 w 10000"/>
                <a:gd name="connsiteY130" fmla="*/ 7492 h 10000"/>
                <a:gd name="connsiteX131" fmla="*/ 9272 w 10000"/>
                <a:gd name="connsiteY131" fmla="*/ 6918 h 10000"/>
                <a:gd name="connsiteX132" fmla="*/ 9299 w 10000"/>
                <a:gd name="connsiteY132" fmla="*/ 6532 h 10000"/>
                <a:gd name="connsiteX133" fmla="*/ 9409 w 10000"/>
                <a:gd name="connsiteY133" fmla="*/ 5894 h 10000"/>
                <a:gd name="connsiteX134" fmla="*/ 9464 w 10000"/>
                <a:gd name="connsiteY134" fmla="*/ 5705 h 10000"/>
                <a:gd name="connsiteX135" fmla="*/ 10000 w 10000"/>
                <a:gd name="connsiteY135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8146 w 10000"/>
                <a:gd name="connsiteY125" fmla="*/ 9425 h 10000"/>
                <a:gd name="connsiteX126" fmla="*/ 7816 w 10000"/>
                <a:gd name="connsiteY126" fmla="*/ 9217 h 10000"/>
                <a:gd name="connsiteX127" fmla="*/ 7679 w 10000"/>
                <a:gd name="connsiteY127" fmla="*/ 9388 h 10000"/>
                <a:gd name="connsiteX128" fmla="*/ 9217 w 10000"/>
                <a:gd name="connsiteY128" fmla="*/ 9209 h 10000"/>
                <a:gd name="connsiteX129" fmla="*/ 9245 w 10000"/>
                <a:gd name="connsiteY129" fmla="*/ 7492 h 10000"/>
                <a:gd name="connsiteX130" fmla="*/ 9272 w 10000"/>
                <a:gd name="connsiteY130" fmla="*/ 6918 h 10000"/>
                <a:gd name="connsiteX131" fmla="*/ 9299 w 10000"/>
                <a:gd name="connsiteY131" fmla="*/ 6532 h 10000"/>
                <a:gd name="connsiteX132" fmla="*/ 9409 w 10000"/>
                <a:gd name="connsiteY132" fmla="*/ 5894 h 10000"/>
                <a:gd name="connsiteX133" fmla="*/ 9464 w 10000"/>
                <a:gd name="connsiteY133" fmla="*/ 5705 h 10000"/>
                <a:gd name="connsiteX134" fmla="*/ 10000 w 10000"/>
                <a:gd name="connsiteY134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8146 w 10000"/>
                <a:gd name="connsiteY125" fmla="*/ 9425 h 10000"/>
                <a:gd name="connsiteX126" fmla="*/ 7679 w 10000"/>
                <a:gd name="connsiteY126" fmla="*/ 9388 h 10000"/>
                <a:gd name="connsiteX127" fmla="*/ 9217 w 10000"/>
                <a:gd name="connsiteY127" fmla="*/ 9209 h 10000"/>
                <a:gd name="connsiteX128" fmla="*/ 9245 w 10000"/>
                <a:gd name="connsiteY128" fmla="*/ 7492 h 10000"/>
                <a:gd name="connsiteX129" fmla="*/ 9272 w 10000"/>
                <a:gd name="connsiteY129" fmla="*/ 6918 h 10000"/>
                <a:gd name="connsiteX130" fmla="*/ 9299 w 10000"/>
                <a:gd name="connsiteY130" fmla="*/ 6532 h 10000"/>
                <a:gd name="connsiteX131" fmla="*/ 9409 w 10000"/>
                <a:gd name="connsiteY131" fmla="*/ 5894 h 10000"/>
                <a:gd name="connsiteX132" fmla="*/ 9464 w 10000"/>
                <a:gd name="connsiteY132" fmla="*/ 5705 h 10000"/>
                <a:gd name="connsiteX133" fmla="*/ 10000 w 10000"/>
                <a:gd name="connsiteY133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7679 w 10000"/>
                <a:gd name="connsiteY125" fmla="*/ 9388 h 10000"/>
                <a:gd name="connsiteX126" fmla="*/ 9217 w 10000"/>
                <a:gd name="connsiteY126" fmla="*/ 9209 h 10000"/>
                <a:gd name="connsiteX127" fmla="*/ 9245 w 10000"/>
                <a:gd name="connsiteY127" fmla="*/ 7492 h 10000"/>
                <a:gd name="connsiteX128" fmla="*/ 9272 w 10000"/>
                <a:gd name="connsiteY128" fmla="*/ 6918 h 10000"/>
                <a:gd name="connsiteX129" fmla="*/ 9299 w 10000"/>
                <a:gd name="connsiteY129" fmla="*/ 6532 h 10000"/>
                <a:gd name="connsiteX130" fmla="*/ 9409 w 10000"/>
                <a:gd name="connsiteY130" fmla="*/ 5894 h 10000"/>
                <a:gd name="connsiteX131" fmla="*/ 9464 w 10000"/>
                <a:gd name="connsiteY131" fmla="*/ 5705 h 10000"/>
                <a:gd name="connsiteX132" fmla="*/ 10000 w 10000"/>
                <a:gd name="connsiteY132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9217 w 10000"/>
                <a:gd name="connsiteY125" fmla="*/ 9209 h 10000"/>
                <a:gd name="connsiteX126" fmla="*/ 9245 w 10000"/>
                <a:gd name="connsiteY126" fmla="*/ 7492 h 10000"/>
                <a:gd name="connsiteX127" fmla="*/ 9272 w 10000"/>
                <a:gd name="connsiteY127" fmla="*/ 6918 h 10000"/>
                <a:gd name="connsiteX128" fmla="*/ 9299 w 10000"/>
                <a:gd name="connsiteY128" fmla="*/ 6532 h 10000"/>
                <a:gd name="connsiteX129" fmla="*/ 9409 w 10000"/>
                <a:gd name="connsiteY129" fmla="*/ 5894 h 10000"/>
                <a:gd name="connsiteX130" fmla="*/ 9464 w 10000"/>
                <a:gd name="connsiteY130" fmla="*/ 5705 h 10000"/>
                <a:gd name="connsiteX131" fmla="*/ 10000 w 10000"/>
                <a:gd name="connsiteY131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8269 w 10000"/>
                <a:gd name="connsiteY124" fmla="*/ 7915 h 10000"/>
                <a:gd name="connsiteX125" fmla="*/ 9245 w 10000"/>
                <a:gd name="connsiteY125" fmla="*/ 7492 h 10000"/>
                <a:gd name="connsiteX126" fmla="*/ 9272 w 10000"/>
                <a:gd name="connsiteY126" fmla="*/ 6918 h 10000"/>
                <a:gd name="connsiteX127" fmla="*/ 9299 w 10000"/>
                <a:gd name="connsiteY127" fmla="*/ 6532 h 10000"/>
                <a:gd name="connsiteX128" fmla="*/ 9409 w 10000"/>
                <a:gd name="connsiteY128" fmla="*/ 5894 h 10000"/>
                <a:gd name="connsiteX129" fmla="*/ 9464 w 10000"/>
                <a:gd name="connsiteY129" fmla="*/ 5705 h 10000"/>
                <a:gd name="connsiteX130" fmla="*/ 10000 w 10000"/>
                <a:gd name="connsiteY130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8297 w 10000"/>
                <a:gd name="connsiteY123" fmla="*/ 7466 h 10000"/>
                <a:gd name="connsiteX124" fmla="*/ 9245 w 10000"/>
                <a:gd name="connsiteY124" fmla="*/ 7492 h 10000"/>
                <a:gd name="connsiteX125" fmla="*/ 9272 w 10000"/>
                <a:gd name="connsiteY125" fmla="*/ 6918 h 10000"/>
                <a:gd name="connsiteX126" fmla="*/ 9299 w 10000"/>
                <a:gd name="connsiteY126" fmla="*/ 6532 h 10000"/>
                <a:gd name="connsiteX127" fmla="*/ 9409 w 10000"/>
                <a:gd name="connsiteY127" fmla="*/ 5894 h 10000"/>
                <a:gd name="connsiteX128" fmla="*/ 9464 w 10000"/>
                <a:gd name="connsiteY128" fmla="*/ 5705 h 10000"/>
                <a:gd name="connsiteX129" fmla="*/ 10000 w 10000"/>
                <a:gd name="connsiteY129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9245 w 10000"/>
                <a:gd name="connsiteY123" fmla="*/ 7492 h 10000"/>
                <a:gd name="connsiteX124" fmla="*/ 9272 w 10000"/>
                <a:gd name="connsiteY124" fmla="*/ 6918 h 10000"/>
                <a:gd name="connsiteX125" fmla="*/ 9299 w 10000"/>
                <a:gd name="connsiteY125" fmla="*/ 6532 h 10000"/>
                <a:gd name="connsiteX126" fmla="*/ 9409 w 10000"/>
                <a:gd name="connsiteY126" fmla="*/ 5894 h 10000"/>
                <a:gd name="connsiteX127" fmla="*/ 9464 w 10000"/>
                <a:gd name="connsiteY127" fmla="*/ 5705 h 10000"/>
                <a:gd name="connsiteX128" fmla="*/ 10000 w 10000"/>
                <a:gd name="connsiteY128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9272 w 10000"/>
                <a:gd name="connsiteY123" fmla="*/ 6918 h 10000"/>
                <a:gd name="connsiteX124" fmla="*/ 9299 w 10000"/>
                <a:gd name="connsiteY124" fmla="*/ 6532 h 10000"/>
                <a:gd name="connsiteX125" fmla="*/ 9409 w 10000"/>
                <a:gd name="connsiteY125" fmla="*/ 5894 h 10000"/>
                <a:gd name="connsiteX126" fmla="*/ 9464 w 10000"/>
                <a:gd name="connsiteY126" fmla="*/ 5705 h 10000"/>
                <a:gd name="connsiteX127" fmla="*/ 10000 w 10000"/>
                <a:gd name="connsiteY127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9299 w 10000"/>
                <a:gd name="connsiteY123" fmla="*/ 6532 h 10000"/>
                <a:gd name="connsiteX124" fmla="*/ 9409 w 10000"/>
                <a:gd name="connsiteY124" fmla="*/ 5894 h 10000"/>
                <a:gd name="connsiteX125" fmla="*/ 9464 w 10000"/>
                <a:gd name="connsiteY125" fmla="*/ 5705 h 10000"/>
                <a:gd name="connsiteX126" fmla="*/ 10000 w 10000"/>
                <a:gd name="connsiteY126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8324 w 10000"/>
                <a:gd name="connsiteY122" fmla="*/ 6837 h 10000"/>
                <a:gd name="connsiteX123" fmla="*/ 9409 w 10000"/>
                <a:gd name="connsiteY123" fmla="*/ 5894 h 10000"/>
                <a:gd name="connsiteX124" fmla="*/ 9464 w 10000"/>
                <a:gd name="connsiteY124" fmla="*/ 5705 h 10000"/>
                <a:gd name="connsiteX125" fmla="*/ 10000 w 10000"/>
                <a:gd name="connsiteY125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8352 w 10000"/>
                <a:gd name="connsiteY121" fmla="*/ 6702 h 10000"/>
                <a:gd name="connsiteX122" fmla="*/ 9409 w 10000"/>
                <a:gd name="connsiteY122" fmla="*/ 5894 h 10000"/>
                <a:gd name="connsiteX123" fmla="*/ 9464 w 10000"/>
                <a:gd name="connsiteY123" fmla="*/ 5705 h 10000"/>
                <a:gd name="connsiteX124" fmla="*/ 10000 w 10000"/>
                <a:gd name="connsiteY124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8393 w 10000"/>
                <a:gd name="connsiteY113" fmla="*/ 6101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940 w 10000"/>
                <a:gd name="connsiteY116" fmla="*/ 5750 h 10000"/>
                <a:gd name="connsiteX117" fmla="*/ 7802 w 10000"/>
                <a:gd name="connsiteY117" fmla="*/ 5822 h 10000"/>
                <a:gd name="connsiteX118" fmla="*/ 7830 w 10000"/>
                <a:gd name="connsiteY118" fmla="*/ 5939 h 10000"/>
                <a:gd name="connsiteX119" fmla="*/ 7830 w 10000"/>
                <a:gd name="connsiteY119" fmla="*/ 5930 h 10000"/>
                <a:gd name="connsiteX120" fmla="*/ 7830 w 10000"/>
                <a:gd name="connsiteY120" fmla="*/ 5939 h 10000"/>
                <a:gd name="connsiteX121" fmla="*/ 9409 w 10000"/>
                <a:gd name="connsiteY121" fmla="*/ 5894 h 10000"/>
                <a:gd name="connsiteX122" fmla="*/ 9464 w 10000"/>
                <a:gd name="connsiteY122" fmla="*/ 5705 h 10000"/>
                <a:gd name="connsiteX123" fmla="*/ 10000 w 10000"/>
                <a:gd name="connsiteY123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8475 w 10000"/>
                <a:gd name="connsiteY112" fmla="*/ 5768 h 10000"/>
                <a:gd name="connsiteX113" fmla="*/ 7940 w 10000"/>
                <a:gd name="connsiteY113" fmla="*/ 5750 h 10000"/>
                <a:gd name="connsiteX114" fmla="*/ 7940 w 10000"/>
                <a:gd name="connsiteY114" fmla="*/ 5750 h 10000"/>
                <a:gd name="connsiteX115" fmla="*/ 7940 w 10000"/>
                <a:gd name="connsiteY115" fmla="*/ 5750 h 10000"/>
                <a:gd name="connsiteX116" fmla="*/ 7802 w 10000"/>
                <a:gd name="connsiteY116" fmla="*/ 5822 h 10000"/>
                <a:gd name="connsiteX117" fmla="*/ 7830 w 10000"/>
                <a:gd name="connsiteY117" fmla="*/ 5939 h 10000"/>
                <a:gd name="connsiteX118" fmla="*/ 7830 w 10000"/>
                <a:gd name="connsiteY118" fmla="*/ 5930 h 10000"/>
                <a:gd name="connsiteX119" fmla="*/ 7830 w 10000"/>
                <a:gd name="connsiteY119" fmla="*/ 5939 h 10000"/>
                <a:gd name="connsiteX120" fmla="*/ 9409 w 10000"/>
                <a:gd name="connsiteY120" fmla="*/ 5894 h 10000"/>
                <a:gd name="connsiteX121" fmla="*/ 9464 w 10000"/>
                <a:gd name="connsiteY121" fmla="*/ 5705 h 10000"/>
                <a:gd name="connsiteX122" fmla="*/ 10000 w 10000"/>
                <a:gd name="connsiteY122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7940 w 10000"/>
                <a:gd name="connsiteY113" fmla="*/ 5750 h 10000"/>
                <a:gd name="connsiteX114" fmla="*/ 7940 w 10000"/>
                <a:gd name="connsiteY114" fmla="*/ 5750 h 10000"/>
                <a:gd name="connsiteX115" fmla="*/ 7802 w 10000"/>
                <a:gd name="connsiteY115" fmla="*/ 5822 h 10000"/>
                <a:gd name="connsiteX116" fmla="*/ 7830 w 10000"/>
                <a:gd name="connsiteY116" fmla="*/ 5939 h 10000"/>
                <a:gd name="connsiteX117" fmla="*/ 7830 w 10000"/>
                <a:gd name="connsiteY117" fmla="*/ 5930 h 10000"/>
                <a:gd name="connsiteX118" fmla="*/ 7830 w 10000"/>
                <a:gd name="connsiteY118" fmla="*/ 5939 h 10000"/>
                <a:gd name="connsiteX119" fmla="*/ 9409 w 10000"/>
                <a:gd name="connsiteY119" fmla="*/ 5894 h 10000"/>
                <a:gd name="connsiteX120" fmla="*/ 9464 w 10000"/>
                <a:gd name="connsiteY120" fmla="*/ 5705 h 10000"/>
                <a:gd name="connsiteX121" fmla="*/ 10000 w 10000"/>
                <a:gd name="connsiteY121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7940 w 10000"/>
                <a:gd name="connsiteY113" fmla="*/ 5750 h 10000"/>
                <a:gd name="connsiteX114" fmla="*/ 7940 w 10000"/>
                <a:gd name="connsiteY114" fmla="*/ 5750 h 10000"/>
                <a:gd name="connsiteX115" fmla="*/ 7830 w 10000"/>
                <a:gd name="connsiteY115" fmla="*/ 5939 h 10000"/>
                <a:gd name="connsiteX116" fmla="*/ 7830 w 10000"/>
                <a:gd name="connsiteY116" fmla="*/ 5930 h 10000"/>
                <a:gd name="connsiteX117" fmla="*/ 7830 w 10000"/>
                <a:gd name="connsiteY117" fmla="*/ 5939 h 10000"/>
                <a:gd name="connsiteX118" fmla="*/ 9409 w 10000"/>
                <a:gd name="connsiteY118" fmla="*/ 5894 h 10000"/>
                <a:gd name="connsiteX119" fmla="*/ 9464 w 10000"/>
                <a:gd name="connsiteY119" fmla="*/ 5705 h 10000"/>
                <a:gd name="connsiteX120" fmla="*/ 10000 w 10000"/>
                <a:gd name="connsiteY120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7940 w 10000"/>
                <a:gd name="connsiteY113" fmla="*/ 5750 h 10000"/>
                <a:gd name="connsiteX114" fmla="*/ 7940 w 10000"/>
                <a:gd name="connsiteY114" fmla="*/ 5750 h 10000"/>
                <a:gd name="connsiteX115" fmla="*/ 7830 w 10000"/>
                <a:gd name="connsiteY115" fmla="*/ 5939 h 10000"/>
                <a:gd name="connsiteX116" fmla="*/ 7830 w 10000"/>
                <a:gd name="connsiteY116" fmla="*/ 5930 h 10000"/>
                <a:gd name="connsiteX117" fmla="*/ 9409 w 10000"/>
                <a:gd name="connsiteY117" fmla="*/ 5894 h 10000"/>
                <a:gd name="connsiteX118" fmla="*/ 9464 w 10000"/>
                <a:gd name="connsiteY118" fmla="*/ 5705 h 10000"/>
                <a:gd name="connsiteX119" fmla="*/ 10000 w 10000"/>
                <a:gd name="connsiteY119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7940 w 10000"/>
                <a:gd name="connsiteY113" fmla="*/ 5750 h 10000"/>
                <a:gd name="connsiteX114" fmla="*/ 7830 w 10000"/>
                <a:gd name="connsiteY114" fmla="*/ 5939 h 10000"/>
                <a:gd name="connsiteX115" fmla="*/ 7830 w 10000"/>
                <a:gd name="connsiteY115" fmla="*/ 5930 h 10000"/>
                <a:gd name="connsiteX116" fmla="*/ 9409 w 10000"/>
                <a:gd name="connsiteY116" fmla="*/ 5894 h 10000"/>
                <a:gd name="connsiteX117" fmla="*/ 9464 w 10000"/>
                <a:gd name="connsiteY117" fmla="*/ 5705 h 10000"/>
                <a:gd name="connsiteX118" fmla="*/ 10000 w 10000"/>
                <a:gd name="connsiteY118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7940 w 10000"/>
                <a:gd name="connsiteY113" fmla="*/ 5750 h 10000"/>
                <a:gd name="connsiteX114" fmla="*/ 7830 w 10000"/>
                <a:gd name="connsiteY114" fmla="*/ 5939 h 10000"/>
                <a:gd name="connsiteX115" fmla="*/ 9409 w 10000"/>
                <a:gd name="connsiteY115" fmla="*/ 5894 h 10000"/>
                <a:gd name="connsiteX116" fmla="*/ 9464 w 10000"/>
                <a:gd name="connsiteY116" fmla="*/ 5705 h 10000"/>
                <a:gd name="connsiteX117" fmla="*/ 10000 w 10000"/>
                <a:gd name="connsiteY117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7830 w 10000"/>
                <a:gd name="connsiteY113" fmla="*/ 5939 h 10000"/>
                <a:gd name="connsiteX114" fmla="*/ 9409 w 10000"/>
                <a:gd name="connsiteY114" fmla="*/ 5894 h 10000"/>
                <a:gd name="connsiteX115" fmla="*/ 9464 w 10000"/>
                <a:gd name="connsiteY115" fmla="*/ 5705 h 10000"/>
                <a:gd name="connsiteX116" fmla="*/ 10000 w 10000"/>
                <a:gd name="connsiteY116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9409 w 10000"/>
                <a:gd name="connsiteY113" fmla="*/ 5894 h 10000"/>
                <a:gd name="connsiteX114" fmla="*/ 9464 w 10000"/>
                <a:gd name="connsiteY114" fmla="*/ 5705 h 10000"/>
                <a:gd name="connsiteX115" fmla="*/ 10000 w 10000"/>
                <a:gd name="connsiteY115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9464 w 10000"/>
                <a:gd name="connsiteY113" fmla="*/ 5705 h 10000"/>
                <a:gd name="connsiteX114" fmla="*/ 10000 w 10000"/>
                <a:gd name="connsiteY114" fmla="*/ 4942 h 10000"/>
                <a:gd name="connsiteX0" fmla="*/ 10000 w 10000"/>
                <a:gd name="connsiteY0" fmla="*/ 4942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113" fmla="*/ 10000 w 10000"/>
                <a:gd name="connsiteY113" fmla="*/ 4942 h 10000"/>
                <a:gd name="connsiteX0" fmla="*/ 7940 w 10000"/>
                <a:gd name="connsiteY0" fmla="*/ 5750 h 10000"/>
                <a:gd name="connsiteX1" fmla="*/ 10000 w 10000"/>
                <a:gd name="connsiteY1" fmla="*/ 4942 h 10000"/>
                <a:gd name="connsiteX2" fmla="*/ 9863 w 10000"/>
                <a:gd name="connsiteY2" fmla="*/ 4870 h 10000"/>
                <a:gd name="connsiteX3" fmla="*/ 9890 w 10000"/>
                <a:gd name="connsiteY3" fmla="*/ 4753 h 10000"/>
                <a:gd name="connsiteX4" fmla="*/ 9890 w 10000"/>
                <a:gd name="connsiteY4" fmla="*/ 4753 h 10000"/>
                <a:gd name="connsiteX5" fmla="*/ 9478 w 10000"/>
                <a:gd name="connsiteY5" fmla="*/ 5050 h 10000"/>
                <a:gd name="connsiteX6" fmla="*/ 9409 w 10000"/>
                <a:gd name="connsiteY6" fmla="*/ 4654 h 10000"/>
                <a:gd name="connsiteX7" fmla="*/ 9396 w 10000"/>
                <a:gd name="connsiteY7" fmla="*/ 3676 h 10000"/>
                <a:gd name="connsiteX8" fmla="*/ 8901 w 10000"/>
                <a:gd name="connsiteY8" fmla="*/ 3756 h 10000"/>
                <a:gd name="connsiteX9" fmla="*/ 8434 w 10000"/>
                <a:gd name="connsiteY9" fmla="*/ 3666 h 10000"/>
                <a:gd name="connsiteX10" fmla="*/ 8434 w 10000"/>
                <a:gd name="connsiteY10" fmla="*/ 3666 h 10000"/>
                <a:gd name="connsiteX11" fmla="*/ 8448 w 10000"/>
                <a:gd name="connsiteY11" fmla="*/ 4009 h 10000"/>
                <a:gd name="connsiteX12" fmla="*/ 8379 w 10000"/>
                <a:gd name="connsiteY12" fmla="*/ 4053 h 10000"/>
                <a:gd name="connsiteX13" fmla="*/ 7885 w 10000"/>
                <a:gd name="connsiteY13" fmla="*/ 3793 h 10000"/>
                <a:gd name="connsiteX14" fmla="*/ 7500 w 10000"/>
                <a:gd name="connsiteY14" fmla="*/ 3442 h 10000"/>
                <a:gd name="connsiteX15" fmla="*/ 6868 w 10000"/>
                <a:gd name="connsiteY15" fmla="*/ 3109 h 10000"/>
                <a:gd name="connsiteX16" fmla="*/ 6538 w 10000"/>
                <a:gd name="connsiteY16" fmla="*/ 2382 h 10000"/>
                <a:gd name="connsiteX17" fmla="*/ 7266 w 10000"/>
                <a:gd name="connsiteY17" fmla="*/ 1187 h 10000"/>
                <a:gd name="connsiteX18" fmla="*/ 6896 w 10000"/>
                <a:gd name="connsiteY18" fmla="*/ 280 h 10000"/>
                <a:gd name="connsiteX19" fmla="*/ 6126 w 10000"/>
                <a:gd name="connsiteY19" fmla="*/ 118 h 10000"/>
                <a:gd name="connsiteX20" fmla="*/ 5330 w 10000"/>
                <a:gd name="connsiteY20" fmla="*/ 621 h 10000"/>
                <a:gd name="connsiteX21" fmla="*/ 5151 w 10000"/>
                <a:gd name="connsiteY21" fmla="*/ 908 h 10000"/>
                <a:gd name="connsiteX22" fmla="*/ 4794 w 10000"/>
                <a:gd name="connsiteY22" fmla="*/ 1079 h 10000"/>
                <a:gd name="connsiteX23" fmla="*/ 4217 w 10000"/>
                <a:gd name="connsiteY23" fmla="*/ 1754 h 10000"/>
                <a:gd name="connsiteX24" fmla="*/ 4437 w 10000"/>
                <a:gd name="connsiteY24" fmla="*/ 1933 h 10000"/>
                <a:gd name="connsiteX25" fmla="*/ 5206 w 10000"/>
                <a:gd name="connsiteY25" fmla="*/ 1772 h 10000"/>
                <a:gd name="connsiteX26" fmla="*/ 5632 w 10000"/>
                <a:gd name="connsiteY26" fmla="*/ 1610 h 10000"/>
                <a:gd name="connsiteX27" fmla="*/ 5783 w 10000"/>
                <a:gd name="connsiteY27" fmla="*/ 1626 h 10000"/>
                <a:gd name="connsiteX28" fmla="*/ 5783 w 10000"/>
                <a:gd name="connsiteY28" fmla="*/ 1996 h 10000"/>
                <a:gd name="connsiteX29" fmla="*/ 4959 w 10000"/>
                <a:gd name="connsiteY29" fmla="*/ 2481 h 10000"/>
                <a:gd name="connsiteX30" fmla="*/ 4176 w 10000"/>
                <a:gd name="connsiteY30" fmla="*/ 2858 h 10000"/>
                <a:gd name="connsiteX31" fmla="*/ 4327 w 10000"/>
                <a:gd name="connsiteY31" fmla="*/ 3424 h 10000"/>
                <a:gd name="connsiteX32" fmla="*/ 4739 w 10000"/>
                <a:gd name="connsiteY32" fmla="*/ 3747 h 10000"/>
                <a:gd name="connsiteX33" fmla="*/ 4973 w 10000"/>
                <a:gd name="connsiteY33" fmla="*/ 4340 h 10000"/>
                <a:gd name="connsiteX34" fmla="*/ 4615 w 10000"/>
                <a:gd name="connsiteY34" fmla="*/ 4556 h 10000"/>
                <a:gd name="connsiteX35" fmla="*/ 3915 w 10000"/>
                <a:gd name="connsiteY35" fmla="*/ 6038 h 10000"/>
                <a:gd name="connsiteX36" fmla="*/ 3984 w 10000"/>
                <a:gd name="connsiteY36" fmla="*/ 6298 h 10000"/>
                <a:gd name="connsiteX37" fmla="*/ 3970 w 10000"/>
                <a:gd name="connsiteY37" fmla="*/ 6865 h 10000"/>
                <a:gd name="connsiteX38" fmla="*/ 3929 w 10000"/>
                <a:gd name="connsiteY38" fmla="*/ 8202 h 10000"/>
                <a:gd name="connsiteX39" fmla="*/ 3929 w 10000"/>
                <a:gd name="connsiteY39" fmla="*/ 8293 h 10000"/>
                <a:gd name="connsiteX40" fmla="*/ 3681 w 10000"/>
                <a:gd name="connsiteY40" fmla="*/ 9873 h 10000"/>
                <a:gd name="connsiteX41" fmla="*/ 3654 w 10000"/>
                <a:gd name="connsiteY41" fmla="*/ 9891 h 10000"/>
                <a:gd name="connsiteX42" fmla="*/ 3571 w 10000"/>
                <a:gd name="connsiteY42" fmla="*/ 9864 h 10000"/>
                <a:gd name="connsiteX43" fmla="*/ 3338 w 10000"/>
                <a:gd name="connsiteY43" fmla="*/ 8185 h 10000"/>
                <a:gd name="connsiteX44" fmla="*/ 3462 w 10000"/>
                <a:gd name="connsiteY44" fmla="*/ 6253 h 10000"/>
                <a:gd name="connsiteX45" fmla="*/ 3571 w 10000"/>
                <a:gd name="connsiteY45" fmla="*/ 5957 h 10000"/>
                <a:gd name="connsiteX46" fmla="*/ 3585 w 10000"/>
                <a:gd name="connsiteY46" fmla="*/ 5885 h 10000"/>
                <a:gd name="connsiteX47" fmla="*/ 3283 w 10000"/>
                <a:gd name="connsiteY47" fmla="*/ 4098 h 10000"/>
                <a:gd name="connsiteX48" fmla="*/ 3146 w 10000"/>
                <a:gd name="connsiteY48" fmla="*/ 3073 h 10000"/>
                <a:gd name="connsiteX49" fmla="*/ 3475 w 10000"/>
                <a:gd name="connsiteY49" fmla="*/ 2004 h 10000"/>
                <a:gd name="connsiteX50" fmla="*/ 3681 w 10000"/>
                <a:gd name="connsiteY50" fmla="*/ 1600 h 10000"/>
                <a:gd name="connsiteX51" fmla="*/ 3723 w 10000"/>
                <a:gd name="connsiteY51" fmla="*/ 1493 h 10000"/>
                <a:gd name="connsiteX52" fmla="*/ 3544 w 10000"/>
                <a:gd name="connsiteY52" fmla="*/ 262 h 10000"/>
                <a:gd name="connsiteX53" fmla="*/ 2651 w 10000"/>
                <a:gd name="connsiteY53" fmla="*/ 1 h 10000"/>
                <a:gd name="connsiteX54" fmla="*/ 2170 w 10000"/>
                <a:gd name="connsiteY54" fmla="*/ 136 h 10000"/>
                <a:gd name="connsiteX55" fmla="*/ 2060 w 10000"/>
                <a:gd name="connsiteY55" fmla="*/ 621 h 10000"/>
                <a:gd name="connsiteX56" fmla="*/ 1923 w 10000"/>
                <a:gd name="connsiteY56" fmla="*/ 999 h 10000"/>
                <a:gd name="connsiteX57" fmla="*/ 1277 w 10000"/>
                <a:gd name="connsiteY57" fmla="*/ 703 h 10000"/>
                <a:gd name="connsiteX58" fmla="*/ 440 w 10000"/>
                <a:gd name="connsiteY58" fmla="*/ 307 h 10000"/>
                <a:gd name="connsiteX59" fmla="*/ 27 w 10000"/>
                <a:gd name="connsiteY59" fmla="*/ 280 h 10000"/>
                <a:gd name="connsiteX60" fmla="*/ 27 w 10000"/>
                <a:gd name="connsiteY60" fmla="*/ 280 h 10000"/>
                <a:gd name="connsiteX61" fmla="*/ 357 w 10000"/>
                <a:gd name="connsiteY61" fmla="*/ 432 h 10000"/>
                <a:gd name="connsiteX62" fmla="*/ 0 w 10000"/>
                <a:gd name="connsiteY62" fmla="*/ 603 h 10000"/>
                <a:gd name="connsiteX63" fmla="*/ 0 w 10000"/>
                <a:gd name="connsiteY63" fmla="*/ 603 h 10000"/>
                <a:gd name="connsiteX64" fmla="*/ 453 w 10000"/>
                <a:gd name="connsiteY64" fmla="*/ 586 h 10000"/>
                <a:gd name="connsiteX65" fmla="*/ 989 w 10000"/>
                <a:gd name="connsiteY65" fmla="*/ 864 h 10000"/>
                <a:gd name="connsiteX66" fmla="*/ 2047 w 10000"/>
                <a:gd name="connsiteY66" fmla="*/ 1233 h 10000"/>
                <a:gd name="connsiteX67" fmla="*/ 2431 w 10000"/>
                <a:gd name="connsiteY67" fmla="*/ 594 h 10000"/>
                <a:gd name="connsiteX68" fmla="*/ 2459 w 10000"/>
                <a:gd name="connsiteY68" fmla="*/ 298 h 10000"/>
                <a:gd name="connsiteX69" fmla="*/ 2679 w 10000"/>
                <a:gd name="connsiteY69" fmla="*/ 253 h 10000"/>
                <a:gd name="connsiteX70" fmla="*/ 3255 w 10000"/>
                <a:gd name="connsiteY70" fmla="*/ 414 h 10000"/>
                <a:gd name="connsiteX71" fmla="*/ 3379 w 10000"/>
                <a:gd name="connsiteY71" fmla="*/ 1421 h 10000"/>
                <a:gd name="connsiteX72" fmla="*/ 3324 w 10000"/>
                <a:gd name="connsiteY72" fmla="*/ 1528 h 10000"/>
                <a:gd name="connsiteX73" fmla="*/ 3146 w 10000"/>
                <a:gd name="connsiteY73" fmla="*/ 1889 h 10000"/>
                <a:gd name="connsiteX74" fmla="*/ 2775 w 10000"/>
                <a:gd name="connsiteY74" fmla="*/ 3109 h 10000"/>
                <a:gd name="connsiteX75" fmla="*/ 2926 w 10000"/>
                <a:gd name="connsiteY75" fmla="*/ 4170 h 10000"/>
                <a:gd name="connsiteX76" fmla="*/ 3214 w 10000"/>
                <a:gd name="connsiteY76" fmla="*/ 5859 h 10000"/>
                <a:gd name="connsiteX77" fmla="*/ 3201 w 10000"/>
                <a:gd name="connsiteY77" fmla="*/ 5930 h 10000"/>
                <a:gd name="connsiteX78" fmla="*/ 3297 w 10000"/>
                <a:gd name="connsiteY78" fmla="*/ 6253 h 10000"/>
                <a:gd name="connsiteX79" fmla="*/ 3173 w 10000"/>
                <a:gd name="connsiteY79" fmla="*/ 8185 h 10000"/>
                <a:gd name="connsiteX80" fmla="*/ 3462 w 10000"/>
                <a:gd name="connsiteY80" fmla="*/ 9946 h 10000"/>
                <a:gd name="connsiteX81" fmla="*/ 3654 w 10000"/>
                <a:gd name="connsiteY81" fmla="*/ 10000 h 10000"/>
                <a:gd name="connsiteX82" fmla="*/ 3805 w 10000"/>
                <a:gd name="connsiteY82" fmla="*/ 9954 h 10000"/>
                <a:gd name="connsiteX83" fmla="*/ 4093 w 10000"/>
                <a:gd name="connsiteY83" fmla="*/ 8293 h 10000"/>
                <a:gd name="connsiteX84" fmla="*/ 4093 w 10000"/>
                <a:gd name="connsiteY84" fmla="*/ 8202 h 10000"/>
                <a:gd name="connsiteX85" fmla="*/ 4135 w 10000"/>
                <a:gd name="connsiteY85" fmla="*/ 6865 h 10000"/>
                <a:gd name="connsiteX86" fmla="*/ 4162 w 10000"/>
                <a:gd name="connsiteY86" fmla="*/ 6308 h 10000"/>
                <a:gd name="connsiteX87" fmla="*/ 4286 w 10000"/>
                <a:gd name="connsiteY87" fmla="*/ 6038 h 10000"/>
                <a:gd name="connsiteX88" fmla="*/ 4821 w 10000"/>
                <a:gd name="connsiteY88" fmla="*/ 4763 h 10000"/>
                <a:gd name="connsiteX89" fmla="*/ 5275 w 10000"/>
                <a:gd name="connsiteY89" fmla="*/ 4474 h 10000"/>
                <a:gd name="connsiteX90" fmla="*/ 5014 w 10000"/>
                <a:gd name="connsiteY90" fmla="*/ 3577 h 10000"/>
                <a:gd name="connsiteX91" fmla="*/ 4657 w 10000"/>
                <a:gd name="connsiteY91" fmla="*/ 3288 h 10000"/>
                <a:gd name="connsiteX92" fmla="*/ 4519 w 10000"/>
                <a:gd name="connsiteY92" fmla="*/ 2940 h 10000"/>
                <a:gd name="connsiteX93" fmla="*/ 5069 w 10000"/>
                <a:gd name="connsiteY93" fmla="*/ 2714 h 10000"/>
                <a:gd name="connsiteX94" fmla="*/ 6126 w 10000"/>
                <a:gd name="connsiteY94" fmla="*/ 2094 h 10000"/>
                <a:gd name="connsiteX95" fmla="*/ 6099 w 10000"/>
                <a:gd name="connsiteY95" fmla="*/ 1501 h 10000"/>
                <a:gd name="connsiteX96" fmla="*/ 5838 w 10000"/>
                <a:gd name="connsiteY96" fmla="*/ 1367 h 10000"/>
                <a:gd name="connsiteX97" fmla="*/ 5000 w 10000"/>
                <a:gd name="connsiteY97" fmla="*/ 1564 h 10000"/>
                <a:gd name="connsiteX98" fmla="*/ 4670 w 10000"/>
                <a:gd name="connsiteY98" fmla="*/ 1691 h 10000"/>
                <a:gd name="connsiteX99" fmla="*/ 4560 w 10000"/>
                <a:gd name="connsiteY99" fmla="*/ 1592 h 10000"/>
                <a:gd name="connsiteX100" fmla="*/ 4986 w 10000"/>
                <a:gd name="connsiteY100" fmla="*/ 1286 h 10000"/>
                <a:gd name="connsiteX101" fmla="*/ 5412 w 10000"/>
                <a:gd name="connsiteY101" fmla="*/ 1079 h 10000"/>
                <a:gd name="connsiteX102" fmla="*/ 5701 w 10000"/>
                <a:gd name="connsiteY102" fmla="*/ 666 h 10000"/>
                <a:gd name="connsiteX103" fmla="*/ 6140 w 10000"/>
                <a:gd name="connsiteY103" fmla="*/ 361 h 10000"/>
                <a:gd name="connsiteX104" fmla="*/ 6635 w 10000"/>
                <a:gd name="connsiteY104" fmla="*/ 460 h 10000"/>
                <a:gd name="connsiteX105" fmla="*/ 6896 w 10000"/>
                <a:gd name="connsiteY105" fmla="*/ 1187 h 10000"/>
                <a:gd name="connsiteX106" fmla="*/ 6291 w 10000"/>
                <a:gd name="connsiteY106" fmla="*/ 2202 h 10000"/>
                <a:gd name="connsiteX107" fmla="*/ 6195 w 10000"/>
                <a:gd name="connsiteY107" fmla="*/ 3065 h 10000"/>
                <a:gd name="connsiteX108" fmla="*/ 7033 w 10000"/>
                <a:gd name="connsiteY108" fmla="*/ 3416 h 10000"/>
                <a:gd name="connsiteX109" fmla="*/ 7569 w 10000"/>
                <a:gd name="connsiteY109" fmla="*/ 3900 h 10000"/>
                <a:gd name="connsiteX110" fmla="*/ 8352 w 10000"/>
                <a:gd name="connsiteY110" fmla="*/ 4322 h 10000"/>
                <a:gd name="connsiteX111" fmla="*/ 8475 w 10000"/>
                <a:gd name="connsiteY111" fmla="*/ 4474 h 10000"/>
                <a:gd name="connsiteX112" fmla="*/ 7940 w 10000"/>
                <a:gd name="connsiteY112" fmla="*/ 5750 h 10000"/>
                <a:gd name="connsiteX0" fmla="*/ 7940 w 10123"/>
                <a:gd name="connsiteY0" fmla="*/ 5750 h 10000"/>
                <a:gd name="connsiteX1" fmla="*/ 10000 w 10123"/>
                <a:gd name="connsiteY1" fmla="*/ 4942 h 10000"/>
                <a:gd name="connsiteX2" fmla="*/ 9890 w 10123"/>
                <a:gd name="connsiteY2" fmla="*/ 4753 h 10000"/>
                <a:gd name="connsiteX3" fmla="*/ 9890 w 10123"/>
                <a:gd name="connsiteY3" fmla="*/ 4753 h 10000"/>
                <a:gd name="connsiteX4" fmla="*/ 9478 w 10123"/>
                <a:gd name="connsiteY4" fmla="*/ 5050 h 10000"/>
                <a:gd name="connsiteX5" fmla="*/ 9409 w 10123"/>
                <a:gd name="connsiteY5" fmla="*/ 4654 h 10000"/>
                <a:gd name="connsiteX6" fmla="*/ 9396 w 10123"/>
                <a:gd name="connsiteY6" fmla="*/ 3676 h 10000"/>
                <a:gd name="connsiteX7" fmla="*/ 8901 w 10123"/>
                <a:gd name="connsiteY7" fmla="*/ 3756 h 10000"/>
                <a:gd name="connsiteX8" fmla="*/ 8434 w 10123"/>
                <a:gd name="connsiteY8" fmla="*/ 3666 h 10000"/>
                <a:gd name="connsiteX9" fmla="*/ 8434 w 10123"/>
                <a:gd name="connsiteY9" fmla="*/ 3666 h 10000"/>
                <a:gd name="connsiteX10" fmla="*/ 8448 w 10123"/>
                <a:gd name="connsiteY10" fmla="*/ 4009 h 10000"/>
                <a:gd name="connsiteX11" fmla="*/ 8379 w 10123"/>
                <a:gd name="connsiteY11" fmla="*/ 4053 h 10000"/>
                <a:gd name="connsiteX12" fmla="*/ 7885 w 10123"/>
                <a:gd name="connsiteY12" fmla="*/ 3793 h 10000"/>
                <a:gd name="connsiteX13" fmla="*/ 7500 w 10123"/>
                <a:gd name="connsiteY13" fmla="*/ 3442 h 10000"/>
                <a:gd name="connsiteX14" fmla="*/ 6868 w 10123"/>
                <a:gd name="connsiteY14" fmla="*/ 3109 h 10000"/>
                <a:gd name="connsiteX15" fmla="*/ 6538 w 10123"/>
                <a:gd name="connsiteY15" fmla="*/ 2382 h 10000"/>
                <a:gd name="connsiteX16" fmla="*/ 7266 w 10123"/>
                <a:gd name="connsiteY16" fmla="*/ 1187 h 10000"/>
                <a:gd name="connsiteX17" fmla="*/ 6896 w 10123"/>
                <a:gd name="connsiteY17" fmla="*/ 280 h 10000"/>
                <a:gd name="connsiteX18" fmla="*/ 6126 w 10123"/>
                <a:gd name="connsiteY18" fmla="*/ 118 h 10000"/>
                <a:gd name="connsiteX19" fmla="*/ 5330 w 10123"/>
                <a:gd name="connsiteY19" fmla="*/ 621 h 10000"/>
                <a:gd name="connsiteX20" fmla="*/ 5151 w 10123"/>
                <a:gd name="connsiteY20" fmla="*/ 908 h 10000"/>
                <a:gd name="connsiteX21" fmla="*/ 4794 w 10123"/>
                <a:gd name="connsiteY21" fmla="*/ 1079 h 10000"/>
                <a:gd name="connsiteX22" fmla="*/ 4217 w 10123"/>
                <a:gd name="connsiteY22" fmla="*/ 1754 h 10000"/>
                <a:gd name="connsiteX23" fmla="*/ 4437 w 10123"/>
                <a:gd name="connsiteY23" fmla="*/ 1933 h 10000"/>
                <a:gd name="connsiteX24" fmla="*/ 5206 w 10123"/>
                <a:gd name="connsiteY24" fmla="*/ 1772 h 10000"/>
                <a:gd name="connsiteX25" fmla="*/ 5632 w 10123"/>
                <a:gd name="connsiteY25" fmla="*/ 1610 h 10000"/>
                <a:gd name="connsiteX26" fmla="*/ 5783 w 10123"/>
                <a:gd name="connsiteY26" fmla="*/ 1626 h 10000"/>
                <a:gd name="connsiteX27" fmla="*/ 5783 w 10123"/>
                <a:gd name="connsiteY27" fmla="*/ 1996 h 10000"/>
                <a:gd name="connsiteX28" fmla="*/ 4959 w 10123"/>
                <a:gd name="connsiteY28" fmla="*/ 2481 h 10000"/>
                <a:gd name="connsiteX29" fmla="*/ 4176 w 10123"/>
                <a:gd name="connsiteY29" fmla="*/ 2858 h 10000"/>
                <a:gd name="connsiteX30" fmla="*/ 4327 w 10123"/>
                <a:gd name="connsiteY30" fmla="*/ 3424 h 10000"/>
                <a:gd name="connsiteX31" fmla="*/ 4739 w 10123"/>
                <a:gd name="connsiteY31" fmla="*/ 3747 h 10000"/>
                <a:gd name="connsiteX32" fmla="*/ 4973 w 10123"/>
                <a:gd name="connsiteY32" fmla="*/ 4340 h 10000"/>
                <a:gd name="connsiteX33" fmla="*/ 4615 w 10123"/>
                <a:gd name="connsiteY33" fmla="*/ 4556 h 10000"/>
                <a:gd name="connsiteX34" fmla="*/ 3915 w 10123"/>
                <a:gd name="connsiteY34" fmla="*/ 6038 h 10000"/>
                <a:gd name="connsiteX35" fmla="*/ 3984 w 10123"/>
                <a:gd name="connsiteY35" fmla="*/ 6298 h 10000"/>
                <a:gd name="connsiteX36" fmla="*/ 3970 w 10123"/>
                <a:gd name="connsiteY36" fmla="*/ 6865 h 10000"/>
                <a:gd name="connsiteX37" fmla="*/ 3929 w 10123"/>
                <a:gd name="connsiteY37" fmla="*/ 8202 h 10000"/>
                <a:gd name="connsiteX38" fmla="*/ 3929 w 10123"/>
                <a:gd name="connsiteY38" fmla="*/ 8293 h 10000"/>
                <a:gd name="connsiteX39" fmla="*/ 3681 w 10123"/>
                <a:gd name="connsiteY39" fmla="*/ 9873 h 10000"/>
                <a:gd name="connsiteX40" fmla="*/ 3654 w 10123"/>
                <a:gd name="connsiteY40" fmla="*/ 9891 h 10000"/>
                <a:gd name="connsiteX41" fmla="*/ 3571 w 10123"/>
                <a:gd name="connsiteY41" fmla="*/ 9864 h 10000"/>
                <a:gd name="connsiteX42" fmla="*/ 3338 w 10123"/>
                <a:gd name="connsiteY42" fmla="*/ 8185 h 10000"/>
                <a:gd name="connsiteX43" fmla="*/ 3462 w 10123"/>
                <a:gd name="connsiteY43" fmla="*/ 6253 h 10000"/>
                <a:gd name="connsiteX44" fmla="*/ 3571 w 10123"/>
                <a:gd name="connsiteY44" fmla="*/ 5957 h 10000"/>
                <a:gd name="connsiteX45" fmla="*/ 3585 w 10123"/>
                <a:gd name="connsiteY45" fmla="*/ 5885 h 10000"/>
                <a:gd name="connsiteX46" fmla="*/ 3283 w 10123"/>
                <a:gd name="connsiteY46" fmla="*/ 4098 h 10000"/>
                <a:gd name="connsiteX47" fmla="*/ 3146 w 10123"/>
                <a:gd name="connsiteY47" fmla="*/ 3073 h 10000"/>
                <a:gd name="connsiteX48" fmla="*/ 3475 w 10123"/>
                <a:gd name="connsiteY48" fmla="*/ 2004 h 10000"/>
                <a:gd name="connsiteX49" fmla="*/ 3681 w 10123"/>
                <a:gd name="connsiteY49" fmla="*/ 1600 h 10000"/>
                <a:gd name="connsiteX50" fmla="*/ 3723 w 10123"/>
                <a:gd name="connsiteY50" fmla="*/ 1493 h 10000"/>
                <a:gd name="connsiteX51" fmla="*/ 3544 w 10123"/>
                <a:gd name="connsiteY51" fmla="*/ 262 h 10000"/>
                <a:gd name="connsiteX52" fmla="*/ 2651 w 10123"/>
                <a:gd name="connsiteY52" fmla="*/ 1 h 10000"/>
                <a:gd name="connsiteX53" fmla="*/ 2170 w 10123"/>
                <a:gd name="connsiteY53" fmla="*/ 136 h 10000"/>
                <a:gd name="connsiteX54" fmla="*/ 2060 w 10123"/>
                <a:gd name="connsiteY54" fmla="*/ 621 h 10000"/>
                <a:gd name="connsiteX55" fmla="*/ 1923 w 10123"/>
                <a:gd name="connsiteY55" fmla="*/ 999 h 10000"/>
                <a:gd name="connsiteX56" fmla="*/ 1277 w 10123"/>
                <a:gd name="connsiteY56" fmla="*/ 703 h 10000"/>
                <a:gd name="connsiteX57" fmla="*/ 440 w 10123"/>
                <a:gd name="connsiteY57" fmla="*/ 307 h 10000"/>
                <a:gd name="connsiteX58" fmla="*/ 27 w 10123"/>
                <a:gd name="connsiteY58" fmla="*/ 280 h 10000"/>
                <a:gd name="connsiteX59" fmla="*/ 27 w 10123"/>
                <a:gd name="connsiteY59" fmla="*/ 280 h 10000"/>
                <a:gd name="connsiteX60" fmla="*/ 357 w 10123"/>
                <a:gd name="connsiteY60" fmla="*/ 432 h 10000"/>
                <a:gd name="connsiteX61" fmla="*/ 0 w 10123"/>
                <a:gd name="connsiteY61" fmla="*/ 603 h 10000"/>
                <a:gd name="connsiteX62" fmla="*/ 0 w 10123"/>
                <a:gd name="connsiteY62" fmla="*/ 603 h 10000"/>
                <a:gd name="connsiteX63" fmla="*/ 453 w 10123"/>
                <a:gd name="connsiteY63" fmla="*/ 586 h 10000"/>
                <a:gd name="connsiteX64" fmla="*/ 989 w 10123"/>
                <a:gd name="connsiteY64" fmla="*/ 864 h 10000"/>
                <a:gd name="connsiteX65" fmla="*/ 2047 w 10123"/>
                <a:gd name="connsiteY65" fmla="*/ 1233 h 10000"/>
                <a:gd name="connsiteX66" fmla="*/ 2431 w 10123"/>
                <a:gd name="connsiteY66" fmla="*/ 594 h 10000"/>
                <a:gd name="connsiteX67" fmla="*/ 2459 w 10123"/>
                <a:gd name="connsiteY67" fmla="*/ 298 h 10000"/>
                <a:gd name="connsiteX68" fmla="*/ 2679 w 10123"/>
                <a:gd name="connsiteY68" fmla="*/ 253 h 10000"/>
                <a:gd name="connsiteX69" fmla="*/ 3255 w 10123"/>
                <a:gd name="connsiteY69" fmla="*/ 414 h 10000"/>
                <a:gd name="connsiteX70" fmla="*/ 3379 w 10123"/>
                <a:gd name="connsiteY70" fmla="*/ 1421 h 10000"/>
                <a:gd name="connsiteX71" fmla="*/ 3324 w 10123"/>
                <a:gd name="connsiteY71" fmla="*/ 1528 h 10000"/>
                <a:gd name="connsiteX72" fmla="*/ 3146 w 10123"/>
                <a:gd name="connsiteY72" fmla="*/ 1889 h 10000"/>
                <a:gd name="connsiteX73" fmla="*/ 2775 w 10123"/>
                <a:gd name="connsiteY73" fmla="*/ 3109 h 10000"/>
                <a:gd name="connsiteX74" fmla="*/ 2926 w 10123"/>
                <a:gd name="connsiteY74" fmla="*/ 4170 h 10000"/>
                <a:gd name="connsiteX75" fmla="*/ 3214 w 10123"/>
                <a:gd name="connsiteY75" fmla="*/ 5859 h 10000"/>
                <a:gd name="connsiteX76" fmla="*/ 3201 w 10123"/>
                <a:gd name="connsiteY76" fmla="*/ 5930 h 10000"/>
                <a:gd name="connsiteX77" fmla="*/ 3297 w 10123"/>
                <a:gd name="connsiteY77" fmla="*/ 6253 h 10000"/>
                <a:gd name="connsiteX78" fmla="*/ 3173 w 10123"/>
                <a:gd name="connsiteY78" fmla="*/ 8185 h 10000"/>
                <a:gd name="connsiteX79" fmla="*/ 3462 w 10123"/>
                <a:gd name="connsiteY79" fmla="*/ 9946 h 10000"/>
                <a:gd name="connsiteX80" fmla="*/ 3654 w 10123"/>
                <a:gd name="connsiteY80" fmla="*/ 10000 h 10000"/>
                <a:gd name="connsiteX81" fmla="*/ 3805 w 10123"/>
                <a:gd name="connsiteY81" fmla="*/ 9954 h 10000"/>
                <a:gd name="connsiteX82" fmla="*/ 4093 w 10123"/>
                <a:gd name="connsiteY82" fmla="*/ 8293 h 10000"/>
                <a:gd name="connsiteX83" fmla="*/ 4093 w 10123"/>
                <a:gd name="connsiteY83" fmla="*/ 8202 h 10000"/>
                <a:gd name="connsiteX84" fmla="*/ 4135 w 10123"/>
                <a:gd name="connsiteY84" fmla="*/ 6865 h 10000"/>
                <a:gd name="connsiteX85" fmla="*/ 4162 w 10123"/>
                <a:gd name="connsiteY85" fmla="*/ 6308 h 10000"/>
                <a:gd name="connsiteX86" fmla="*/ 4286 w 10123"/>
                <a:gd name="connsiteY86" fmla="*/ 6038 h 10000"/>
                <a:gd name="connsiteX87" fmla="*/ 4821 w 10123"/>
                <a:gd name="connsiteY87" fmla="*/ 4763 h 10000"/>
                <a:gd name="connsiteX88" fmla="*/ 5275 w 10123"/>
                <a:gd name="connsiteY88" fmla="*/ 4474 h 10000"/>
                <a:gd name="connsiteX89" fmla="*/ 5014 w 10123"/>
                <a:gd name="connsiteY89" fmla="*/ 3577 h 10000"/>
                <a:gd name="connsiteX90" fmla="*/ 4657 w 10123"/>
                <a:gd name="connsiteY90" fmla="*/ 3288 h 10000"/>
                <a:gd name="connsiteX91" fmla="*/ 4519 w 10123"/>
                <a:gd name="connsiteY91" fmla="*/ 2940 h 10000"/>
                <a:gd name="connsiteX92" fmla="*/ 5069 w 10123"/>
                <a:gd name="connsiteY92" fmla="*/ 2714 h 10000"/>
                <a:gd name="connsiteX93" fmla="*/ 6126 w 10123"/>
                <a:gd name="connsiteY93" fmla="*/ 2094 h 10000"/>
                <a:gd name="connsiteX94" fmla="*/ 6099 w 10123"/>
                <a:gd name="connsiteY94" fmla="*/ 1501 h 10000"/>
                <a:gd name="connsiteX95" fmla="*/ 5838 w 10123"/>
                <a:gd name="connsiteY95" fmla="*/ 1367 h 10000"/>
                <a:gd name="connsiteX96" fmla="*/ 5000 w 10123"/>
                <a:gd name="connsiteY96" fmla="*/ 1564 h 10000"/>
                <a:gd name="connsiteX97" fmla="*/ 4670 w 10123"/>
                <a:gd name="connsiteY97" fmla="*/ 1691 h 10000"/>
                <a:gd name="connsiteX98" fmla="*/ 4560 w 10123"/>
                <a:gd name="connsiteY98" fmla="*/ 1592 h 10000"/>
                <a:gd name="connsiteX99" fmla="*/ 4986 w 10123"/>
                <a:gd name="connsiteY99" fmla="*/ 1286 h 10000"/>
                <a:gd name="connsiteX100" fmla="*/ 5412 w 10123"/>
                <a:gd name="connsiteY100" fmla="*/ 1079 h 10000"/>
                <a:gd name="connsiteX101" fmla="*/ 5701 w 10123"/>
                <a:gd name="connsiteY101" fmla="*/ 666 h 10000"/>
                <a:gd name="connsiteX102" fmla="*/ 6140 w 10123"/>
                <a:gd name="connsiteY102" fmla="*/ 361 h 10000"/>
                <a:gd name="connsiteX103" fmla="*/ 6635 w 10123"/>
                <a:gd name="connsiteY103" fmla="*/ 460 h 10000"/>
                <a:gd name="connsiteX104" fmla="*/ 6896 w 10123"/>
                <a:gd name="connsiteY104" fmla="*/ 1187 h 10000"/>
                <a:gd name="connsiteX105" fmla="*/ 6291 w 10123"/>
                <a:gd name="connsiteY105" fmla="*/ 2202 h 10000"/>
                <a:gd name="connsiteX106" fmla="*/ 6195 w 10123"/>
                <a:gd name="connsiteY106" fmla="*/ 3065 h 10000"/>
                <a:gd name="connsiteX107" fmla="*/ 7033 w 10123"/>
                <a:gd name="connsiteY107" fmla="*/ 3416 h 10000"/>
                <a:gd name="connsiteX108" fmla="*/ 7569 w 10123"/>
                <a:gd name="connsiteY108" fmla="*/ 3900 h 10000"/>
                <a:gd name="connsiteX109" fmla="*/ 8352 w 10123"/>
                <a:gd name="connsiteY109" fmla="*/ 4322 h 10000"/>
                <a:gd name="connsiteX110" fmla="*/ 8475 w 10123"/>
                <a:gd name="connsiteY110" fmla="*/ 4474 h 10000"/>
                <a:gd name="connsiteX111" fmla="*/ 7940 w 10123"/>
                <a:gd name="connsiteY111" fmla="*/ 5750 h 10000"/>
                <a:gd name="connsiteX0" fmla="*/ 7940 w 9890"/>
                <a:gd name="connsiteY0" fmla="*/ 5750 h 10000"/>
                <a:gd name="connsiteX1" fmla="*/ 9890 w 9890"/>
                <a:gd name="connsiteY1" fmla="*/ 4753 h 10000"/>
                <a:gd name="connsiteX2" fmla="*/ 9890 w 9890"/>
                <a:gd name="connsiteY2" fmla="*/ 4753 h 10000"/>
                <a:gd name="connsiteX3" fmla="*/ 9478 w 9890"/>
                <a:gd name="connsiteY3" fmla="*/ 5050 h 10000"/>
                <a:gd name="connsiteX4" fmla="*/ 9409 w 9890"/>
                <a:gd name="connsiteY4" fmla="*/ 4654 h 10000"/>
                <a:gd name="connsiteX5" fmla="*/ 9396 w 9890"/>
                <a:gd name="connsiteY5" fmla="*/ 3676 h 10000"/>
                <a:gd name="connsiteX6" fmla="*/ 8901 w 9890"/>
                <a:gd name="connsiteY6" fmla="*/ 3756 h 10000"/>
                <a:gd name="connsiteX7" fmla="*/ 8434 w 9890"/>
                <a:gd name="connsiteY7" fmla="*/ 3666 h 10000"/>
                <a:gd name="connsiteX8" fmla="*/ 8434 w 9890"/>
                <a:gd name="connsiteY8" fmla="*/ 3666 h 10000"/>
                <a:gd name="connsiteX9" fmla="*/ 8448 w 9890"/>
                <a:gd name="connsiteY9" fmla="*/ 4009 h 10000"/>
                <a:gd name="connsiteX10" fmla="*/ 8379 w 9890"/>
                <a:gd name="connsiteY10" fmla="*/ 4053 h 10000"/>
                <a:gd name="connsiteX11" fmla="*/ 7885 w 9890"/>
                <a:gd name="connsiteY11" fmla="*/ 3793 h 10000"/>
                <a:gd name="connsiteX12" fmla="*/ 7500 w 9890"/>
                <a:gd name="connsiteY12" fmla="*/ 3442 h 10000"/>
                <a:gd name="connsiteX13" fmla="*/ 6868 w 9890"/>
                <a:gd name="connsiteY13" fmla="*/ 3109 h 10000"/>
                <a:gd name="connsiteX14" fmla="*/ 6538 w 9890"/>
                <a:gd name="connsiteY14" fmla="*/ 2382 h 10000"/>
                <a:gd name="connsiteX15" fmla="*/ 7266 w 9890"/>
                <a:gd name="connsiteY15" fmla="*/ 1187 h 10000"/>
                <a:gd name="connsiteX16" fmla="*/ 6896 w 9890"/>
                <a:gd name="connsiteY16" fmla="*/ 280 h 10000"/>
                <a:gd name="connsiteX17" fmla="*/ 6126 w 9890"/>
                <a:gd name="connsiteY17" fmla="*/ 118 h 10000"/>
                <a:gd name="connsiteX18" fmla="*/ 5330 w 9890"/>
                <a:gd name="connsiteY18" fmla="*/ 621 h 10000"/>
                <a:gd name="connsiteX19" fmla="*/ 5151 w 9890"/>
                <a:gd name="connsiteY19" fmla="*/ 908 h 10000"/>
                <a:gd name="connsiteX20" fmla="*/ 4794 w 9890"/>
                <a:gd name="connsiteY20" fmla="*/ 1079 h 10000"/>
                <a:gd name="connsiteX21" fmla="*/ 4217 w 9890"/>
                <a:gd name="connsiteY21" fmla="*/ 1754 h 10000"/>
                <a:gd name="connsiteX22" fmla="*/ 4437 w 9890"/>
                <a:gd name="connsiteY22" fmla="*/ 1933 h 10000"/>
                <a:gd name="connsiteX23" fmla="*/ 5206 w 9890"/>
                <a:gd name="connsiteY23" fmla="*/ 1772 h 10000"/>
                <a:gd name="connsiteX24" fmla="*/ 5632 w 9890"/>
                <a:gd name="connsiteY24" fmla="*/ 1610 h 10000"/>
                <a:gd name="connsiteX25" fmla="*/ 5783 w 9890"/>
                <a:gd name="connsiteY25" fmla="*/ 1626 h 10000"/>
                <a:gd name="connsiteX26" fmla="*/ 5783 w 9890"/>
                <a:gd name="connsiteY26" fmla="*/ 1996 h 10000"/>
                <a:gd name="connsiteX27" fmla="*/ 4959 w 9890"/>
                <a:gd name="connsiteY27" fmla="*/ 2481 h 10000"/>
                <a:gd name="connsiteX28" fmla="*/ 4176 w 9890"/>
                <a:gd name="connsiteY28" fmla="*/ 2858 h 10000"/>
                <a:gd name="connsiteX29" fmla="*/ 4327 w 9890"/>
                <a:gd name="connsiteY29" fmla="*/ 3424 h 10000"/>
                <a:gd name="connsiteX30" fmla="*/ 4739 w 9890"/>
                <a:gd name="connsiteY30" fmla="*/ 3747 h 10000"/>
                <a:gd name="connsiteX31" fmla="*/ 4973 w 9890"/>
                <a:gd name="connsiteY31" fmla="*/ 4340 h 10000"/>
                <a:gd name="connsiteX32" fmla="*/ 4615 w 9890"/>
                <a:gd name="connsiteY32" fmla="*/ 4556 h 10000"/>
                <a:gd name="connsiteX33" fmla="*/ 3915 w 9890"/>
                <a:gd name="connsiteY33" fmla="*/ 6038 h 10000"/>
                <a:gd name="connsiteX34" fmla="*/ 3984 w 9890"/>
                <a:gd name="connsiteY34" fmla="*/ 6298 h 10000"/>
                <a:gd name="connsiteX35" fmla="*/ 3970 w 9890"/>
                <a:gd name="connsiteY35" fmla="*/ 6865 h 10000"/>
                <a:gd name="connsiteX36" fmla="*/ 3929 w 9890"/>
                <a:gd name="connsiteY36" fmla="*/ 8202 h 10000"/>
                <a:gd name="connsiteX37" fmla="*/ 3929 w 9890"/>
                <a:gd name="connsiteY37" fmla="*/ 8293 h 10000"/>
                <a:gd name="connsiteX38" fmla="*/ 3681 w 9890"/>
                <a:gd name="connsiteY38" fmla="*/ 9873 h 10000"/>
                <a:gd name="connsiteX39" fmla="*/ 3654 w 9890"/>
                <a:gd name="connsiteY39" fmla="*/ 9891 h 10000"/>
                <a:gd name="connsiteX40" fmla="*/ 3571 w 9890"/>
                <a:gd name="connsiteY40" fmla="*/ 9864 h 10000"/>
                <a:gd name="connsiteX41" fmla="*/ 3338 w 9890"/>
                <a:gd name="connsiteY41" fmla="*/ 8185 h 10000"/>
                <a:gd name="connsiteX42" fmla="*/ 3462 w 9890"/>
                <a:gd name="connsiteY42" fmla="*/ 6253 h 10000"/>
                <a:gd name="connsiteX43" fmla="*/ 3571 w 9890"/>
                <a:gd name="connsiteY43" fmla="*/ 5957 h 10000"/>
                <a:gd name="connsiteX44" fmla="*/ 3585 w 9890"/>
                <a:gd name="connsiteY44" fmla="*/ 5885 h 10000"/>
                <a:gd name="connsiteX45" fmla="*/ 3283 w 9890"/>
                <a:gd name="connsiteY45" fmla="*/ 4098 h 10000"/>
                <a:gd name="connsiteX46" fmla="*/ 3146 w 9890"/>
                <a:gd name="connsiteY46" fmla="*/ 3073 h 10000"/>
                <a:gd name="connsiteX47" fmla="*/ 3475 w 9890"/>
                <a:gd name="connsiteY47" fmla="*/ 2004 h 10000"/>
                <a:gd name="connsiteX48" fmla="*/ 3681 w 9890"/>
                <a:gd name="connsiteY48" fmla="*/ 1600 h 10000"/>
                <a:gd name="connsiteX49" fmla="*/ 3723 w 9890"/>
                <a:gd name="connsiteY49" fmla="*/ 1493 h 10000"/>
                <a:gd name="connsiteX50" fmla="*/ 3544 w 9890"/>
                <a:gd name="connsiteY50" fmla="*/ 262 h 10000"/>
                <a:gd name="connsiteX51" fmla="*/ 2651 w 9890"/>
                <a:gd name="connsiteY51" fmla="*/ 1 h 10000"/>
                <a:gd name="connsiteX52" fmla="*/ 2170 w 9890"/>
                <a:gd name="connsiteY52" fmla="*/ 136 h 10000"/>
                <a:gd name="connsiteX53" fmla="*/ 2060 w 9890"/>
                <a:gd name="connsiteY53" fmla="*/ 621 h 10000"/>
                <a:gd name="connsiteX54" fmla="*/ 1923 w 9890"/>
                <a:gd name="connsiteY54" fmla="*/ 999 h 10000"/>
                <a:gd name="connsiteX55" fmla="*/ 1277 w 9890"/>
                <a:gd name="connsiteY55" fmla="*/ 703 h 10000"/>
                <a:gd name="connsiteX56" fmla="*/ 440 w 9890"/>
                <a:gd name="connsiteY56" fmla="*/ 307 h 10000"/>
                <a:gd name="connsiteX57" fmla="*/ 27 w 9890"/>
                <a:gd name="connsiteY57" fmla="*/ 280 h 10000"/>
                <a:gd name="connsiteX58" fmla="*/ 27 w 9890"/>
                <a:gd name="connsiteY58" fmla="*/ 280 h 10000"/>
                <a:gd name="connsiteX59" fmla="*/ 357 w 9890"/>
                <a:gd name="connsiteY59" fmla="*/ 432 h 10000"/>
                <a:gd name="connsiteX60" fmla="*/ 0 w 9890"/>
                <a:gd name="connsiteY60" fmla="*/ 603 h 10000"/>
                <a:gd name="connsiteX61" fmla="*/ 0 w 9890"/>
                <a:gd name="connsiteY61" fmla="*/ 603 h 10000"/>
                <a:gd name="connsiteX62" fmla="*/ 453 w 9890"/>
                <a:gd name="connsiteY62" fmla="*/ 586 h 10000"/>
                <a:gd name="connsiteX63" fmla="*/ 989 w 9890"/>
                <a:gd name="connsiteY63" fmla="*/ 864 h 10000"/>
                <a:gd name="connsiteX64" fmla="*/ 2047 w 9890"/>
                <a:gd name="connsiteY64" fmla="*/ 1233 h 10000"/>
                <a:gd name="connsiteX65" fmla="*/ 2431 w 9890"/>
                <a:gd name="connsiteY65" fmla="*/ 594 h 10000"/>
                <a:gd name="connsiteX66" fmla="*/ 2459 w 9890"/>
                <a:gd name="connsiteY66" fmla="*/ 298 h 10000"/>
                <a:gd name="connsiteX67" fmla="*/ 2679 w 9890"/>
                <a:gd name="connsiteY67" fmla="*/ 253 h 10000"/>
                <a:gd name="connsiteX68" fmla="*/ 3255 w 9890"/>
                <a:gd name="connsiteY68" fmla="*/ 414 h 10000"/>
                <a:gd name="connsiteX69" fmla="*/ 3379 w 9890"/>
                <a:gd name="connsiteY69" fmla="*/ 1421 h 10000"/>
                <a:gd name="connsiteX70" fmla="*/ 3324 w 9890"/>
                <a:gd name="connsiteY70" fmla="*/ 1528 h 10000"/>
                <a:gd name="connsiteX71" fmla="*/ 3146 w 9890"/>
                <a:gd name="connsiteY71" fmla="*/ 1889 h 10000"/>
                <a:gd name="connsiteX72" fmla="*/ 2775 w 9890"/>
                <a:gd name="connsiteY72" fmla="*/ 3109 h 10000"/>
                <a:gd name="connsiteX73" fmla="*/ 2926 w 9890"/>
                <a:gd name="connsiteY73" fmla="*/ 4170 h 10000"/>
                <a:gd name="connsiteX74" fmla="*/ 3214 w 9890"/>
                <a:gd name="connsiteY74" fmla="*/ 5859 h 10000"/>
                <a:gd name="connsiteX75" fmla="*/ 3201 w 9890"/>
                <a:gd name="connsiteY75" fmla="*/ 5930 h 10000"/>
                <a:gd name="connsiteX76" fmla="*/ 3297 w 9890"/>
                <a:gd name="connsiteY76" fmla="*/ 6253 h 10000"/>
                <a:gd name="connsiteX77" fmla="*/ 3173 w 9890"/>
                <a:gd name="connsiteY77" fmla="*/ 8185 h 10000"/>
                <a:gd name="connsiteX78" fmla="*/ 3462 w 9890"/>
                <a:gd name="connsiteY78" fmla="*/ 9946 h 10000"/>
                <a:gd name="connsiteX79" fmla="*/ 3654 w 9890"/>
                <a:gd name="connsiteY79" fmla="*/ 10000 h 10000"/>
                <a:gd name="connsiteX80" fmla="*/ 3805 w 9890"/>
                <a:gd name="connsiteY80" fmla="*/ 9954 h 10000"/>
                <a:gd name="connsiteX81" fmla="*/ 4093 w 9890"/>
                <a:gd name="connsiteY81" fmla="*/ 8293 h 10000"/>
                <a:gd name="connsiteX82" fmla="*/ 4093 w 9890"/>
                <a:gd name="connsiteY82" fmla="*/ 8202 h 10000"/>
                <a:gd name="connsiteX83" fmla="*/ 4135 w 9890"/>
                <a:gd name="connsiteY83" fmla="*/ 6865 h 10000"/>
                <a:gd name="connsiteX84" fmla="*/ 4162 w 9890"/>
                <a:gd name="connsiteY84" fmla="*/ 6308 h 10000"/>
                <a:gd name="connsiteX85" fmla="*/ 4286 w 9890"/>
                <a:gd name="connsiteY85" fmla="*/ 6038 h 10000"/>
                <a:gd name="connsiteX86" fmla="*/ 4821 w 9890"/>
                <a:gd name="connsiteY86" fmla="*/ 4763 h 10000"/>
                <a:gd name="connsiteX87" fmla="*/ 5275 w 9890"/>
                <a:gd name="connsiteY87" fmla="*/ 4474 h 10000"/>
                <a:gd name="connsiteX88" fmla="*/ 5014 w 9890"/>
                <a:gd name="connsiteY88" fmla="*/ 3577 h 10000"/>
                <a:gd name="connsiteX89" fmla="*/ 4657 w 9890"/>
                <a:gd name="connsiteY89" fmla="*/ 3288 h 10000"/>
                <a:gd name="connsiteX90" fmla="*/ 4519 w 9890"/>
                <a:gd name="connsiteY90" fmla="*/ 2940 h 10000"/>
                <a:gd name="connsiteX91" fmla="*/ 5069 w 9890"/>
                <a:gd name="connsiteY91" fmla="*/ 2714 h 10000"/>
                <a:gd name="connsiteX92" fmla="*/ 6126 w 9890"/>
                <a:gd name="connsiteY92" fmla="*/ 2094 h 10000"/>
                <a:gd name="connsiteX93" fmla="*/ 6099 w 9890"/>
                <a:gd name="connsiteY93" fmla="*/ 1501 h 10000"/>
                <a:gd name="connsiteX94" fmla="*/ 5838 w 9890"/>
                <a:gd name="connsiteY94" fmla="*/ 1367 h 10000"/>
                <a:gd name="connsiteX95" fmla="*/ 5000 w 9890"/>
                <a:gd name="connsiteY95" fmla="*/ 1564 h 10000"/>
                <a:gd name="connsiteX96" fmla="*/ 4670 w 9890"/>
                <a:gd name="connsiteY96" fmla="*/ 1691 h 10000"/>
                <a:gd name="connsiteX97" fmla="*/ 4560 w 9890"/>
                <a:gd name="connsiteY97" fmla="*/ 1592 h 10000"/>
                <a:gd name="connsiteX98" fmla="*/ 4986 w 9890"/>
                <a:gd name="connsiteY98" fmla="*/ 1286 h 10000"/>
                <a:gd name="connsiteX99" fmla="*/ 5412 w 9890"/>
                <a:gd name="connsiteY99" fmla="*/ 1079 h 10000"/>
                <a:gd name="connsiteX100" fmla="*/ 5701 w 9890"/>
                <a:gd name="connsiteY100" fmla="*/ 666 h 10000"/>
                <a:gd name="connsiteX101" fmla="*/ 6140 w 9890"/>
                <a:gd name="connsiteY101" fmla="*/ 361 h 10000"/>
                <a:gd name="connsiteX102" fmla="*/ 6635 w 9890"/>
                <a:gd name="connsiteY102" fmla="*/ 460 h 10000"/>
                <a:gd name="connsiteX103" fmla="*/ 6896 w 9890"/>
                <a:gd name="connsiteY103" fmla="*/ 1187 h 10000"/>
                <a:gd name="connsiteX104" fmla="*/ 6291 w 9890"/>
                <a:gd name="connsiteY104" fmla="*/ 2202 h 10000"/>
                <a:gd name="connsiteX105" fmla="*/ 6195 w 9890"/>
                <a:gd name="connsiteY105" fmla="*/ 3065 h 10000"/>
                <a:gd name="connsiteX106" fmla="*/ 7033 w 9890"/>
                <a:gd name="connsiteY106" fmla="*/ 3416 h 10000"/>
                <a:gd name="connsiteX107" fmla="*/ 7569 w 9890"/>
                <a:gd name="connsiteY107" fmla="*/ 3900 h 10000"/>
                <a:gd name="connsiteX108" fmla="*/ 8352 w 9890"/>
                <a:gd name="connsiteY108" fmla="*/ 4322 h 10000"/>
                <a:gd name="connsiteX109" fmla="*/ 8475 w 9890"/>
                <a:gd name="connsiteY109" fmla="*/ 4474 h 10000"/>
                <a:gd name="connsiteX110" fmla="*/ 7940 w 9890"/>
                <a:gd name="connsiteY110" fmla="*/ 5750 h 10000"/>
                <a:gd name="connsiteX0" fmla="*/ 8028 w 10000"/>
                <a:gd name="connsiteY0" fmla="*/ 5750 h 10000"/>
                <a:gd name="connsiteX1" fmla="*/ 10000 w 10000"/>
                <a:gd name="connsiteY1" fmla="*/ 4753 h 10000"/>
                <a:gd name="connsiteX2" fmla="*/ 9583 w 10000"/>
                <a:gd name="connsiteY2" fmla="*/ 5050 h 10000"/>
                <a:gd name="connsiteX3" fmla="*/ 9514 w 10000"/>
                <a:gd name="connsiteY3" fmla="*/ 4654 h 10000"/>
                <a:gd name="connsiteX4" fmla="*/ 9501 w 10000"/>
                <a:gd name="connsiteY4" fmla="*/ 3676 h 10000"/>
                <a:gd name="connsiteX5" fmla="*/ 9000 w 10000"/>
                <a:gd name="connsiteY5" fmla="*/ 3756 h 10000"/>
                <a:gd name="connsiteX6" fmla="*/ 8528 w 10000"/>
                <a:gd name="connsiteY6" fmla="*/ 3666 h 10000"/>
                <a:gd name="connsiteX7" fmla="*/ 8528 w 10000"/>
                <a:gd name="connsiteY7" fmla="*/ 3666 h 10000"/>
                <a:gd name="connsiteX8" fmla="*/ 8542 w 10000"/>
                <a:gd name="connsiteY8" fmla="*/ 4009 h 10000"/>
                <a:gd name="connsiteX9" fmla="*/ 8472 w 10000"/>
                <a:gd name="connsiteY9" fmla="*/ 4053 h 10000"/>
                <a:gd name="connsiteX10" fmla="*/ 7973 w 10000"/>
                <a:gd name="connsiteY10" fmla="*/ 3793 h 10000"/>
                <a:gd name="connsiteX11" fmla="*/ 7583 w 10000"/>
                <a:gd name="connsiteY11" fmla="*/ 3442 h 10000"/>
                <a:gd name="connsiteX12" fmla="*/ 6944 w 10000"/>
                <a:gd name="connsiteY12" fmla="*/ 3109 h 10000"/>
                <a:gd name="connsiteX13" fmla="*/ 6611 w 10000"/>
                <a:gd name="connsiteY13" fmla="*/ 2382 h 10000"/>
                <a:gd name="connsiteX14" fmla="*/ 7347 w 10000"/>
                <a:gd name="connsiteY14" fmla="*/ 1187 h 10000"/>
                <a:gd name="connsiteX15" fmla="*/ 6973 w 10000"/>
                <a:gd name="connsiteY15" fmla="*/ 280 h 10000"/>
                <a:gd name="connsiteX16" fmla="*/ 6194 w 10000"/>
                <a:gd name="connsiteY16" fmla="*/ 118 h 10000"/>
                <a:gd name="connsiteX17" fmla="*/ 5389 w 10000"/>
                <a:gd name="connsiteY17" fmla="*/ 621 h 10000"/>
                <a:gd name="connsiteX18" fmla="*/ 5208 w 10000"/>
                <a:gd name="connsiteY18" fmla="*/ 908 h 10000"/>
                <a:gd name="connsiteX19" fmla="*/ 4847 w 10000"/>
                <a:gd name="connsiteY19" fmla="*/ 1079 h 10000"/>
                <a:gd name="connsiteX20" fmla="*/ 4264 w 10000"/>
                <a:gd name="connsiteY20" fmla="*/ 1754 h 10000"/>
                <a:gd name="connsiteX21" fmla="*/ 4486 w 10000"/>
                <a:gd name="connsiteY21" fmla="*/ 1933 h 10000"/>
                <a:gd name="connsiteX22" fmla="*/ 5264 w 10000"/>
                <a:gd name="connsiteY22" fmla="*/ 1772 h 10000"/>
                <a:gd name="connsiteX23" fmla="*/ 5695 w 10000"/>
                <a:gd name="connsiteY23" fmla="*/ 1610 h 10000"/>
                <a:gd name="connsiteX24" fmla="*/ 5847 w 10000"/>
                <a:gd name="connsiteY24" fmla="*/ 1626 h 10000"/>
                <a:gd name="connsiteX25" fmla="*/ 5847 w 10000"/>
                <a:gd name="connsiteY25" fmla="*/ 1996 h 10000"/>
                <a:gd name="connsiteX26" fmla="*/ 5014 w 10000"/>
                <a:gd name="connsiteY26" fmla="*/ 2481 h 10000"/>
                <a:gd name="connsiteX27" fmla="*/ 4222 w 10000"/>
                <a:gd name="connsiteY27" fmla="*/ 2858 h 10000"/>
                <a:gd name="connsiteX28" fmla="*/ 4375 w 10000"/>
                <a:gd name="connsiteY28" fmla="*/ 3424 h 10000"/>
                <a:gd name="connsiteX29" fmla="*/ 4792 w 10000"/>
                <a:gd name="connsiteY29" fmla="*/ 3747 h 10000"/>
                <a:gd name="connsiteX30" fmla="*/ 5028 w 10000"/>
                <a:gd name="connsiteY30" fmla="*/ 4340 h 10000"/>
                <a:gd name="connsiteX31" fmla="*/ 4666 w 10000"/>
                <a:gd name="connsiteY31" fmla="*/ 4556 h 10000"/>
                <a:gd name="connsiteX32" fmla="*/ 3959 w 10000"/>
                <a:gd name="connsiteY32" fmla="*/ 6038 h 10000"/>
                <a:gd name="connsiteX33" fmla="*/ 4028 w 10000"/>
                <a:gd name="connsiteY33" fmla="*/ 6298 h 10000"/>
                <a:gd name="connsiteX34" fmla="*/ 4014 w 10000"/>
                <a:gd name="connsiteY34" fmla="*/ 6865 h 10000"/>
                <a:gd name="connsiteX35" fmla="*/ 3973 w 10000"/>
                <a:gd name="connsiteY35" fmla="*/ 8202 h 10000"/>
                <a:gd name="connsiteX36" fmla="*/ 3973 w 10000"/>
                <a:gd name="connsiteY36" fmla="*/ 8293 h 10000"/>
                <a:gd name="connsiteX37" fmla="*/ 3722 w 10000"/>
                <a:gd name="connsiteY37" fmla="*/ 9873 h 10000"/>
                <a:gd name="connsiteX38" fmla="*/ 3695 w 10000"/>
                <a:gd name="connsiteY38" fmla="*/ 9891 h 10000"/>
                <a:gd name="connsiteX39" fmla="*/ 3611 w 10000"/>
                <a:gd name="connsiteY39" fmla="*/ 9864 h 10000"/>
                <a:gd name="connsiteX40" fmla="*/ 3375 w 10000"/>
                <a:gd name="connsiteY40" fmla="*/ 8185 h 10000"/>
                <a:gd name="connsiteX41" fmla="*/ 3501 w 10000"/>
                <a:gd name="connsiteY41" fmla="*/ 6253 h 10000"/>
                <a:gd name="connsiteX42" fmla="*/ 3611 w 10000"/>
                <a:gd name="connsiteY42" fmla="*/ 5957 h 10000"/>
                <a:gd name="connsiteX43" fmla="*/ 3625 w 10000"/>
                <a:gd name="connsiteY43" fmla="*/ 5885 h 10000"/>
                <a:gd name="connsiteX44" fmla="*/ 3320 w 10000"/>
                <a:gd name="connsiteY44" fmla="*/ 4098 h 10000"/>
                <a:gd name="connsiteX45" fmla="*/ 3181 w 10000"/>
                <a:gd name="connsiteY45" fmla="*/ 3073 h 10000"/>
                <a:gd name="connsiteX46" fmla="*/ 3514 w 10000"/>
                <a:gd name="connsiteY46" fmla="*/ 2004 h 10000"/>
                <a:gd name="connsiteX47" fmla="*/ 3722 w 10000"/>
                <a:gd name="connsiteY47" fmla="*/ 1600 h 10000"/>
                <a:gd name="connsiteX48" fmla="*/ 3764 w 10000"/>
                <a:gd name="connsiteY48" fmla="*/ 1493 h 10000"/>
                <a:gd name="connsiteX49" fmla="*/ 3583 w 10000"/>
                <a:gd name="connsiteY49" fmla="*/ 262 h 10000"/>
                <a:gd name="connsiteX50" fmla="*/ 2680 w 10000"/>
                <a:gd name="connsiteY50" fmla="*/ 1 h 10000"/>
                <a:gd name="connsiteX51" fmla="*/ 2194 w 10000"/>
                <a:gd name="connsiteY51" fmla="*/ 136 h 10000"/>
                <a:gd name="connsiteX52" fmla="*/ 2083 w 10000"/>
                <a:gd name="connsiteY52" fmla="*/ 621 h 10000"/>
                <a:gd name="connsiteX53" fmla="*/ 1944 w 10000"/>
                <a:gd name="connsiteY53" fmla="*/ 999 h 10000"/>
                <a:gd name="connsiteX54" fmla="*/ 1291 w 10000"/>
                <a:gd name="connsiteY54" fmla="*/ 703 h 10000"/>
                <a:gd name="connsiteX55" fmla="*/ 445 w 10000"/>
                <a:gd name="connsiteY55" fmla="*/ 307 h 10000"/>
                <a:gd name="connsiteX56" fmla="*/ 27 w 10000"/>
                <a:gd name="connsiteY56" fmla="*/ 280 h 10000"/>
                <a:gd name="connsiteX57" fmla="*/ 27 w 10000"/>
                <a:gd name="connsiteY57" fmla="*/ 280 h 10000"/>
                <a:gd name="connsiteX58" fmla="*/ 361 w 10000"/>
                <a:gd name="connsiteY58" fmla="*/ 432 h 10000"/>
                <a:gd name="connsiteX59" fmla="*/ 0 w 10000"/>
                <a:gd name="connsiteY59" fmla="*/ 603 h 10000"/>
                <a:gd name="connsiteX60" fmla="*/ 0 w 10000"/>
                <a:gd name="connsiteY60" fmla="*/ 603 h 10000"/>
                <a:gd name="connsiteX61" fmla="*/ 458 w 10000"/>
                <a:gd name="connsiteY61" fmla="*/ 586 h 10000"/>
                <a:gd name="connsiteX62" fmla="*/ 1000 w 10000"/>
                <a:gd name="connsiteY62" fmla="*/ 864 h 10000"/>
                <a:gd name="connsiteX63" fmla="*/ 2070 w 10000"/>
                <a:gd name="connsiteY63" fmla="*/ 1233 h 10000"/>
                <a:gd name="connsiteX64" fmla="*/ 2458 w 10000"/>
                <a:gd name="connsiteY64" fmla="*/ 594 h 10000"/>
                <a:gd name="connsiteX65" fmla="*/ 2486 w 10000"/>
                <a:gd name="connsiteY65" fmla="*/ 298 h 10000"/>
                <a:gd name="connsiteX66" fmla="*/ 2709 w 10000"/>
                <a:gd name="connsiteY66" fmla="*/ 253 h 10000"/>
                <a:gd name="connsiteX67" fmla="*/ 3291 w 10000"/>
                <a:gd name="connsiteY67" fmla="*/ 414 h 10000"/>
                <a:gd name="connsiteX68" fmla="*/ 3417 w 10000"/>
                <a:gd name="connsiteY68" fmla="*/ 1421 h 10000"/>
                <a:gd name="connsiteX69" fmla="*/ 3361 w 10000"/>
                <a:gd name="connsiteY69" fmla="*/ 1528 h 10000"/>
                <a:gd name="connsiteX70" fmla="*/ 3181 w 10000"/>
                <a:gd name="connsiteY70" fmla="*/ 1889 h 10000"/>
                <a:gd name="connsiteX71" fmla="*/ 2806 w 10000"/>
                <a:gd name="connsiteY71" fmla="*/ 3109 h 10000"/>
                <a:gd name="connsiteX72" fmla="*/ 2959 w 10000"/>
                <a:gd name="connsiteY72" fmla="*/ 4170 h 10000"/>
                <a:gd name="connsiteX73" fmla="*/ 3250 w 10000"/>
                <a:gd name="connsiteY73" fmla="*/ 5859 h 10000"/>
                <a:gd name="connsiteX74" fmla="*/ 3237 w 10000"/>
                <a:gd name="connsiteY74" fmla="*/ 5930 h 10000"/>
                <a:gd name="connsiteX75" fmla="*/ 3334 w 10000"/>
                <a:gd name="connsiteY75" fmla="*/ 6253 h 10000"/>
                <a:gd name="connsiteX76" fmla="*/ 3208 w 10000"/>
                <a:gd name="connsiteY76" fmla="*/ 8185 h 10000"/>
                <a:gd name="connsiteX77" fmla="*/ 3501 w 10000"/>
                <a:gd name="connsiteY77" fmla="*/ 9946 h 10000"/>
                <a:gd name="connsiteX78" fmla="*/ 3695 w 10000"/>
                <a:gd name="connsiteY78" fmla="*/ 10000 h 10000"/>
                <a:gd name="connsiteX79" fmla="*/ 3847 w 10000"/>
                <a:gd name="connsiteY79" fmla="*/ 9954 h 10000"/>
                <a:gd name="connsiteX80" fmla="*/ 4139 w 10000"/>
                <a:gd name="connsiteY80" fmla="*/ 8293 h 10000"/>
                <a:gd name="connsiteX81" fmla="*/ 4139 w 10000"/>
                <a:gd name="connsiteY81" fmla="*/ 8202 h 10000"/>
                <a:gd name="connsiteX82" fmla="*/ 4181 w 10000"/>
                <a:gd name="connsiteY82" fmla="*/ 6865 h 10000"/>
                <a:gd name="connsiteX83" fmla="*/ 4208 w 10000"/>
                <a:gd name="connsiteY83" fmla="*/ 6308 h 10000"/>
                <a:gd name="connsiteX84" fmla="*/ 4334 w 10000"/>
                <a:gd name="connsiteY84" fmla="*/ 6038 h 10000"/>
                <a:gd name="connsiteX85" fmla="*/ 4875 w 10000"/>
                <a:gd name="connsiteY85" fmla="*/ 4763 h 10000"/>
                <a:gd name="connsiteX86" fmla="*/ 5334 w 10000"/>
                <a:gd name="connsiteY86" fmla="*/ 4474 h 10000"/>
                <a:gd name="connsiteX87" fmla="*/ 5070 w 10000"/>
                <a:gd name="connsiteY87" fmla="*/ 3577 h 10000"/>
                <a:gd name="connsiteX88" fmla="*/ 4709 w 10000"/>
                <a:gd name="connsiteY88" fmla="*/ 3288 h 10000"/>
                <a:gd name="connsiteX89" fmla="*/ 4569 w 10000"/>
                <a:gd name="connsiteY89" fmla="*/ 2940 h 10000"/>
                <a:gd name="connsiteX90" fmla="*/ 5125 w 10000"/>
                <a:gd name="connsiteY90" fmla="*/ 2714 h 10000"/>
                <a:gd name="connsiteX91" fmla="*/ 6194 w 10000"/>
                <a:gd name="connsiteY91" fmla="*/ 2094 h 10000"/>
                <a:gd name="connsiteX92" fmla="*/ 6167 w 10000"/>
                <a:gd name="connsiteY92" fmla="*/ 1501 h 10000"/>
                <a:gd name="connsiteX93" fmla="*/ 5903 w 10000"/>
                <a:gd name="connsiteY93" fmla="*/ 1367 h 10000"/>
                <a:gd name="connsiteX94" fmla="*/ 5056 w 10000"/>
                <a:gd name="connsiteY94" fmla="*/ 1564 h 10000"/>
                <a:gd name="connsiteX95" fmla="*/ 4722 w 10000"/>
                <a:gd name="connsiteY95" fmla="*/ 1691 h 10000"/>
                <a:gd name="connsiteX96" fmla="*/ 4611 w 10000"/>
                <a:gd name="connsiteY96" fmla="*/ 1592 h 10000"/>
                <a:gd name="connsiteX97" fmla="*/ 5041 w 10000"/>
                <a:gd name="connsiteY97" fmla="*/ 1286 h 10000"/>
                <a:gd name="connsiteX98" fmla="*/ 5472 w 10000"/>
                <a:gd name="connsiteY98" fmla="*/ 1079 h 10000"/>
                <a:gd name="connsiteX99" fmla="*/ 5764 w 10000"/>
                <a:gd name="connsiteY99" fmla="*/ 666 h 10000"/>
                <a:gd name="connsiteX100" fmla="*/ 6208 w 10000"/>
                <a:gd name="connsiteY100" fmla="*/ 361 h 10000"/>
                <a:gd name="connsiteX101" fmla="*/ 6709 w 10000"/>
                <a:gd name="connsiteY101" fmla="*/ 460 h 10000"/>
                <a:gd name="connsiteX102" fmla="*/ 6973 w 10000"/>
                <a:gd name="connsiteY102" fmla="*/ 1187 h 10000"/>
                <a:gd name="connsiteX103" fmla="*/ 6361 w 10000"/>
                <a:gd name="connsiteY103" fmla="*/ 2202 h 10000"/>
                <a:gd name="connsiteX104" fmla="*/ 6264 w 10000"/>
                <a:gd name="connsiteY104" fmla="*/ 3065 h 10000"/>
                <a:gd name="connsiteX105" fmla="*/ 7111 w 10000"/>
                <a:gd name="connsiteY105" fmla="*/ 3416 h 10000"/>
                <a:gd name="connsiteX106" fmla="*/ 7653 w 10000"/>
                <a:gd name="connsiteY106" fmla="*/ 3900 h 10000"/>
                <a:gd name="connsiteX107" fmla="*/ 8445 w 10000"/>
                <a:gd name="connsiteY107" fmla="*/ 4322 h 10000"/>
                <a:gd name="connsiteX108" fmla="*/ 8569 w 10000"/>
                <a:gd name="connsiteY108" fmla="*/ 4474 h 10000"/>
                <a:gd name="connsiteX109" fmla="*/ 8028 w 10000"/>
                <a:gd name="connsiteY109" fmla="*/ 5750 h 10000"/>
                <a:gd name="connsiteX0" fmla="*/ 8028 w 10000"/>
                <a:gd name="connsiteY0" fmla="*/ 5750 h 10000"/>
                <a:gd name="connsiteX1" fmla="*/ 10000 w 10000"/>
                <a:gd name="connsiteY1" fmla="*/ 4753 h 10000"/>
                <a:gd name="connsiteX2" fmla="*/ 9514 w 10000"/>
                <a:gd name="connsiteY2" fmla="*/ 4654 h 10000"/>
                <a:gd name="connsiteX3" fmla="*/ 9501 w 10000"/>
                <a:gd name="connsiteY3" fmla="*/ 3676 h 10000"/>
                <a:gd name="connsiteX4" fmla="*/ 9000 w 10000"/>
                <a:gd name="connsiteY4" fmla="*/ 3756 h 10000"/>
                <a:gd name="connsiteX5" fmla="*/ 8528 w 10000"/>
                <a:gd name="connsiteY5" fmla="*/ 3666 h 10000"/>
                <a:gd name="connsiteX6" fmla="*/ 8528 w 10000"/>
                <a:gd name="connsiteY6" fmla="*/ 3666 h 10000"/>
                <a:gd name="connsiteX7" fmla="*/ 8542 w 10000"/>
                <a:gd name="connsiteY7" fmla="*/ 4009 h 10000"/>
                <a:gd name="connsiteX8" fmla="*/ 8472 w 10000"/>
                <a:gd name="connsiteY8" fmla="*/ 4053 h 10000"/>
                <a:gd name="connsiteX9" fmla="*/ 7973 w 10000"/>
                <a:gd name="connsiteY9" fmla="*/ 3793 h 10000"/>
                <a:gd name="connsiteX10" fmla="*/ 7583 w 10000"/>
                <a:gd name="connsiteY10" fmla="*/ 3442 h 10000"/>
                <a:gd name="connsiteX11" fmla="*/ 6944 w 10000"/>
                <a:gd name="connsiteY11" fmla="*/ 3109 h 10000"/>
                <a:gd name="connsiteX12" fmla="*/ 6611 w 10000"/>
                <a:gd name="connsiteY12" fmla="*/ 2382 h 10000"/>
                <a:gd name="connsiteX13" fmla="*/ 7347 w 10000"/>
                <a:gd name="connsiteY13" fmla="*/ 1187 h 10000"/>
                <a:gd name="connsiteX14" fmla="*/ 6973 w 10000"/>
                <a:gd name="connsiteY14" fmla="*/ 280 h 10000"/>
                <a:gd name="connsiteX15" fmla="*/ 6194 w 10000"/>
                <a:gd name="connsiteY15" fmla="*/ 118 h 10000"/>
                <a:gd name="connsiteX16" fmla="*/ 5389 w 10000"/>
                <a:gd name="connsiteY16" fmla="*/ 621 h 10000"/>
                <a:gd name="connsiteX17" fmla="*/ 5208 w 10000"/>
                <a:gd name="connsiteY17" fmla="*/ 908 h 10000"/>
                <a:gd name="connsiteX18" fmla="*/ 4847 w 10000"/>
                <a:gd name="connsiteY18" fmla="*/ 1079 h 10000"/>
                <a:gd name="connsiteX19" fmla="*/ 4264 w 10000"/>
                <a:gd name="connsiteY19" fmla="*/ 1754 h 10000"/>
                <a:gd name="connsiteX20" fmla="*/ 4486 w 10000"/>
                <a:gd name="connsiteY20" fmla="*/ 1933 h 10000"/>
                <a:gd name="connsiteX21" fmla="*/ 5264 w 10000"/>
                <a:gd name="connsiteY21" fmla="*/ 1772 h 10000"/>
                <a:gd name="connsiteX22" fmla="*/ 5695 w 10000"/>
                <a:gd name="connsiteY22" fmla="*/ 1610 h 10000"/>
                <a:gd name="connsiteX23" fmla="*/ 5847 w 10000"/>
                <a:gd name="connsiteY23" fmla="*/ 1626 h 10000"/>
                <a:gd name="connsiteX24" fmla="*/ 5847 w 10000"/>
                <a:gd name="connsiteY24" fmla="*/ 1996 h 10000"/>
                <a:gd name="connsiteX25" fmla="*/ 5014 w 10000"/>
                <a:gd name="connsiteY25" fmla="*/ 2481 h 10000"/>
                <a:gd name="connsiteX26" fmla="*/ 4222 w 10000"/>
                <a:gd name="connsiteY26" fmla="*/ 2858 h 10000"/>
                <a:gd name="connsiteX27" fmla="*/ 4375 w 10000"/>
                <a:gd name="connsiteY27" fmla="*/ 3424 h 10000"/>
                <a:gd name="connsiteX28" fmla="*/ 4792 w 10000"/>
                <a:gd name="connsiteY28" fmla="*/ 3747 h 10000"/>
                <a:gd name="connsiteX29" fmla="*/ 5028 w 10000"/>
                <a:gd name="connsiteY29" fmla="*/ 4340 h 10000"/>
                <a:gd name="connsiteX30" fmla="*/ 4666 w 10000"/>
                <a:gd name="connsiteY30" fmla="*/ 4556 h 10000"/>
                <a:gd name="connsiteX31" fmla="*/ 3959 w 10000"/>
                <a:gd name="connsiteY31" fmla="*/ 6038 h 10000"/>
                <a:gd name="connsiteX32" fmla="*/ 4028 w 10000"/>
                <a:gd name="connsiteY32" fmla="*/ 6298 h 10000"/>
                <a:gd name="connsiteX33" fmla="*/ 4014 w 10000"/>
                <a:gd name="connsiteY33" fmla="*/ 6865 h 10000"/>
                <a:gd name="connsiteX34" fmla="*/ 3973 w 10000"/>
                <a:gd name="connsiteY34" fmla="*/ 8202 h 10000"/>
                <a:gd name="connsiteX35" fmla="*/ 3973 w 10000"/>
                <a:gd name="connsiteY35" fmla="*/ 8293 h 10000"/>
                <a:gd name="connsiteX36" fmla="*/ 3722 w 10000"/>
                <a:gd name="connsiteY36" fmla="*/ 9873 h 10000"/>
                <a:gd name="connsiteX37" fmla="*/ 3695 w 10000"/>
                <a:gd name="connsiteY37" fmla="*/ 9891 h 10000"/>
                <a:gd name="connsiteX38" fmla="*/ 3611 w 10000"/>
                <a:gd name="connsiteY38" fmla="*/ 9864 h 10000"/>
                <a:gd name="connsiteX39" fmla="*/ 3375 w 10000"/>
                <a:gd name="connsiteY39" fmla="*/ 8185 h 10000"/>
                <a:gd name="connsiteX40" fmla="*/ 3501 w 10000"/>
                <a:gd name="connsiteY40" fmla="*/ 6253 h 10000"/>
                <a:gd name="connsiteX41" fmla="*/ 3611 w 10000"/>
                <a:gd name="connsiteY41" fmla="*/ 5957 h 10000"/>
                <a:gd name="connsiteX42" fmla="*/ 3625 w 10000"/>
                <a:gd name="connsiteY42" fmla="*/ 5885 h 10000"/>
                <a:gd name="connsiteX43" fmla="*/ 3320 w 10000"/>
                <a:gd name="connsiteY43" fmla="*/ 4098 h 10000"/>
                <a:gd name="connsiteX44" fmla="*/ 3181 w 10000"/>
                <a:gd name="connsiteY44" fmla="*/ 3073 h 10000"/>
                <a:gd name="connsiteX45" fmla="*/ 3514 w 10000"/>
                <a:gd name="connsiteY45" fmla="*/ 2004 h 10000"/>
                <a:gd name="connsiteX46" fmla="*/ 3722 w 10000"/>
                <a:gd name="connsiteY46" fmla="*/ 1600 h 10000"/>
                <a:gd name="connsiteX47" fmla="*/ 3764 w 10000"/>
                <a:gd name="connsiteY47" fmla="*/ 1493 h 10000"/>
                <a:gd name="connsiteX48" fmla="*/ 3583 w 10000"/>
                <a:gd name="connsiteY48" fmla="*/ 262 h 10000"/>
                <a:gd name="connsiteX49" fmla="*/ 2680 w 10000"/>
                <a:gd name="connsiteY49" fmla="*/ 1 h 10000"/>
                <a:gd name="connsiteX50" fmla="*/ 2194 w 10000"/>
                <a:gd name="connsiteY50" fmla="*/ 136 h 10000"/>
                <a:gd name="connsiteX51" fmla="*/ 2083 w 10000"/>
                <a:gd name="connsiteY51" fmla="*/ 621 h 10000"/>
                <a:gd name="connsiteX52" fmla="*/ 1944 w 10000"/>
                <a:gd name="connsiteY52" fmla="*/ 999 h 10000"/>
                <a:gd name="connsiteX53" fmla="*/ 1291 w 10000"/>
                <a:gd name="connsiteY53" fmla="*/ 703 h 10000"/>
                <a:gd name="connsiteX54" fmla="*/ 445 w 10000"/>
                <a:gd name="connsiteY54" fmla="*/ 307 h 10000"/>
                <a:gd name="connsiteX55" fmla="*/ 27 w 10000"/>
                <a:gd name="connsiteY55" fmla="*/ 280 h 10000"/>
                <a:gd name="connsiteX56" fmla="*/ 27 w 10000"/>
                <a:gd name="connsiteY56" fmla="*/ 280 h 10000"/>
                <a:gd name="connsiteX57" fmla="*/ 361 w 10000"/>
                <a:gd name="connsiteY57" fmla="*/ 432 h 10000"/>
                <a:gd name="connsiteX58" fmla="*/ 0 w 10000"/>
                <a:gd name="connsiteY58" fmla="*/ 603 h 10000"/>
                <a:gd name="connsiteX59" fmla="*/ 0 w 10000"/>
                <a:gd name="connsiteY59" fmla="*/ 603 h 10000"/>
                <a:gd name="connsiteX60" fmla="*/ 458 w 10000"/>
                <a:gd name="connsiteY60" fmla="*/ 586 h 10000"/>
                <a:gd name="connsiteX61" fmla="*/ 1000 w 10000"/>
                <a:gd name="connsiteY61" fmla="*/ 864 h 10000"/>
                <a:gd name="connsiteX62" fmla="*/ 2070 w 10000"/>
                <a:gd name="connsiteY62" fmla="*/ 1233 h 10000"/>
                <a:gd name="connsiteX63" fmla="*/ 2458 w 10000"/>
                <a:gd name="connsiteY63" fmla="*/ 594 h 10000"/>
                <a:gd name="connsiteX64" fmla="*/ 2486 w 10000"/>
                <a:gd name="connsiteY64" fmla="*/ 298 h 10000"/>
                <a:gd name="connsiteX65" fmla="*/ 2709 w 10000"/>
                <a:gd name="connsiteY65" fmla="*/ 253 h 10000"/>
                <a:gd name="connsiteX66" fmla="*/ 3291 w 10000"/>
                <a:gd name="connsiteY66" fmla="*/ 414 h 10000"/>
                <a:gd name="connsiteX67" fmla="*/ 3417 w 10000"/>
                <a:gd name="connsiteY67" fmla="*/ 1421 h 10000"/>
                <a:gd name="connsiteX68" fmla="*/ 3361 w 10000"/>
                <a:gd name="connsiteY68" fmla="*/ 1528 h 10000"/>
                <a:gd name="connsiteX69" fmla="*/ 3181 w 10000"/>
                <a:gd name="connsiteY69" fmla="*/ 1889 h 10000"/>
                <a:gd name="connsiteX70" fmla="*/ 2806 w 10000"/>
                <a:gd name="connsiteY70" fmla="*/ 3109 h 10000"/>
                <a:gd name="connsiteX71" fmla="*/ 2959 w 10000"/>
                <a:gd name="connsiteY71" fmla="*/ 4170 h 10000"/>
                <a:gd name="connsiteX72" fmla="*/ 3250 w 10000"/>
                <a:gd name="connsiteY72" fmla="*/ 5859 h 10000"/>
                <a:gd name="connsiteX73" fmla="*/ 3237 w 10000"/>
                <a:gd name="connsiteY73" fmla="*/ 5930 h 10000"/>
                <a:gd name="connsiteX74" fmla="*/ 3334 w 10000"/>
                <a:gd name="connsiteY74" fmla="*/ 6253 h 10000"/>
                <a:gd name="connsiteX75" fmla="*/ 3208 w 10000"/>
                <a:gd name="connsiteY75" fmla="*/ 8185 h 10000"/>
                <a:gd name="connsiteX76" fmla="*/ 3501 w 10000"/>
                <a:gd name="connsiteY76" fmla="*/ 9946 h 10000"/>
                <a:gd name="connsiteX77" fmla="*/ 3695 w 10000"/>
                <a:gd name="connsiteY77" fmla="*/ 10000 h 10000"/>
                <a:gd name="connsiteX78" fmla="*/ 3847 w 10000"/>
                <a:gd name="connsiteY78" fmla="*/ 9954 h 10000"/>
                <a:gd name="connsiteX79" fmla="*/ 4139 w 10000"/>
                <a:gd name="connsiteY79" fmla="*/ 8293 h 10000"/>
                <a:gd name="connsiteX80" fmla="*/ 4139 w 10000"/>
                <a:gd name="connsiteY80" fmla="*/ 8202 h 10000"/>
                <a:gd name="connsiteX81" fmla="*/ 4181 w 10000"/>
                <a:gd name="connsiteY81" fmla="*/ 6865 h 10000"/>
                <a:gd name="connsiteX82" fmla="*/ 4208 w 10000"/>
                <a:gd name="connsiteY82" fmla="*/ 6308 h 10000"/>
                <a:gd name="connsiteX83" fmla="*/ 4334 w 10000"/>
                <a:gd name="connsiteY83" fmla="*/ 6038 h 10000"/>
                <a:gd name="connsiteX84" fmla="*/ 4875 w 10000"/>
                <a:gd name="connsiteY84" fmla="*/ 4763 h 10000"/>
                <a:gd name="connsiteX85" fmla="*/ 5334 w 10000"/>
                <a:gd name="connsiteY85" fmla="*/ 4474 h 10000"/>
                <a:gd name="connsiteX86" fmla="*/ 5070 w 10000"/>
                <a:gd name="connsiteY86" fmla="*/ 3577 h 10000"/>
                <a:gd name="connsiteX87" fmla="*/ 4709 w 10000"/>
                <a:gd name="connsiteY87" fmla="*/ 3288 h 10000"/>
                <a:gd name="connsiteX88" fmla="*/ 4569 w 10000"/>
                <a:gd name="connsiteY88" fmla="*/ 2940 h 10000"/>
                <a:gd name="connsiteX89" fmla="*/ 5125 w 10000"/>
                <a:gd name="connsiteY89" fmla="*/ 2714 h 10000"/>
                <a:gd name="connsiteX90" fmla="*/ 6194 w 10000"/>
                <a:gd name="connsiteY90" fmla="*/ 2094 h 10000"/>
                <a:gd name="connsiteX91" fmla="*/ 6167 w 10000"/>
                <a:gd name="connsiteY91" fmla="*/ 1501 h 10000"/>
                <a:gd name="connsiteX92" fmla="*/ 5903 w 10000"/>
                <a:gd name="connsiteY92" fmla="*/ 1367 h 10000"/>
                <a:gd name="connsiteX93" fmla="*/ 5056 w 10000"/>
                <a:gd name="connsiteY93" fmla="*/ 1564 h 10000"/>
                <a:gd name="connsiteX94" fmla="*/ 4722 w 10000"/>
                <a:gd name="connsiteY94" fmla="*/ 1691 h 10000"/>
                <a:gd name="connsiteX95" fmla="*/ 4611 w 10000"/>
                <a:gd name="connsiteY95" fmla="*/ 1592 h 10000"/>
                <a:gd name="connsiteX96" fmla="*/ 5041 w 10000"/>
                <a:gd name="connsiteY96" fmla="*/ 1286 h 10000"/>
                <a:gd name="connsiteX97" fmla="*/ 5472 w 10000"/>
                <a:gd name="connsiteY97" fmla="*/ 1079 h 10000"/>
                <a:gd name="connsiteX98" fmla="*/ 5764 w 10000"/>
                <a:gd name="connsiteY98" fmla="*/ 666 h 10000"/>
                <a:gd name="connsiteX99" fmla="*/ 6208 w 10000"/>
                <a:gd name="connsiteY99" fmla="*/ 361 h 10000"/>
                <a:gd name="connsiteX100" fmla="*/ 6709 w 10000"/>
                <a:gd name="connsiteY100" fmla="*/ 460 h 10000"/>
                <a:gd name="connsiteX101" fmla="*/ 6973 w 10000"/>
                <a:gd name="connsiteY101" fmla="*/ 1187 h 10000"/>
                <a:gd name="connsiteX102" fmla="*/ 6361 w 10000"/>
                <a:gd name="connsiteY102" fmla="*/ 2202 h 10000"/>
                <a:gd name="connsiteX103" fmla="*/ 6264 w 10000"/>
                <a:gd name="connsiteY103" fmla="*/ 3065 h 10000"/>
                <a:gd name="connsiteX104" fmla="*/ 7111 w 10000"/>
                <a:gd name="connsiteY104" fmla="*/ 3416 h 10000"/>
                <a:gd name="connsiteX105" fmla="*/ 7653 w 10000"/>
                <a:gd name="connsiteY105" fmla="*/ 3900 h 10000"/>
                <a:gd name="connsiteX106" fmla="*/ 8445 w 10000"/>
                <a:gd name="connsiteY106" fmla="*/ 4322 h 10000"/>
                <a:gd name="connsiteX107" fmla="*/ 8569 w 10000"/>
                <a:gd name="connsiteY107" fmla="*/ 4474 h 10000"/>
                <a:gd name="connsiteX108" fmla="*/ 8028 w 10000"/>
                <a:gd name="connsiteY108" fmla="*/ 5750 h 10000"/>
                <a:gd name="connsiteX0" fmla="*/ 8028 w 9514"/>
                <a:gd name="connsiteY0" fmla="*/ 5750 h 10000"/>
                <a:gd name="connsiteX1" fmla="*/ 9514 w 9514"/>
                <a:gd name="connsiteY1" fmla="*/ 4654 h 10000"/>
                <a:gd name="connsiteX2" fmla="*/ 9501 w 9514"/>
                <a:gd name="connsiteY2" fmla="*/ 3676 h 10000"/>
                <a:gd name="connsiteX3" fmla="*/ 9000 w 9514"/>
                <a:gd name="connsiteY3" fmla="*/ 3756 h 10000"/>
                <a:gd name="connsiteX4" fmla="*/ 8528 w 9514"/>
                <a:gd name="connsiteY4" fmla="*/ 3666 h 10000"/>
                <a:gd name="connsiteX5" fmla="*/ 8528 w 9514"/>
                <a:gd name="connsiteY5" fmla="*/ 3666 h 10000"/>
                <a:gd name="connsiteX6" fmla="*/ 8542 w 9514"/>
                <a:gd name="connsiteY6" fmla="*/ 4009 h 10000"/>
                <a:gd name="connsiteX7" fmla="*/ 8472 w 9514"/>
                <a:gd name="connsiteY7" fmla="*/ 4053 h 10000"/>
                <a:gd name="connsiteX8" fmla="*/ 7973 w 9514"/>
                <a:gd name="connsiteY8" fmla="*/ 3793 h 10000"/>
                <a:gd name="connsiteX9" fmla="*/ 7583 w 9514"/>
                <a:gd name="connsiteY9" fmla="*/ 3442 h 10000"/>
                <a:gd name="connsiteX10" fmla="*/ 6944 w 9514"/>
                <a:gd name="connsiteY10" fmla="*/ 3109 h 10000"/>
                <a:gd name="connsiteX11" fmla="*/ 6611 w 9514"/>
                <a:gd name="connsiteY11" fmla="*/ 2382 h 10000"/>
                <a:gd name="connsiteX12" fmla="*/ 7347 w 9514"/>
                <a:gd name="connsiteY12" fmla="*/ 1187 h 10000"/>
                <a:gd name="connsiteX13" fmla="*/ 6973 w 9514"/>
                <a:gd name="connsiteY13" fmla="*/ 280 h 10000"/>
                <a:gd name="connsiteX14" fmla="*/ 6194 w 9514"/>
                <a:gd name="connsiteY14" fmla="*/ 118 h 10000"/>
                <a:gd name="connsiteX15" fmla="*/ 5389 w 9514"/>
                <a:gd name="connsiteY15" fmla="*/ 621 h 10000"/>
                <a:gd name="connsiteX16" fmla="*/ 5208 w 9514"/>
                <a:gd name="connsiteY16" fmla="*/ 908 h 10000"/>
                <a:gd name="connsiteX17" fmla="*/ 4847 w 9514"/>
                <a:gd name="connsiteY17" fmla="*/ 1079 h 10000"/>
                <a:gd name="connsiteX18" fmla="*/ 4264 w 9514"/>
                <a:gd name="connsiteY18" fmla="*/ 1754 h 10000"/>
                <a:gd name="connsiteX19" fmla="*/ 4486 w 9514"/>
                <a:gd name="connsiteY19" fmla="*/ 1933 h 10000"/>
                <a:gd name="connsiteX20" fmla="*/ 5264 w 9514"/>
                <a:gd name="connsiteY20" fmla="*/ 1772 h 10000"/>
                <a:gd name="connsiteX21" fmla="*/ 5695 w 9514"/>
                <a:gd name="connsiteY21" fmla="*/ 1610 h 10000"/>
                <a:gd name="connsiteX22" fmla="*/ 5847 w 9514"/>
                <a:gd name="connsiteY22" fmla="*/ 1626 h 10000"/>
                <a:gd name="connsiteX23" fmla="*/ 5847 w 9514"/>
                <a:gd name="connsiteY23" fmla="*/ 1996 h 10000"/>
                <a:gd name="connsiteX24" fmla="*/ 5014 w 9514"/>
                <a:gd name="connsiteY24" fmla="*/ 2481 h 10000"/>
                <a:gd name="connsiteX25" fmla="*/ 4222 w 9514"/>
                <a:gd name="connsiteY25" fmla="*/ 2858 h 10000"/>
                <a:gd name="connsiteX26" fmla="*/ 4375 w 9514"/>
                <a:gd name="connsiteY26" fmla="*/ 3424 h 10000"/>
                <a:gd name="connsiteX27" fmla="*/ 4792 w 9514"/>
                <a:gd name="connsiteY27" fmla="*/ 3747 h 10000"/>
                <a:gd name="connsiteX28" fmla="*/ 5028 w 9514"/>
                <a:gd name="connsiteY28" fmla="*/ 4340 h 10000"/>
                <a:gd name="connsiteX29" fmla="*/ 4666 w 9514"/>
                <a:gd name="connsiteY29" fmla="*/ 4556 h 10000"/>
                <a:gd name="connsiteX30" fmla="*/ 3959 w 9514"/>
                <a:gd name="connsiteY30" fmla="*/ 6038 h 10000"/>
                <a:gd name="connsiteX31" fmla="*/ 4028 w 9514"/>
                <a:gd name="connsiteY31" fmla="*/ 6298 h 10000"/>
                <a:gd name="connsiteX32" fmla="*/ 4014 w 9514"/>
                <a:gd name="connsiteY32" fmla="*/ 6865 h 10000"/>
                <a:gd name="connsiteX33" fmla="*/ 3973 w 9514"/>
                <a:gd name="connsiteY33" fmla="*/ 8202 h 10000"/>
                <a:gd name="connsiteX34" fmla="*/ 3973 w 9514"/>
                <a:gd name="connsiteY34" fmla="*/ 8293 h 10000"/>
                <a:gd name="connsiteX35" fmla="*/ 3722 w 9514"/>
                <a:gd name="connsiteY35" fmla="*/ 9873 h 10000"/>
                <a:gd name="connsiteX36" fmla="*/ 3695 w 9514"/>
                <a:gd name="connsiteY36" fmla="*/ 9891 h 10000"/>
                <a:gd name="connsiteX37" fmla="*/ 3611 w 9514"/>
                <a:gd name="connsiteY37" fmla="*/ 9864 h 10000"/>
                <a:gd name="connsiteX38" fmla="*/ 3375 w 9514"/>
                <a:gd name="connsiteY38" fmla="*/ 8185 h 10000"/>
                <a:gd name="connsiteX39" fmla="*/ 3501 w 9514"/>
                <a:gd name="connsiteY39" fmla="*/ 6253 h 10000"/>
                <a:gd name="connsiteX40" fmla="*/ 3611 w 9514"/>
                <a:gd name="connsiteY40" fmla="*/ 5957 h 10000"/>
                <a:gd name="connsiteX41" fmla="*/ 3625 w 9514"/>
                <a:gd name="connsiteY41" fmla="*/ 5885 h 10000"/>
                <a:gd name="connsiteX42" fmla="*/ 3320 w 9514"/>
                <a:gd name="connsiteY42" fmla="*/ 4098 h 10000"/>
                <a:gd name="connsiteX43" fmla="*/ 3181 w 9514"/>
                <a:gd name="connsiteY43" fmla="*/ 3073 h 10000"/>
                <a:gd name="connsiteX44" fmla="*/ 3514 w 9514"/>
                <a:gd name="connsiteY44" fmla="*/ 2004 h 10000"/>
                <a:gd name="connsiteX45" fmla="*/ 3722 w 9514"/>
                <a:gd name="connsiteY45" fmla="*/ 1600 h 10000"/>
                <a:gd name="connsiteX46" fmla="*/ 3764 w 9514"/>
                <a:gd name="connsiteY46" fmla="*/ 1493 h 10000"/>
                <a:gd name="connsiteX47" fmla="*/ 3583 w 9514"/>
                <a:gd name="connsiteY47" fmla="*/ 262 h 10000"/>
                <a:gd name="connsiteX48" fmla="*/ 2680 w 9514"/>
                <a:gd name="connsiteY48" fmla="*/ 1 h 10000"/>
                <a:gd name="connsiteX49" fmla="*/ 2194 w 9514"/>
                <a:gd name="connsiteY49" fmla="*/ 136 h 10000"/>
                <a:gd name="connsiteX50" fmla="*/ 2083 w 9514"/>
                <a:gd name="connsiteY50" fmla="*/ 621 h 10000"/>
                <a:gd name="connsiteX51" fmla="*/ 1944 w 9514"/>
                <a:gd name="connsiteY51" fmla="*/ 999 h 10000"/>
                <a:gd name="connsiteX52" fmla="*/ 1291 w 9514"/>
                <a:gd name="connsiteY52" fmla="*/ 703 h 10000"/>
                <a:gd name="connsiteX53" fmla="*/ 445 w 9514"/>
                <a:gd name="connsiteY53" fmla="*/ 307 h 10000"/>
                <a:gd name="connsiteX54" fmla="*/ 27 w 9514"/>
                <a:gd name="connsiteY54" fmla="*/ 280 h 10000"/>
                <a:gd name="connsiteX55" fmla="*/ 27 w 9514"/>
                <a:gd name="connsiteY55" fmla="*/ 280 h 10000"/>
                <a:gd name="connsiteX56" fmla="*/ 361 w 9514"/>
                <a:gd name="connsiteY56" fmla="*/ 432 h 10000"/>
                <a:gd name="connsiteX57" fmla="*/ 0 w 9514"/>
                <a:gd name="connsiteY57" fmla="*/ 603 h 10000"/>
                <a:gd name="connsiteX58" fmla="*/ 0 w 9514"/>
                <a:gd name="connsiteY58" fmla="*/ 603 h 10000"/>
                <a:gd name="connsiteX59" fmla="*/ 458 w 9514"/>
                <a:gd name="connsiteY59" fmla="*/ 586 h 10000"/>
                <a:gd name="connsiteX60" fmla="*/ 1000 w 9514"/>
                <a:gd name="connsiteY60" fmla="*/ 864 h 10000"/>
                <a:gd name="connsiteX61" fmla="*/ 2070 w 9514"/>
                <a:gd name="connsiteY61" fmla="*/ 1233 h 10000"/>
                <a:gd name="connsiteX62" fmla="*/ 2458 w 9514"/>
                <a:gd name="connsiteY62" fmla="*/ 594 h 10000"/>
                <a:gd name="connsiteX63" fmla="*/ 2486 w 9514"/>
                <a:gd name="connsiteY63" fmla="*/ 298 h 10000"/>
                <a:gd name="connsiteX64" fmla="*/ 2709 w 9514"/>
                <a:gd name="connsiteY64" fmla="*/ 253 h 10000"/>
                <a:gd name="connsiteX65" fmla="*/ 3291 w 9514"/>
                <a:gd name="connsiteY65" fmla="*/ 414 h 10000"/>
                <a:gd name="connsiteX66" fmla="*/ 3417 w 9514"/>
                <a:gd name="connsiteY66" fmla="*/ 1421 h 10000"/>
                <a:gd name="connsiteX67" fmla="*/ 3361 w 9514"/>
                <a:gd name="connsiteY67" fmla="*/ 1528 h 10000"/>
                <a:gd name="connsiteX68" fmla="*/ 3181 w 9514"/>
                <a:gd name="connsiteY68" fmla="*/ 1889 h 10000"/>
                <a:gd name="connsiteX69" fmla="*/ 2806 w 9514"/>
                <a:gd name="connsiteY69" fmla="*/ 3109 h 10000"/>
                <a:gd name="connsiteX70" fmla="*/ 2959 w 9514"/>
                <a:gd name="connsiteY70" fmla="*/ 4170 h 10000"/>
                <a:gd name="connsiteX71" fmla="*/ 3250 w 9514"/>
                <a:gd name="connsiteY71" fmla="*/ 5859 h 10000"/>
                <a:gd name="connsiteX72" fmla="*/ 3237 w 9514"/>
                <a:gd name="connsiteY72" fmla="*/ 5930 h 10000"/>
                <a:gd name="connsiteX73" fmla="*/ 3334 w 9514"/>
                <a:gd name="connsiteY73" fmla="*/ 6253 h 10000"/>
                <a:gd name="connsiteX74" fmla="*/ 3208 w 9514"/>
                <a:gd name="connsiteY74" fmla="*/ 8185 h 10000"/>
                <a:gd name="connsiteX75" fmla="*/ 3501 w 9514"/>
                <a:gd name="connsiteY75" fmla="*/ 9946 h 10000"/>
                <a:gd name="connsiteX76" fmla="*/ 3695 w 9514"/>
                <a:gd name="connsiteY76" fmla="*/ 10000 h 10000"/>
                <a:gd name="connsiteX77" fmla="*/ 3847 w 9514"/>
                <a:gd name="connsiteY77" fmla="*/ 9954 h 10000"/>
                <a:gd name="connsiteX78" fmla="*/ 4139 w 9514"/>
                <a:gd name="connsiteY78" fmla="*/ 8293 h 10000"/>
                <a:gd name="connsiteX79" fmla="*/ 4139 w 9514"/>
                <a:gd name="connsiteY79" fmla="*/ 8202 h 10000"/>
                <a:gd name="connsiteX80" fmla="*/ 4181 w 9514"/>
                <a:gd name="connsiteY80" fmla="*/ 6865 h 10000"/>
                <a:gd name="connsiteX81" fmla="*/ 4208 w 9514"/>
                <a:gd name="connsiteY81" fmla="*/ 6308 h 10000"/>
                <a:gd name="connsiteX82" fmla="*/ 4334 w 9514"/>
                <a:gd name="connsiteY82" fmla="*/ 6038 h 10000"/>
                <a:gd name="connsiteX83" fmla="*/ 4875 w 9514"/>
                <a:gd name="connsiteY83" fmla="*/ 4763 h 10000"/>
                <a:gd name="connsiteX84" fmla="*/ 5334 w 9514"/>
                <a:gd name="connsiteY84" fmla="*/ 4474 h 10000"/>
                <a:gd name="connsiteX85" fmla="*/ 5070 w 9514"/>
                <a:gd name="connsiteY85" fmla="*/ 3577 h 10000"/>
                <a:gd name="connsiteX86" fmla="*/ 4709 w 9514"/>
                <a:gd name="connsiteY86" fmla="*/ 3288 h 10000"/>
                <a:gd name="connsiteX87" fmla="*/ 4569 w 9514"/>
                <a:gd name="connsiteY87" fmla="*/ 2940 h 10000"/>
                <a:gd name="connsiteX88" fmla="*/ 5125 w 9514"/>
                <a:gd name="connsiteY88" fmla="*/ 2714 h 10000"/>
                <a:gd name="connsiteX89" fmla="*/ 6194 w 9514"/>
                <a:gd name="connsiteY89" fmla="*/ 2094 h 10000"/>
                <a:gd name="connsiteX90" fmla="*/ 6167 w 9514"/>
                <a:gd name="connsiteY90" fmla="*/ 1501 h 10000"/>
                <a:gd name="connsiteX91" fmla="*/ 5903 w 9514"/>
                <a:gd name="connsiteY91" fmla="*/ 1367 h 10000"/>
                <a:gd name="connsiteX92" fmla="*/ 5056 w 9514"/>
                <a:gd name="connsiteY92" fmla="*/ 1564 h 10000"/>
                <a:gd name="connsiteX93" fmla="*/ 4722 w 9514"/>
                <a:gd name="connsiteY93" fmla="*/ 1691 h 10000"/>
                <a:gd name="connsiteX94" fmla="*/ 4611 w 9514"/>
                <a:gd name="connsiteY94" fmla="*/ 1592 h 10000"/>
                <a:gd name="connsiteX95" fmla="*/ 5041 w 9514"/>
                <a:gd name="connsiteY95" fmla="*/ 1286 h 10000"/>
                <a:gd name="connsiteX96" fmla="*/ 5472 w 9514"/>
                <a:gd name="connsiteY96" fmla="*/ 1079 h 10000"/>
                <a:gd name="connsiteX97" fmla="*/ 5764 w 9514"/>
                <a:gd name="connsiteY97" fmla="*/ 666 h 10000"/>
                <a:gd name="connsiteX98" fmla="*/ 6208 w 9514"/>
                <a:gd name="connsiteY98" fmla="*/ 361 h 10000"/>
                <a:gd name="connsiteX99" fmla="*/ 6709 w 9514"/>
                <a:gd name="connsiteY99" fmla="*/ 460 h 10000"/>
                <a:gd name="connsiteX100" fmla="*/ 6973 w 9514"/>
                <a:gd name="connsiteY100" fmla="*/ 1187 h 10000"/>
                <a:gd name="connsiteX101" fmla="*/ 6361 w 9514"/>
                <a:gd name="connsiteY101" fmla="*/ 2202 h 10000"/>
                <a:gd name="connsiteX102" fmla="*/ 6264 w 9514"/>
                <a:gd name="connsiteY102" fmla="*/ 3065 h 10000"/>
                <a:gd name="connsiteX103" fmla="*/ 7111 w 9514"/>
                <a:gd name="connsiteY103" fmla="*/ 3416 h 10000"/>
                <a:gd name="connsiteX104" fmla="*/ 7653 w 9514"/>
                <a:gd name="connsiteY104" fmla="*/ 3900 h 10000"/>
                <a:gd name="connsiteX105" fmla="*/ 8445 w 9514"/>
                <a:gd name="connsiteY105" fmla="*/ 4322 h 10000"/>
                <a:gd name="connsiteX106" fmla="*/ 8569 w 9514"/>
                <a:gd name="connsiteY106" fmla="*/ 4474 h 10000"/>
                <a:gd name="connsiteX107" fmla="*/ 8028 w 9514"/>
                <a:gd name="connsiteY107" fmla="*/ 5750 h 10000"/>
                <a:gd name="connsiteX0" fmla="*/ 8438 w 10025"/>
                <a:gd name="connsiteY0" fmla="*/ 5750 h 10000"/>
                <a:gd name="connsiteX1" fmla="*/ 9986 w 10025"/>
                <a:gd name="connsiteY1" fmla="*/ 3676 h 10000"/>
                <a:gd name="connsiteX2" fmla="*/ 9460 w 10025"/>
                <a:gd name="connsiteY2" fmla="*/ 3756 h 10000"/>
                <a:gd name="connsiteX3" fmla="*/ 8964 w 10025"/>
                <a:gd name="connsiteY3" fmla="*/ 3666 h 10000"/>
                <a:gd name="connsiteX4" fmla="*/ 8964 w 10025"/>
                <a:gd name="connsiteY4" fmla="*/ 3666 h 10000"/>
                <a:gd name="connsiteX5" fmla="*/ 8978 w 10025"/>
                <a:gd name="connsiteY5" fmla="*/ 4009 h 10000"/>
                <a:gd name="connsiteX6" fmla="*/ 8905 w 10025"/>
                <a:gd name="connsiteY6" fmla="*/ 4053 h 10000"/>
                <a:gd name="connsiteX7" fmla="*/ 8380 w 10025"/>
                <a:gd name="connsiteY7" fmla="*/ 3793 h 10000"/>
                <a:gd name="connsiteX8" fmla="*/ 7970 w 10025"/>
                <a:gd name="connsiteY8" fmla="*/ 3442 h 10000"/>
                <a:gd name="connsiteX9" fmla="*/ 7299 w 10025"/>
                <a:gd name="connsiteY9" fmla="*/ 3109 h 10000"/>
                <a:gd name="connsiteX10" fmla="*/ 6949 w 10025"/>
                <a:gd name="connsiteY10" fmla="*/ 2382 h 10000"/>
                <a:gd name="connsiteX11" fmla="*/ 7722 w 10025"/>
                <a:gd name="connsiteY11" fmla="*/ 1187 h 10000"/>
                <a:gd name="connsiteX12" fmla="*/ 7329 w 10025"/>
                <a:gd name="connsiteY12" fmla="*/ 280 h 10000"/>
                <a:gd name="connsiteX13" fmla="*/ 6510 w 10025"/>
                <a:gd name="connsiteY13" fmla="*/ 118 h 10000"/>
                <a:gd name="connsiteX14" fmla="*/ 5664 w 10025"/>
                <a:gd name="connsiteY14" fmla="*/ 621 h 10000"/>
                <a:gd name="connsiteX15" fmla="*/ 5474 w 10025"/>
                <a:gd name="connsiteY15" fmla="*/ 908 h 10000"/>
                <a:gd name="connsiteX16" fmla="*/ 5095 w 10025"/>
                <a:gd name="connsiteY16" fmla="*/ 1079 h 10000"/>
                <a:gd name="connsiteX17" fmla="*/ 4482 w 10025"/>
                <a:gd name="connsiteY17" fmla="*/ 1754 h 10000"/>
                <a:gd name="connsiteX18" fmla="*/ 4715 w 10025"/>
                <a:gd name="connsiteY18" fmla="*/ 1933 h 10000"/>
                <a:gd name="connsiteX19" fmla="*/ 5533 w 10025"/>
                <a:gd name="connsiteY19" fmla="*/ 1772 h 10000"/>
                <a:gd name="connsiteX20" fmla="*/ 5986 w 10025"/>
                <a:gd name="connsiteY20" fmla="*/ 1610 h 10000"/>
                <a:gd name="connsiteX21" fmla="*/ 6146 w 10025"/>
                <a:gd name="connsiteY21" fmla="*/ 1626 h 10000"/>
                <a:gd name="connsiteX22" fmla="*/ 6146 w 10025"/>
                <a:gd name="connsiteY22" fmla="*/ 1996 h 10000"/>
                <a:gd name="connsiteX23" fmla="*/ 5270 w 10025"/>
                <a:gd name="connsiteY23" fmla="*/ 2481 h 10000"/>
                <a:gd name="connsiteX24" fmla="*/ 4438 w 10025"/>
                <a:gd name="connsiteY24" fmla="*/ 2858 h 10000"/>
                <a:gd name="connsiteX25" fmla="*/ 4598 w 10025"/>
                <a:gd name="connsiteY25" fmla="*/ 3424 h 10000"/>
                <a:gd name="connsiteX26" fmla="*/ 5037 w 10025"/>
                <a:gd name="connsiteY26" fmla="*/ 3747 h 10000"/>
                <a:gd name="connsiteX27" fmla="*/ 5285 w 10025"/>
                <a:gd name="connsiteY27" fmla="*/ 4340 h 10000"/>
                <a:gd name="connsiteX28" fmla="*/ 4904 w 10025"/>
                <a:gd name="connsiteY28" fmla="*/ 4556 h 10000"/>
                <a:gd name="connsiteX29" fmla="*/ 4161 w 10025"/>
                <a:gd name="connsiteY29" fmla="*/ 6038 h 10000"/>
                <a:gd name="connsiteX30" fmla="*/ 4234 w 10025"/>
                <a:gd name="connsiteY30" fmla="*/ 6298 h 10000"/>
                <a:gd name="connsiteX31" fmla="*/ 4219 w 10025"/>
                <a:gd name="connsiteY31" fmla="*/ 6865 h 10000"/>
                <a:gd name="connsiteX32" fmla="*/ 4176 w 10025"/>
                <a:gd name="connsiteY32" fmla="*/ 8202 h 10000"/>
                <a:gd name="connsiteX33" fmla="*/ 4176 w 10025"/>
                <a:gd name="connsiteY33" fmla="*/ 8293 h 10000"/>
                <a:gd name="connsiteX34" fmla="*/ 3912 w 10025"/>
                <a:gd name="connsiteY34" fmla="*/ 9873 h 10000"/>
                <a:gd name="connsiteX35" fmla="*/ 3884 w 10025"/>
                <a:gd name="connsiteY35" fmla="*/ 9891 h 10000"/>
                <a:gd name="connsiteX36" fmla="*/ 3795 w 10025"/>
                <a:gd name="connsiteY36" fmla="*/ 9864 h 10000"/>
                <a:gd name="connsiteX37" fmla="*/ 3547 w 10025"/>
                <a:gd name="connsiteY37" fmla="*/ 8185 h 10000"/>
                <a:gd name="connsiteX38" fmla="*/ 3680 w 10025"/>
                <a:gd name="connsiteY38" fmla="*/ 6253 h 10000"/>
                <a:gd name="connsiteX39" fmla="*/ 3795 w 10025"/>
                <a:gd name="connsiteY39" fmla="*/ 5957 h 10000"/>
                <a:gd name="connsiteX40" fmla="*/ 3810 w 10025"/>
                <a:gd name="connsiteY40" fmla="*/ 5885 h 10000"/>
                <a:gd name="connsiteX41" fmla="*/ 3490 w 10025"/>
                <a:gd name="connsiteY41" fmla="*/ 4098 h 10000"/>
                <a:gd name="connsiteX42" fmla="*/ 3343 w 10025"/>
                <a:gd name="connsiteY42" fmla="*/ 3073 h 10000"/>
                <a:gd name="connsiteX43" fmla="*/ 3694 w 10025"/>
                <a:gd name="connsiteY43" fmla="*/ 2004 h 10000"/>
                <a:gd name="connsiteX44" fmla="*/ 3912 w 10025"/>
                <a:gd name="connsiteY44" fmla="*/ 1600 h 10000"/>
                <a:gd name="connsiteX45" fmla="*/ 3956 w 10025"/>
                <a:gd name="connsiteY45" fmla="*/ 1493 h 10000"/>
                <a:gd name="connsiteX46" fmla="*/ 3766 w 10025"/>
                <a:gd name="connsiteY46" fmla="*/ 262 h 10000"/>
                <a:gd name="connsiteX47" fmla="*/ 2817 w 10025"/>
                <a:gd name="connsiteY47" fmla="*/ 1 h 10000"/>
                <a:gd name="connsiteX48" fmla="*/ 2306 w 10025"/>
                <a:gd name="connsiteY48" fmla="*/ 136 h 10000"/>
                <a:gd name="connsiteX49" fmla="*/ 2189 w 10025"/>
                <a:gd name="connsiteY49" fmla="*/ 621 h 10000"/>
                <a:gd name="connsiteX50" fmla="*/ 2043 w 10025"/>
                <a:gd name="connsiteY50" fmla="*/ 999 h 10000"/>
                <a:gd name="connsiteX51" fmla="*/ 1357 w 10025"/>
                <a:gd name="connsiteY51" fmla="*/ 703 h 10000"/>
                <a:gd name="connsiteX52" fmla="*/ 468 w 10025"/>
                <a:gd name="connsiteY52" fmla="*/ 307 h 10000"/>
                <a:gd name="connsiteX53" fmla="*/ 28 w 10025"/>
                <a:gd name="connsiteY53" fmla="*/ 280 h 10000"/>
                <a:gd name="connsiteX54" fmla="*/ 28 w 10025"/>
                <a:gd name="connsiteY54" fmla="*/ 280 h 10000"/>
                <a:gd name="connsiteX55" fmla="*/ 379 w 10025"/>
                <a:gd name="connsiteY55" fmla="*/ 432 h 10000"/>
                <a:gd name="connsiteX56" fmla="*/ 0 w 10025"/>
                <a:gd name="connsiteY56" fmla="*/ 603 h 10000"/>
                <a:gd name="connsiteX57" fmla="*/ 0 w 10025"/>
                <a:gd name="connsiteY57" fmla="*/ 603 h 10000"/>
                <a:gd name="connsiteX58" fmla="*/ 481 w 10025"/>
                <a:gd name="connsiteY58" fmla="*/ 586 h 10000"/>
                <a:gd name="connsiteX59" fmla="*/ 1051 w 10025"/>
                <a:gd name="connsiteY59" fmla="*/ 864 h 10000"/>
                <a:gd name="connsiteX60" fmla="*/ 2176 w 10025"/>
                <a:gd name="connsiteY60" fmla="*/ 1233 h 10000"/>
                <a:gd name="connsiteX61" fmla="*/ 2584 w 10025"/>
                <a:gd name="connsiteY61" fmla="*/ 594 h 10000"/>
                <a:gd name="connsiteX62" fmla="*/ 2613 w 10025"/>
                <a:gd name="connsiteY62" fmla="*/ 298 h 10000"/>
                <a:gd name="connsiteX63" fmla="*/ 2847 w 10025"/>
                <a:gd name="connsiteY63" fmla="*/ 253 h 10000"/>
                <a:gd name="connsiteX64" fmla="*/ 3459 w 10025"/>
                <a:gd name="connsiteY64" fmla="*/ 414 h 10000"/>
                <a:gd name="connsiteX65" fmla="*/ 3592 w 10025"/>
                <a:gd name="connsiteY65" fmla="*/ 1421 h 10000"/>
                <a:gd name="connsiteX66" fmla="*/ 3533 w 10025"/>
                <a:gd name="connsiteY66" fmla="*/ 1528 h 10000"/>
                <a:gd name="connsiteX67" fmla="*/ 3343 w 10025"/>
                <a:gd name="connsiteY67" fmla="*/ 1889 h 10000"/>
                <a:gd name="connsiteX68" fmla="*/ 2949 w 10025"/>
                <a:gd name="connsiteY68" fmla="*/ 3109 h 10000"/>
                <a:gd name="connsiteX69" fmla="*/ 3110 w 10025"/>
                <a:gd name="connsiteY69" fmla="*/ 4170 h 10000"/>
                <a:gd name="connsiteX70" fmla="*/ 3416 w 10025"/>
                <a:gd name="connsiteY70" fmla="*/ 5859 h 10000"/>
                <a:gd name="connsiteX71" fmla="*/ 3402 w 10025"/>
                <a:gd name="connsiteY71" fmla="*/ 5930 h 10000"/>
                <a:gd name="connsiteX72" fmla="*/ 3504 w 10025"/>
                <a:gd name="connsiteY72" fmla="*/ 6253 h 10000"/>
                <a:gd name="connsiteX73" fmla="*/ 3372 w 10025"/>
                <a:gd name="connsiteY73" fmla="*/ 8185 h 10000"/>
                <a:gd name="connsiteX74" fmla="*/ 3680 w 10025"/>
                <a:gd name="connsiteY74" fmla="*/ 9946 h 10000"/>
                <a:gd name="connsiteX75" fmla="*/ 3884 w 10025"/>
                <a:gd name="connsiteY75" fmla="*/ 10000 h 10000"/>
                <a:gd name="connsiteX76" fmla="*/ 4044 w 10025"/>
                <a:gd name="connsiteY76" fmla="*/ 9954 h 10000"/>
                <a:gd name="connsiteX77" fmla="*/ 4350 w 10025"/>
                <a:gd name="connsiteY77" fmla="*/ 8293 h 10000"/>
                <a:gd name="connsiteX78" fmla="*/ 4350 w 10025"/>
                <a:gd name="connsiteY78" fmla="*/ 8202 h 10000"/>
                <a:gd name="connsiteX79" fmla="*/ 4395 w 10025"/>
                <a:gd name="connsiteY79" fmla="*/ 6865 h 10000"/>
                <a:gd name="connsiteX80" fmla="*/ 4423 w 10025"/>
                <a:gd name="connsiteY80" fmla="*/ 6308 h 10000"/>
                <a:gd name="connsiteX81" fmla="*/ 4555 w 10025"/>
                <a:gd name="connsiteY81" fmla="*/ 6038 h 10000"/>
                <a:gd name="connsiteX82" fmla="*/ 5124 w 10025"/>
                <a:gd name="connsiteY82" fmla="*/ 4763 h 10000"/>
                <a:gd name="connsiteX83" fmla="*/ 5606 w 10025"/>
                <a:gd name="connsiteY83" fmla="*/ 4474 h 10000"/>
                <a:gd name="connsiteX84" fmla="*/ 5329 w 10025"/>
                <a:gd name="connsiteY84" fmla="*/ 3577 h 10000"/>
                <a:gd name="connsiteX85" fmla="*/ 4950 w 10025"/>
                <a:gd name="connsiteY85" fmla="*/ 3288 h 10000"/>
                <a:gd name="connsiteX86" fmla="*/ 4802 w 10025"/>
                <a:gd name="connsiteY86" fmla="*/ 2940 h 10000"/>
                <a:gd name="connsiteX87" fmla="*/ 5387 w 10025"/>
                <a:gd name="connsiteY87" fmla="*/ 2714 h 10000"/>
                <a:gd name="connsiteX88" fmla="*/ 6510 w 10025"/>
                <a:gd name="connsiteY88" fmla="*/ 2094 h 10000"/>
                <a:gd name="connsiteX89" fmla="*/ 6482 w 10025"/>
                <a:gd name="connsiteY89" fmla="*/ 1501 h 10000"/>
                <a:gd name="connsiteX90" fmla="*/ 6205 w 10025"/>
                <a:gd name="connsiteY90" fmla="*/ 1367 h 10000"/>
                <a:gd name="connsiteX91" fmla="*/ 5314 w 10025"/>
                <a:gd name="connsiteY91" fmla="*/ 1564 h 10000"/>
                <a:gd name="connsiteX92" fmla="*/ 4963 w 10025"/>
                <a:gd name="connsiteY92" fmla="*/ 1691 h 10000"/>
                <a:gd name="connsiteX93" fmla="*/ 4847 w 10025"/>
                <a:gd name="connsiteY93" fmla="*/ 1592 h 10000"/>
                <a:gd name="connsiteX94" fmla="*/ 5299 w 10025"/>
                <a:gd name="connsiteY94" fmla="*/ 1286 h 10000"/>
                <a:gd name="connsiteX95" fmla="*/ 5752 w 10025"/>
                <a:gd name="connsiteY95" fmla="*/ 1079 h 10000"/>
                <a:gd name="connsiteX96" fmla="*/ 6058 w 10025"/>
                <a:gd name="connsiteY96" fmla="*/ 666 h 10000"/>
                <a:gd name="connsiteX97" fmla="*/ 6525 w 10025"/>
                <a:gd name="connsiteY97" fmla="*/ 361 h 10000"/>
                <a:gd name="connsiteX98" fmla="*/ 7052 w 10025"/>
                <a:gd name="connsiteY98" fmla="*/ 460 h 10000"/>
                <a:gd name="connsiteX99" fmla="*/ 7329 w 10025"/>
                <a:gd name="connsiteY99" fmla="*/ 1187 h 10000"/>
                <a:gd name="connsiteX100" fmla="*/ 6686 w 10025"/>
                <a:gd name="connsiteY100" fmla="*/ 2202 h 10000"/>
                <a:gd name="connsiteX101" fmla="*/ 6584 w 10025"/>
                <a:gd name="connsiteY101" fmla="*/ 3065 h 10000"/>
                <a:gd name="connsiteX102" fmla="*/ 7474 w 10025"/>
                <a:gd name="connsiteY102" fmla="*/ 3416 h 10000"/>
                <a:gd name="connsiteX103" fmla="*/ 8044 w 10025"/>
                <a:gd name="connsiteY103" fmla="*/ 3900 h 10000"/>
                <a:gd name="connsiteX104" fmla="*/ 8876 w 10025"/>
                <a:gd name="connsiteY104" fmla="*/ 4322 h 10000"/>
                <a:gd name="connsiteX105" fmla="*/ 9007 w 10025"/>
                <a:gd name="connsiteY105" fmla="*/ 4474 h 10000"/>
                <a:gd name="connsiteX106" fmla="*/ 8438 w 10025"/>
                <a:gd name="connsiteY106" fmla="*/ 5750 h 10000"/>
                <a:gd name="connsiteX0" fmla="*/ 9007 w 9996"/>
                <a:gd name="connsiteY0" fmla="*/ 4474 h 10000"/>
                <a:gd name="connsiteX1" fmla="*/ 9986 w 9996"/>
                <a:gd name="connsiteY1" fmla="*/ 3676 h 10000"/>
                <a:gd name="connsiteX2" fmla="*/ 9460 w 9996"/>
                <a:gd name="connsiteY2" fmla="*/ 3756 h 10000"/>
                <a:gd name="connsiteX3" fmla="*/ 8964 w 9996"/>
                <a:gd name="connsiteY3" fmla="*/ 3666 h 10000"/>
                <a:gd name="connsiteX4" fmla="*/ 8964 w 9996"/>
                <a:gd name="connsiteY4" fmla="*/ 3666 h 10000"/>
                <a:gd name="connsiteX5" fmla="*/ 8978 w 9996"/>
                <a:gd name="connsiteY5" fmla="*/ 4009 h 10000"/>
                <a:gd name="connsiteX6" fmla="*/ 8905 w 9996"/>
                <a:gd name="connsiteY6" fmla="*/ 4053 h 10000"/>
                <a:gd name="connsiteX7" fmla="*/ 8380 w 9996"/>
                <a:gd name="connsiteY7" fmla="*/ 3793 h 10000"/>
                <a:gd name="connsiteX8" fmla="*/ 7970 w 9996"/>
                <a:gd name="connsiteY8" fmla="*/ 3442 h 10000"/>
                <a:gd name="connsiteX9" fmla="*/ 7299 w 9996"/>
                <a:gd name="connsiteY9" fmla="*/ 3109 h 10000"/>
                <a:gd name="connsiteX10" fmla="*/ 6949 w 9996"/>
                <a:gd name="connsiteY10" fmla="*/ 2382 h 10000"/>
                <a:gd name="connsiteX11" fmla="*/ 7722 w 9996"/>
                <a:gd name="connsiteY11" fmla="*/ 1187 h 10000"/>
                <a:gd name="connsiteX12" fmla="*/ 7329 w 9996"/>
                <a:gd name="connsiteY12" fmla="*/ 280 h 10000"/>
                <a:gd name="connsiteX13" fmla="*/ 6510 w 9996"/>
                <a:gd name="connsiteY13" fmla="*/ 118 h 10000"/>
                <a:gd name="connsiteX14" fmla="*/ 5664 w 9996"/>
                <a:gd name="connsiteY14" fmla="*/ 621 h 10000"/>
                <a:gd name="connsiteX15" fmla="*/ 5474 w 9996"/>
                <a:gd name="connsiteY15" fmla="*/ 908 h 10000"/>
                <a:gd name="connsiteX16" fmla="*/ 5095 w 9996"/>
                <a:gd name="connsiteY16" fmla="*/ 1079 h 10000"/>
                <a:gd name="connsiteX17" fmla="*/ 4482 w 9996"/>
                <a:gd name="connsiteY17" fmla="*/ 1754 h 10000"/>
                <a:gd name="connsiteX18" fmla="*/ 4715 w 9996"/>
                <a:gd name="connsiteY18" fmla="*/ 1933 h 10000"/>
                <a:gd name="connsiteX19" fmla="*/ 5533 w 9996"/>
                <a:gd name="connsiteY19" fmla="*/ 1772 h 10000"/>
                <a:gd name="connsiteX20" fmla="*/ 5986 w 9996"/>
                <a:gd name="connsiteY20" fmla="*/ 1610 h 10000"/>
                <a:gd name="connsiteX21" fmla="*/ 6146 w 9996"/>
                <a:gd name="connsiteY21" fmla="*/ 1626 h 10000"/>
                <a:gd name="connsiteX22" fmla="*/ 6146 w 9996"/>
                <a:gd name="connsiteY22" fmla="*/ 1996 h 10000"/>
                <a:gd name="connsiteX23" fmla="*/ 5270 w 9996"/>
                <a:gd name="connsiteY23" fmla="*/ 2481 h 10000"/>
                <a:gd name="connsiteX24" fmla="*/ 4438 w 9996"/>
                <a:gd name="connsiteY24" fmla="*/ 2858 h 10000"/>
                <a:gd name="connsiteX25" fmla="*/ 4598 w 9996"/>
                <a:gd name="connsiteY25" fmla="*/ 3424 h 10000"/>
                <a:gd name="connsiteX26" fmla="*/ 5037 w 9996"/>
                <a:gd name="connsiteY26" fmla="*/ 3747 h 10000"/>
                <a:gd name="connsiteX27" fmla="*/ 5285 w 9996"/>
                <a:gd name="connsiteY27" fmla="*/ 4340 h 10000"/>
                <a:gd name="connsiteX28" fmla="*/ 4904 w 9996"/>
                <a:gd name="connsiteY28" fmla="*/ 4556 h 10000"/>
                <a:gd name="connsiteX29" fmla="*/ 4161 w 9996"/>
                <a:gd name="connsiteY29" fmla="*/ 6038 h 10000"/>
                <a:gd name="connsiteX30" fmla="*/ 4234 w 9996"/>
                <a:gd name="connsiteY30" fmla="*/ 6298 h 10000"/>
                <a:gd name="connsiteX31" fmla="*/ 4219 w 9996"/>
                <a:gd name="connsiteY31" fmla="*/ 6865 h 10000"/>
                <a:gd name="connsiteX32" fmla="*/ 4176 w 9996"/>
                <a:gd name="connsiteY32" fmla="*/ 8202 h 10000"/>
                <a:gd name="connsiteX33" fmla="*/ 4176 w 9996"/>
                <a:gd name="connsiteY33" fmla="*/ 8293 h 10000"/>
                <a:gd name="connsiteX34" fmla="*/ 3912 w 9996"/>
                <a:gd name="connsiteY34" fmla="*/ 9873 h 10000"/>
                <a:gd name="connsiteX35" fmla="*/ 3884 w 9996"/>
                <a:gd name="connsiteY35" fmla="*/ 9891 h 10000"/>
                <a:gd name="connsiteX36" fmla="*/ 3795 w 9996"/>
                <a:gd name="connsiteY36" fmla="*/ 9864 h 10000"/>
                <a:gd name="connsiteX37" fmla="*/ 3547 w 9996"/>
                <a:gd name="connsiteY37" fmla="*/ 8185 h 10000"/>
                <a:gd name="connsiteX38" fmla="*/ 3680 w 9996"/>
                <a:gd name="connsiteY38" fmla="*/ 6253 h 10000"/>
                <a:gd name="connsiteX39" fmla="*/ 3795 w 9996"/>
                <a:gd name="connsiteY39" fmla="*/ 5957 h 10000"/>
                <a:gd name="connsiteX40" fmla="*/ 3810 w 9996"/>
                <a:gd name="connsiteY40" fmla="*/ 5885 h 10000"/>
                <a:gd name="connsiteX41" fmla="*/ 3490 w 9996"/>
                <a:gd name="connsiteY41" fmla="*/ 4098 h 10000"/>
                <a:gd name="connsiteX42" fmla="*/ 3343 w 9996"/>
                <a:gd name="connsiteY42" fmla="*/ 3073 h 10000"/>
                <a:gd name="connsiteX43" fmla="*/ 3694 w 9996"/>
                <a:gd name="connsiteY43" fmla="*/ 2004 h 10000"/>
                <a:gd name="connsiteX44" fmla="*/ 3912 w 9996"/>
                <a:gd name="connsiteY44" fmla="*/ 1600 h 10000"/>
                <a:gd name="connsiteX45" fmla="*/ 3956 w 9996"/>
                <a:gd name="connsiteY45" fmla="*/ 1493 h 10000"/>
                <a:gd name="connsiteX46" fmla="*/ 3766 w 9996"/>
                <a:gd name="connsiteY46" fmla="*/ 262 h 10000"/>
                <a:gd name="connsiteX47" fmla="*/ 2817 w 9996"/>
                <a:gd name="connsiteY47" fmla="*/ 1 h 10000"/>
                <a:gd name="connsiteX48" fmla="*/ 2306 w 9996"/>
                <a:gd name="connsiteY48" fmla="*/ 136 h 10000"/>
                <a:gd name="connsiteX49" fmla="*/ 2189 w 9996"/>
                <a:gd name="connsiteY49" fmla="*/ 621 h 10000"/>
                <a:gd name="connsiteX50" fmla="*/ 2043 w 9996"/>
                <a:gd name="connsiteY50" fmla="*/ 999 h 10000"/>
                <a:gd name="connsiteX51" fmla="*/ 1357 w 9996"/>
                <a:gd name="connsiteY51" fmla="*/ 703 h 10000"/>
                <a:gd name="connsiteX52" fmla="*/ 468 w 9996"/>
                <a:gd name="connsiteY52" fmla="*/ 307 h 10000"/>
                <a:gd name="connsiteX53" fmla="*/ 28 w 9996"/>
                <a:gd name="connsiteY53" fmla="*/ 280 h 10000"/>
                <a:gd name="connsiteX54" fmla="*/ 28 w 9996"/>
                <a:gd name="connsiteY54" fmla="*/ 280 h 10000"/>
                <a:gd name="connsiteX55" fmla="*/ 379 w 9996"/>
                <a:gd name="connsiteY55" fmla="*/ 432 h 10000"/>
                <a:gd name="connsiteX56" fmla="*/ 0 w 9996"/>
                <a:gd name="connsiteY56" fmla="*/ 603 h 10000"/>
                <a:gd name="connsiteX57" fmla="*/ 0 w 9996"/>
                <a:gd name="connsiteY57" fmla="*/ 603 h 10000"/>
                <a:gd name="connsiteX58" fmla="*/ 481 w 9996"/>
                <a:gd name="connsiteY58" fmla="*/ 586 h 10000"/>
                <a:gd name="connsiteX59" fmla="*/ 1051 w 9996"/>
                <a:gd name="connsiteY59" fmla="*/ 864 h 10000"/>
                <a:gd name="connsiteX60" fmla="*/ 2176 w 9996"/>
                <a:gd name="connsiteY60" fmla="*/ 1233 h 10000"/>
                <a:gd name="connsiteX61" fmla="*/ 2584 w 9996"/>
                <a:gd name="connsiteY61" fmla="*/ 594 h 10000"/>
                <a:gd name="connsiteX62" fmla="*/ 2613 w 9996"/>
                <a:gd name="connsiteY62" fmla="*/ 298 h 10000"/>
                <a:gd name="connsiteX63" fmla="*/ 2847 w 9996"/>
                <a:gd name="connsiteY63" fmla="*/ 253 h 10000"/>
                <a:gd name="connsiteX64" fmla="*/ 3459 w 9996"/>
                <a:gd name="connsiteY64" fmla="*/ 414 h 10000"/>
                <a:gd name="connsiteX65" fmla="*/ 3592 w 9996"/>
                <a:gd name="connsiteY65" fmla="*/ 1421 h 10000"/>
                <a:gd name="connsiteX66" fmla="*/ 3533 w 9996"/>
                <a:gd name="connsiteY66" fmla="*/ 1528 h 10000"/>
                <a:gd name="connsiteX67" fmla="*/ 3343 w 9996"/>
                <a:gd name="connsiteY67" fmla="*/ 1889 h 10000"/>
                <a:gd name="connsiteX68" fmla="*/ 2949 w 9996"/>
                <a:gd name="connsiteY68" fmla="*/ 3109 h 10000"/>
                <a:gd name="connsiteX69" fmla="*/ 3110 w 9996"/>
                <a:gd name="connsiteY69" fmla="*/ 4170 h 10000"/>
                <a:gd name="connsiteX70" fmla="*/ 3416 w 9996"/>
                <a:gd name="connsiteY70" fmla="*/ 5859 h 10000"/>
                <a:gd name="connsiteX71" fmla="*/ 3402 w 9996"/>
                <a:gd name="connsiteY71" fmla="*/ 5930 h 10000"/>
                <a:gd name="connsiteX72" fmla="*/ 3504 w 9996"/>
                <a:gd name="connsiteY72" fmla="*/ 6253 h 10000"/>
                <a:gd name="connsiteX73" fmla="*/ 3372 w 9996"/>
                <a:gd name="connsiteY73" fmla="*/ 8185 h 10000"/>
                <a:gd name="connsiteX74" fmla="*/ 3680 w 9996"/>
                <a:gd name="connsiteY74" fmla="*/ 9946 h 10000"/>
                <a:gd name="connsiteX75" fmla="*/ 3884 w 9996"/>
                <a:gd name="connsiteY75" fmla="*/ 10000 h 10000"/>
                <a:gd name="connsiteX76" fmla="*/ 4044 w 9996"/>
                <a:gd name="connsiteY76" fmla="*/ 9954 h 10000"/>
                <a:gd name="connsiteX77" fmla="*/ 4350 w 9996"/>
                <a:gd name="connsiteY77" fmla="*/ 8293 h 10000"/>
                <a:gd name="connsiteX78" fmla="*/ 4350 w 9996"/>
                <a:gd name="connsiteY78" fmla="*/ 8202 h 10000"/>
                <a:gd name="connsiteX79" fmla="*/ 4395 w 9996"/>
                <a:gd name="connsiteY79" fmla="*/ 6865 h 10000"/>
                <a:gd name="connsiteX80" fmla="*/ 4423 w 9996"/>
                <a:gd name="connsiteY80" fmla="*/ 6308 h 10000"/>
                <a:gd name="connsiteX81" fmla="*/ 4555 w 9996"/>
                <a:gd name="connsiteY81" fmla="*/ 6038 h 10000"/>
                <a:gd name="connsiteX82" fmla="*/ 5124 w 9996"/>
                <a:gd name="connsiteY82" fmla="*/ 4763 h 10000"/>
                <a:gd name="connsiteX83" fmla="*/ 5606 w 9996"/>
                <a:gd name="connsiteY83" fmla="*/ 4474 h 10000"/>
                <a:gd name="connsiteX84" fmla="*/ 5329 w 9996"/>
                <a:gd name="connsiteY84" fmla="*/ 3577 h 10000"/>
                <a:gd name="connsiteX85" fmla="*/ 4950 w 9996"/>
                <a:gd name="connsiteY85" fmla="*/ 3288 h 10000"/>
                <a:gd name="connsiteX86" fmla="*/ 4802 w 9996"/>
                <a:gd name="connsiteY86" fmla="*/ 2940 h 10000"/>
                <a:gd name="connsiteX87" fmla="*/ 5387 w 9996"/>
                <a:gd name="connsiteY87" fmla="*/ 2714 h 10000"/>
                <a:gd name="connsiteX88" fmla="*/ 6510 w 9996"/>
                <a:gd name="connsiteY88" fmla="*/ 2094 h 10000"/>
                <a:gd name="connsiteX89" fmla="*/ 6482 w 9996"/>
                <a:gd name="connsiteY89" fmla="*/ 1501 h 10000"/>
                <a:gd name="connsiteX90" fmla="*/ 6205 w 9996"/>
                <a:gd name="connsiteY90" fmla="*/ 1367 h 10000"/>
                <a:gd name="connsiteX91" fmla="*/ 5314 w 9996"/>
                <a:gd name="connsiteY91" fmla="*/ 1564 h 10000"/>
                <a:gd name="connsiteX92" fmla="*/ 4963 w 9996"/>
                <a:gd name="connsiteY92" fmla="*/ 1691 h 10000"/>
                <a:gd name="connsiteX93" fmla="*/ 4847 w 9996"/>
                <a:gd name="connsiteY93" fmla="*/ 1592 h 10000"/>
                <a:gd name="connsiteX94" fmla="*/ 5299 w 9996"/>
                <a:gd name="connsiteY94" fmla="*/ 1286 h 10000"/>
                <a:gd name="connsiteX95" fmla="*/ 5752 w 9996"/>
                <a:gd name="connsiteY95" fmla="*/ 1079 h 10000"/>
                <a:gd name="connsiteX96" fmla="*/ 6058 w 9996"/>
                <a:gd name="connsiteY96" fmla="*/ 666 h 10000"/>
                <a:gd name="connsiteX97" fmla="*/ 6525 w 9996"/>
                <a:gd name="connsiteY97" fmla="*/ 361 h 10000"/>
                <a:gd name="connsiteX98" fmla="*/ 7052 w 9996"/>
                <a:gd name="connsiteY98" fmla="*/ 460 h 10000"/>
                <a:gd name="connsiteX99" fmla="*/ 7329 w 9996"/>
                <a:gd name="connsiteY99" fmla="*/ 1187 h 10000"/>
                <a:gd name="connsiteX100" fmla="*/ 6686 w 9996"/>
                <a:gd name="connsiteY100" fmla="*/ 2202 h 10000"/>
                <a:gd name="connsiteX101" fmla="*/ 6584 w 9996"/>
                <a:gd name="connsiteY101" fmla="*/ 3065 h 10000"/>
                <a:gd name="connsiteX102" fmla="*/ 7474 w 9996"/>
                <a:gd name="connsiteY102" fmla="*/ 3416 h 10000"/>
                <a:gd name="connsiteX103" fmla="*/ 8044 w 9996"/>
                <a:gd name="connsiteY103" fmla="*/ 3900 h 10000"/>
                <a:gd name="connsiteX104" fmla="*/ 8876 w 9996"/>
                <a:gd name="connsiteY104" fmla="*/ 4322 h 10000"/>
                <a:gd name="connsiteX105" fmla="*/ 9007 w 9996"/>
                <a:gd name="connsiteY105" fmla="*/ 4474 h 10000"/>
                <a:gd name="connsiteX0" fmla="*/ 9011 w 9464"/>
                <a:gd name="connsiteY0" fmla="*/ 4474 h 10000"/>
                <a:gd name="connsiteX1" fmla="*/ 9464 w 9464"/>
                <a:gd name="connsiteY1" fmla="*/ 3756 h 10000"/>
                <a:gd name="connsiteX2" fmla="*/ 8968 w 9464"/>
                <a:gd name="connsiteY2" fmla="*/ 3666 h 10000"/>
                <a:gd name="connsiteX3" fmla="*/ 8968 w 9464"/>
                <a:gd name="connsiteY3" fmla="*/ 3666 h 10000"/>
                <a:gd name="connsiteX4" fmla="*/ 8982 w 9464"/>
                <a:gd name="connsiteY4" fmla="*/ 4009 h 10000"/>
                <a:gd name="connsiteX5" fmla="*/ 8909 w 9464"/>
                <a:gd name="connsiteY5" fmla="*/ 4053 h 10000"/>
                <a:gd name="connsiteX6" fmla="*/ 8383 w 9464"/>
                <a:gd name="connsiteY6" fmla="*/ 3793 h 10000"/>
                <a:gd name="connsiteX7" fmla="*/ 7973 w 9464"/>
                <a:gd name="connsiteY7" fmla="*/ 3442 h 10000"/>
                <a:gd name="connsiteX8" fmla="*/ 7302 w 9464"/>
                <a:gd name="connsiteY8" fmla="*/ 3109 h 10000"/>
                <a:gd name="connsiteX9" fmla="*/ 6952 w 9464"/>
                <a:gd name="connsiteY9" fmla="*/ 2382 h 10000"/>
                <a:gd name="connsiteX10" fmla="*/ 7725 w 9464"/>
                <a:gd name="connsiteY10" fmla="*/ 1187 h 10000"/>
                <a:gd name="connsiteX11" fmla="*/ 7332 w 9464"/>
                <a:gd name="connsiteY11" fmla="*/ 280 h 10000"/>
                <a:gd name="connsiteX12" fmla="*/ 6513 w 9464"/>
                <a:gd name="connsiteY12" fmla="*/ 118 h 10000"/>
                <a:gd name="connsiteX13" fmla="*/ 5666 w 9464"/>
                <a:gd name="connsiteY13" fmla="*/ 621 h 10000"/>
                <a:gd name="connsiteX14" fmla="*/ 5476 w 9464"/>
                <a:gd name="connsiteY14" fmla="*/ 908 h 10000"/>
                <a:gd name="connsiteX15" fmla="*/ 5097 w 9464"/>
                <a:gd name="connsiteY15" fmla="*/ 1079 h 10000"/>
                <a:gd name="connsiteX16" fmla="*/ 4484 w 9464"/>
                <a:gd name="connsiteY16" fmla="*/ 1754 h 10000"/>
                <a:gd name="connsiteX17" fmla="*/ 4717 w 9464"/>
                <a:gd name="connsiteY17" fmla="*/ 1933 h 10000"/>
                <a:gd name="connsiteX18" fmla="*/ 5535 w 9464"/>
                <a:gd name="connsiteY18" fmla="*/ 1772 h 10000"/>
                <a:gd name="connsiteX19" fmla="*/ 5988 w 9464"/>
                <a:gd name="connsiteY19" fmla="*/ 1610 h 10000"/>
                <a:gd name="connsiteX20" fmla="*/ 6148 w 9464"/>
                <a:gd name="connsiteY20" fmla="*/ 1626 h 10000"/>
                <a:gd name="connsiteX21" fmla="*/ 6148 w 9464"/>
                <a:gd name="connsiteY21" fmla="*/ 1996 h 10000"/>
                <a:gd name="connsiteX22" fmla="*/ 5272 w 9464"/>
                <a:gd name="connsiteY22" fmla="*/ 2481 h 10000"/>
                <a:gd name="connsiteX23" fmla="*/ 4440 w 9464"/>
                <a:gd name="connsiteY23" fmla="*/ 2858 h 10000"/>
                <a:gd name="connsiteX24" fmla="*/ 4600 w 9464"/>
                <a:gd name="connsiteY24" fmla="*/ 3424 h 10000"/>
                <a:gd name="connsiteX25" fmla="*/ 5039 w 9464"/>
                <a:gd name="connsiteY25" fmla="*/ 3747 h 10000"/>
                <a:gd name="connsiteX26" fmla="*/ 5287 w 9464"/>
                <a:gd name="connsiteY26" fmla="*/ 4340 h 10000"/>
                <a:gd name="connsiteX27" fmla="*/ 4906 w 9464"/>
                <a:gd name="connsiteY27" fmla="*/ 4556 h 10000"/>
                <a:gd name="connsiteX28" fmla="*/ 4163 w 9464"/>
                <a:gd name="connsiteY28" fmla="*/ 6038 h 10000"/>
                <a:gd name="connsiteX29" fmla="*/ 4236 w 9464"/>
                <a:gd name="connsiteY29" fmla="*/ 6298 h 10000"/>
                <a:gd name="connsiteX30" fmla="*/ 4221 w 9464"/>
                <a:gd name="connsiteY30" fmla="*/ 6865 h 10000"/>
                <a:gd name="connsiteX31" fmla="*/ 4178 w 9464"/>
                <a:gd name="connsiteY31" fmla="*/ 8202 h 10000"/>
                <a:gd name="connsiteX32" fmla="*/ 4178 w 9464"/>
                <a:gd name="connsiteY32" fmla="*/ 8293 h 10000"/>
                <a:gd name="connsiteX33" fmla="*/ 3914 w 9464"/>
                <a:gd name="connsiteY33" fmla="*/ 9873 h 10000"/>
                <a:gd name="connsiteX34" fmla="*/ 3886 w 9464"/>
                <a:gd name="connsiteY34" fmla="*/ 9891 h 10000"/>
                <a:gd name="connsiteX35" fmla="*/ 3797 w 9464"/>
                <a:gd name="connsiteY35" fmla="*/ 9864 h 10000"/>
                <a:gd name="connsiteX36" fmla="*/ 3548 w 9464"/>
                <a:gd name="connsiteY36" fmla="*/ 8185 h 10000"/>
                <a:gd name="connsiteX37" fmla="*/ 3681 w 9464"/>
                <a:gd name="connsiteY37" fmla="*/ 6253 h 10000"/>
                <a:gd name="connsiteX38" fmla="*/ 3797 w 9464"/>
                <a:gd name="connsiteY38" fmla="*/ 5957 h 10000"/>
                <a:gd name="connsiteX39" fmla="*/ 3812 w 9464"/>
                <a:gd name="connsiteY39" fmla="*/ 5885 h 10000"/>
                <a:gd name="connsiteX40" fmla="*/ 3491 w 9464"/>
                <a:gd name="connsiteY40" fmla="*/ 4098 h 10000"/>
                <a:gd name="connsiteX41" fmla="*/ 3344 w 9464"/>
                <a:gd name="connsiteY41" fmla="*/ 3073 h 10000"/>
                <a:gd name="connsiteX42" fmla="*/ 3695 w 9464"/>
                <a:gd name="connsiteY42" fmla="*/ 2004 h 10000"/>
                <a:gd name="connsiteX43" fmla="*/ 3914 w 9464"/>
                <a:gd name="connsiteY43" fmla="*/ 1600 h 10000"/>
                <a:gd name="connsiteX44" fmla="*/ 3958 w 9464"/>
                <a:gd name="connsiteY44" fmla="*/ 1493 h 10000"/>
                <a:gd name="connsiteX45" fmla="*/ 3768 w 9464"/>
                <a:gd name="connsiteY45" fmla="*/ 262 h 10000"/>
                <a:gd name="connsiteX46" fmla="*/ 2818 w 9464"/>
                <a:gd name="connsiteY46" fmla="*/ 1 h 10000"/>
                <a:gd name="connsiteX47" fmla="*/ 2307 w 9464"/>
                <a:gd name="connsiteY47" fmla="*/ 136 h 10000"/>
                <a:gd name="connsiteX48" fmla="*/ 2190 w 9464"/>
                <a:gd name="connsiteY48" fmla="*/ 621 h 10000"/>
                <a:gd name="connsiteX49" fmla="*/ 2044 w 9464"/>
                <a:gd name="connsiteY49" fmla="*/ 999 h 10000"/>
                <a:gd name="connsiteX50" fmla="*/ 1358 w 9464"/>
                <a:gd name="connsiteY50" fmla="*/ 703 h 10000"/>
                <a:gd name="connsiteX51" fmla="*/ 468 w 9464"/>
                <a:gd name="connsiteY51" fmla="*/ 307 h 10000"/>
                <a:gd name="connsiteX52" fmla="*/ 28 w 9464"/>
                <a:gd name="connsiteY52" fmla="*/ 280 h 10000"/>
                <a:gd name="connsiteX53" fmla="*/ 28 w 9464"/>
                <a:gd name="connsiteY53" fmla="*/ 280 h 10000"/>
                <a:gd name="connsiteX54" fmla="*/ 379 w 9464"/>
                <a:gd name="connsiteY54" fmla="*/ 432 h 10000"/>
                <a:gd name="connsiteX55" fmla="*/ 0 w 9464"/>
                <a:gd name="connsiteY55" fmla="*/ 603 h 10000"/>
                <a:gd name="connsiteX56" fmla="*/ 0 w 9464"/>
                <a:gd name="connsiteY56" fmla="*/ 603 h 10000"/>
                <a:gd name="connsiteX57" fmla="*/ 481 w 9464"/>
                <a:gd name="connsiteY57" fmla="*/ 586 h 10000"/>
                <a:gd name="connsiteX58" fmla="*/ 1051 w 9464"/>
                <a:gd name="connsiteY58" fmla="*/ 864 h 10000"/>
                <a:gd name="connsiteX59" fmla="*/ 2177 w 9464"/>
                <a:gd name="connsiteY59" fmla="*/ 1233 h 10000"/>
                <a:gd name="connsiteX60" fmla="*/ 2585 w 9464"/>
                <a:gd name="connsiteY60" fmla="*/ 594 h 10000"/>
                <a:gd name="connsiteX61" fmla="*/ 2614 w 9464"/>
                <a:gd name="connsiteY61" fmla="*/ 298 h 10000"/>
                <a:gd name="connsiteX62" fmla="*/ 2848 w 9464"/>
                <a:gd name="connsiteY62" fmla="*/ 253 h 10000"/>
                <a:gd name="connsiteX63" fmla="*/ 3460 w 9464"/>
                <a:gd name="connsiteY63" fmla="*/ 414 h 10000"/>
                <a:gd name="connsiteX64" fmla="*/ 3593 w 9464"/>
                <a:gd name="connsiteY64" fmla="*/ 1421 h 10000"/>
                <a:gd name="connsiteX65" fmla="*/ 3534 w 9464"/>
                <a:gd name="connsiteY65" fmla="*/ 1528 h 10000"/>
                <a:gd name="connsiteX66" fmla="*/ 3344 w 9464"/>
                <a:gd name="connsiteY66" fmla="*/ 1889 h 10000"/>
                <a:gd name="connsiteX67" fmla="*/ 2950 w 9464"/>
                <a:gd name="connsiteY67" fmla="*/ 3109 h 10000"/>
                <a:gd name="connsiteX68" fmla="*/ 3111 w 9464"/>
                <a:gd name="connsiteY68" fmla="*/ 4170 h 10000"/>
                <a:gd name="connsiteX69" fmla="*/ 3417 w 9464"/>
                <a:gd name="connsiteY69" fmla="*/ 5859 h 10000"/>
                <a:gd name="connsiteX70" fmla="*/ 3403 w 9464"/>
                <a:gd name="connsiteY70" fmla="*/ 5930 h 10000"/>
                <a:gd name="connsiteX71" fmla="*/ 3505 w 9464"/>
                <a:gd name="connsiteY71" fmla="*/ 6253 h 10000"/>
                <a:gd name="connsiteX72" fmla="*/ 3373 w 9464"/>
                <a:gd name="connsiteY72" fmla="*/ 8185 h 10000"/>
                <a:gd name="connsiteX73" fmla="*/ 3681 w 9464"/>
                <a:gd name="connsiteY73" fmla="*/ 9946 h 10000"/>
                <a:gd name="connsiteX74" fmla="*/ 3886 w 9464"/>
                <a:gd name="connsiteY74" fmla="*/ 10000 h 10000"/>
                <a:gd name="connsiteX75" fmla="*/ 4046 w 9464"/>
                <a:gd name="connsiteY75" fmla="*/ 9954 h 10000"/>
                <a:gd name="connsiteX76" fmla="*/ 4352 w 9464"/>
                <a:gd name="connsiteY76" fmla="*/ 8293 h 10000"/>
                <a:gd name="connsiteX77" fmla="*/ 4352 w 9464"/>
                <a:gd name="connsiteY77" fmla="*/ 8202 h 10000"/>
                <a:gd name="connsiteX78" fmla="*/ 4397 w 9464"/>
                <a:gd name="connsiteY78" fmla="*/ 6865 h 10000"/>
                <a:gd name="connsiteX79" fmla="*/ 4425 w 9464"/>
                <a:gd name="connsiteY79" fmla="*/ 6308 h 10000"/>
                <a:gd name="connsiteX80" fmla="*/ 4557 w 9464"/>
                <a:gd name="connsiteY80" fmla="*/ 6038 h 10000"/>
                <a:gd name="connsiteX81" fmla="*/ 5126 w 9464"/>
                <a:gd name="connsiteY81" fmla="*/ 4763 h 10000"/>
                <a:gd name="connsiteX82" fmla="*/ 5608 w 9464"/>
                <a:gd name="connsiteY82" fmla="*/ 4474 h 10000"/>
                <a:gd name="connsiteX83" fmla="*/ 5331 w 9464"/>
                <a:gd name="connsiteY83" fmla="*/ 3577 h 10000"/>
                <a:gd name="connsiteX84" fmla="*/ 4952 w 9464"/>
                <a:gd name="connsiteY84" fmla="*/ 3288 h 10000"/>
                <a:gd name="connsiteX85" fmla="*/ 4804 w 9464"/>
                <a:gd name="connsiteY85" fmla="*/ 2940 h 10000"/>
                <a:gd name="connsiteX86" fmla="*/ 5389 w 9464"/>
                <a:gd name="connsiteY86" fmla="*/ 2714 h 10000"/>
                <a:gd name="connsiteX87" fmla="*/ 6513 w 9464"/>
                <a:gd name="connsiteY87" fmla="*/ 2094 h 10000"/>
                <a:gd name="connsiteX88" fmla="*/ 6485 w 9464"/>
                <a:gd name="connsiteY88" fmla="*/ 1501 h 10000"/>
                <a:gd name="connsiteX89" fmla="*/ 6207 w 9464"/>
                <a:gd name="connsiteY89" fmla="*/ 1367 h 10000"/>
                <a:gd name="connsiteX90" fmla="*/ 5316 w 9464"/>
                <a:gd name="connsiteY90" fmla="*/ 1564 h 10000"/>
                <a:gd name="connsiteX91" fmla="*/ 4965 w 9464"/>
                <a:gd name="connsiteY91" fmla="*/ 1691 h 10000"/>
                <a:gd name="connsiteX92" fmla="*/ 4849 w 9464"/>
                <a:gd name="connsiteY92" fmla="*/ 1592 h 10000"/>
                <a:gd name="connsiteX93" fmla="*/ 5301 w 9464"/>
                <a:gd name="connsiteY93" fmla="*/ 1286 h 10000"/>
                <a:gd name="connsiteX94" fmla="*/ 5754 w 9464"/>
                <a:gd name="connsiteY94" fmla="*/ 1079 h 10000"/>
                <a:gd name="connsiteX95" fmla="*/ 6060 w 9464"/>
                <a:gd name="connsiteY95" fmla="*/ 666 h 10000"/>
                <a:gd name="connsiteX96" fmla="*/ 6528 w 9464"/>
                <a:gd name="connsiteY96" fmla="*/ 361 h 10000"/>
                <a:gd name="connsiteX97" fmla="*/ 7055 w 9464"/>
                <a:gd name="connsiteY97" fmla="*/ 460 h 10000"/>
                <a:gd name="connsiteX98" fmla="*/ 7332 w 9464"/>
                <a:gd name="connsiteY98" fmla="*/ 1187 h 10000"/>
                <a:gd name="connsiteX99" fmla="*/ 6689 w 9464"/>
                <a:gd name="connsiteY99" fmla="*/ 2202 h 10000"/>
                <a:gd name="connsiteX100" fmla="*/ 6587 w 9464"/>
                <a:gd name="connsiteY100" fmla="*/ 3065 h 10000"/>
                <a:gd name="connsiteX101" fmla="*/ 7477 w 9464"/>
                <a:gd name="connsiteY101" fmla="*/ 3416 h 10000"/>
                <a:gd name="connsiteX102" fmla="*/ 8047 w 9464"/>
                <a:gd name="connsiteY102" fmla="*/ 3900 h 10000"/>
                <a:gd name="connsiteX103" fmla="*/ 8880 w 9464"/>
                <a:gd name="connsiteY103" fmla="*/ 4322 h 10000"/>
                <a:gd name="connsiteX104" fmla="*/ 9011 w 9464"/>
                <a:gd name="connsiteY104" fmla="*/ 4474 h 10000"/>
                <a:gd name="connsiteX0" fmla="*/ 9521 w 9523"/>
                <a:gd name="connsiteY0" fmla="*/ 4474 h 10000"/>
                <a:gd name="connsiteX1" fmla="*/ 9476 w 9523"/>
                <a:gd name="connsiteY1" fmla="*/ 3666 h 10000"/>
                <a:gd name="connsiteX2" fmla="*/ 9476 w 9523"/>
                <a:gd name="connsiteY2" fmla="*/ 3666 h 10000"/>
                <a:gd name="connsiteX3" fmla="*/ 9491 w 9523"/>
                <a:gd name="connsiteY3" fmla="*/ 4009 h 10000"/>
                <a:gd name="connsiteX4" fmla="*/ 9414 w 9523"/>
                <a:gd name="connsiteY4" fmla="*/ 4053 h 10000"/>
                <a:gd name="connsiteX5" fmla="*/ 8858 w 9523"/>
                <a:gd name="connsiteY5" fmla="*/ 3793 h 10000"/>
                <a:gd name="connsiteX6" fmla="*/ 8425 w 9523"/>
                <a:gd name="connsiteY6" fmla="*/ 3442 h 10000"/>
                <a:gd name="connsiteX7" fmla="*/ 7716 w 9523"/>
                <a:gd name="connsiteY7" fmla="*/ 3109 h 10000"/>
                <a:gd name="connsiteX8" fmla="*/ 7346 w 9523"/>
                <a:gd name="connsiteY8" fmla="*/ 2382 h 10000"/>
                <a:gd name="connsiteX9" fmla="*/ 8163 w 9523"/>
                <a:gd name="connsiteY9" fmla="*/ 1187 h 10000"/>
                <a:gd name="connsiteX10" fmla="*/ 7747 w 9523"/>
                <a:gd name="connsiteY10" fmla="*/ 280 h 10000"/>
                <a:gd name="connsiteX11" fmla="*/ 6882 w 9523"/>
                <a:gd name="connsiteY11" fmla="*/ 118 h 10000"/>
                <a:gd name="connsiteX12" fmla="*/ 5987 w 9523"/>
                <a:gd name="connsiteY12" fmla="*/ 621 h 10000"/>
                <a:gd name="connsiteX13" fmla="*/ 5786 w 9523"/>
                <a:gd name="connsiteY13" fmla="*/ 908 h 10000"/>
                <a:gd name="connsiteX14" fmla="*/ 5386 w 9523"/>
                <a:gd name="connsiteY14" fmla="*/ 1079 h 10000"/>
                <a:gd name="connsiteX15" fmla="*/ 4738 w 9523"/>
                <a:gd name="connsiteY15" fmla="*/ 1754 h 10000"/>
                <a:gd name="connsiteX16" fmla="*/ 4984 w 9523"/>
                <a:gd name="connsiteY16" fmla="*/ 1933 h 10000"/>
                <a:gd name="connsiteX17" fmla="*/ 5848 w 9523"/>
                <a:gd name="connsiteY17" fmla="*/ 1772 h 10000"/>
                <a:gd name="connsiteX18" fmla="*/ 6327 w 9523"/>
                <a:gd name="connsiteY18" fmla="*/ 1610 h 10000"/>
                <a:gd name="connsiteX19" fmla="*/ 6496 w 9523"/>
                <a:gd name="connsiteY19" fmla="*/ 1626 h 10000"/>
                <a:gd name="connsiteX20" fmla="*/ 6496 w 9523"/>
                <a:gd name="connsiteY20" fmla="*/ 1996 h 10000"/>
                <a:gd name="connsiteX21" fmla="*/ 5571 w 9523"/>
                <a:gd name="connsiteY21" fmla="*/ 2481 h 10000"/>
                <a:gd name="connsiteX22" fmla="*/ 4691 w 9523"/>
                <a:gd name="connsiteY22" fmla="*/ 2858 h 10000"/>
                <a:gd name="connsiteX23" fmla="*/ 4861 w 9523"/>
                <a:gd name="connsiteY23" fmla="*/ 3424 h 10000"/>
                <a:gd name="connsiteX24" fmla="*/ 5324 w 9523"/>
                <a:gd name="connsiteY24" fmla="*/ 3747 h 10000"/>
                <a:gd name="connsiteX25" fmla="*/ 5586 w 9523"/>
                <a:gd name="connsiteY25" fmla="*/ 4340 h 10000"/>
                <a:gd name="connsiteX26" fmla="*/ 5184 w 9523"/>
                <a:gd name="connsiteY26" fmla="*/ 4556 h 10000"/>
                <a:gd name="connsiteX27" fmla="*/ 4399 w 9523"/>
                <a:gd name="connsiteY27" fmla="*/ 6038 h 10000"/>
                <a:gd name="connsiteX28" fmla="*/ 4476 w 9523"/>
                <a:gd name="connsiteY28" fmla="*/ 6298 h 10000"/>
                <a:gd name="connsiteX29" fmla="*/ 4460 w 9523"/>
                <a:gd name="connsiteY29" fmla="*/ 6865 h 10000"/>
                <a:gd name="connsiteX30" fmla="*/ 4415 w 9523"/>
                <a:gd name="connsiteY30" fmla="*/ 8202 h 10000"/>
                <a:gd name="connsiteX31" fmla="*/ 4415 w 9523"/>
                <a:gd name="connsiteY31" fmla="*/ 8293 h 10000"/>
                <a:gd name="connsiteX32" fmla="*/ 4136 w 9523"/>
                <a:gd name="connsiteY32" fmla="*/ 9873 h 10000"/>
                <a:gd name="connsiteX33" fmla="*/ 4106 w 9523"/>
                <a:gd name="connsiteY33" fmla="*/ 9891 h 10000"/>
                <a:gd name="connsiteX34" fmla="*/ 4012 w 9523"/>
                <a:gd name="connsiteY34" fmla="*/ 9864 h 10000"/>
                <a:gd name="connsiteX35" fmla="*/ 3749 w 9523"/>
                <a:gd name="connsiteY35" fmla="*/ 8185 h 10000"/>
                <a:gd name="connsiteX36" fmla="*/ 3889 w 9523"/>
                <a:gd name="connsiteY36" fmla="*/ 6253 h 10000"/>
                <a:gd name="connsiteX37" fmla="*/ 4012 w 9523"/>
                <a:gd name="connsiteY37" fmla="*/ 5957 h 10000"/>
                <a:gd name="connsiteX38" fmla="*/ 4028 w 9523"/>
                <a:gd name="connsiteY38" fmla="*/ 5885 h 10000"/>
                <a:gd name="connsiteX39" fmla="*/ 3689 w 9523"/>
                <a:gd name="connsiteY39" fmla="*/ 4098 h 10000"/>
                <a:gd name="connsiteX40" fmla="*/ 3533 w 9523"/>
                <a:gd name="connsiteY40" fmla="*/ 3073 h 10000"/>
                <a:gd name="connsiteX41" fmla="*/ 3904 w 9523"/>
                <a:gd name="connsiteY41" fmla="*/ 2004 h 10000"/>
                <a:gd name="connsiteX42" fmla="*/ 4136 w 9523"/>
                <a:gd name="connsiteY42" fmla="*/ 1600 h 10000"/>
                <a:gd name="connsiteX43" fmla="*/ 4182 w 9523"/>
                <a:gd name="connsiteY43" fmla="*/ 1493 h 10000"/>
                <a:gd name="connsiteX44" fmla="*/ 3981 w 9523"/>
                <a:gd name="connsiteY44" fmla="*/ 262 h 10000"/>
                <a:gd name="connsiteX45" fmla="*/ 2978 w 9523"/>
                <a:gd name="connsiteY45" fmla="*/ 1 h 10000"/>
                <a:gd name="connsiteX46" fmla="*/ 2438 w 9523"/>
                <a:gd name="connsiteY46" fmla="*/ 136 h 10000"/>
                <a:gd name="connsiteX47" fmla="*/ 2314 w 9523"/>
                <a:gd name="connsiteY47" fmla="*/ 621 h 10000"/>
                <a:gd name="connsiteX48" fmla="*/ 2160 w 9523"/>
                <a:gd name="connsiteY48" fmla="*/ 999 h 10000"/>
                <a:gd name="connsiteX49" fmla="*/ 1435 w 9523"/>
                <a:gd name="connsiteY49" fmla="*/ 703 h 10000"/>
                <a:gd name="connsiteX50" fmla="*/ 495 w 9523"/>
                <a:gd name="connsiteY50" fmla="*/ 307 h 10000"/>
                <a:gd name="connsiteX51" fmla="*/ 30 w 9523"/>
                <a:gd name="connsiteY51" fmla="*/ 280 h 10000"/>
                <a:gd name="connsiteX52" fmla="*/ 30 w 9523"/>
                <a:gd name="connsiteY52" fmla="*/ 280 h 10000"/>
                <a:gd name="connsiteX53" fmla="*/ 400 w 9523"/>
                <a:gd name="connsiteY53" fmla="*/ 432 h 10000"/>
                <a:gd name="connsiteX54" fmla="*/ 0 w 9523"/>
                <a:gd name="connsiteY54" fmla="*/ 603 h 10000"/>
                <a:gd name="connsiteX55" fmla="*/ 0 w 9523"/>
                <a:gd name="connsiteY55" fmla="*/ 603 h 10000"/>
                <a:gd name="connsiteX56" fmla="*/ 508 w 9523"/>
                <a:gd name="connsiteY56" fmla="*/ 586 h 10000"/>
                <a:gd name="connsiteX57" fmla="*/ 1111 w 9523"/>
                <a:gd name="connsiteY57" fmla="*/ 864 h 10000"/>
                <a:gd name="connsiteX58" fmla="*/ 2300 w 9523"/>
                <a:gd name="connsiteY58" fmla="*/ 1233 h 10000"/>
                <a:gd name="connsiteX59" fmla="*/ 2731 w 9523"/>
                <a:gd name="connsiteY59" fmla="*/ 594 h 10000"/>
                <a:gd name="connsiteX60" fmla="*/ 2762 w 9523"/>
                <a:gd name="connsiteY60" fmla="*/ 298 h 10000"/>
                <a:gd name="connsiteX61" fmla="*/ 3009 w 9523"/>
                <a:gd name="connsiteY61" fmla="*/ 253 h 10000"/>
                <a:gd name="connsiteX62" fmla="*/ 3656 w 9523"/>
                <a:gd name="connsiteY62" fmla="*/ 414 h 10000"/>
                <a:gd name="connsiteX63" fmla="*/ 3796 w 9523"/>
                <a:gd name="connsiteY63" fmla="*/ 1421 h 10000"/>
                <a:gd name="connsiteX64" fmla="*/ 3734 w 9523"/>
                <a:gd name="connsiteY64" fmla="*/ 1528 h 10000"/>
                <a:gd name="connsiteX65" fmla="*/ 3533 w 9523"/>
                <a:gd name="connsiteY65" fmla="*/ 1889 h 10000"/>
                <a:gd name="connsiteX66" fmla="*/ 3117 w 9523"/>
                <a:gd name="connsiteY66" fmla="*/ 3109 h 10000"/>
                <a:gd name="connsiteX67" fmla="*/ 3287 w 9523"/>
                <a:gd name="connsiteY67" fmla="*/ 4170 h 10000"/>
                <a:gd name="connsiteX68" fmla="*/ 3611 w 9523"/>
                <a:gd name="connsiteY68" fmla="*/ 5859 h 10000"/>
                <a:gd name="connsiteX69" fmla="*/ 3596 w 9523"/>
                <a:gd name="connsiteY69" fmla="*/ 5930 h 10000"/>
                <a:gd name="connsiteX70" fmla="*/ 3704 w 9523"/>
                <a:gd name="connsiteY70" fmla="*/ 6253 h 10000"/>
                <a:gd name="connsiteX71" fmla="*/ 3564 w 9523"/>
                <a:gd name="connsiteY71" fmla="*/ 8185 h 10000"/>
                <a:gd name="connsiteX72" fmla="*/ 3889 w 9523"/>
                <a:gd name="connsiteY72" fmla="*/ 9946 h 10000"/>
                <a:gd name="connsiteX73" fmla="*/ 4106 w 9523"/>
                <a:gd name="connsiteY73" fmla="*/ 10000 h 10000"/>
                <a:gd name="connsiteX74" fmla="*/ 4275 w 9523"/>
                <a:gd name="connsiteY74" fmla="*/ 9954 h 10000"/>
                <a:gd name="connsiteX75" fmla="*/ 4598 w 9523"/>
                <a:gd name="connsiteY75" fmla="*/ 8293 h 10000"/>
                <a:gd name="connsiteX76" fmla="*/ 4598 w 9523"/>
                <a:gd name="connsiteY76" fmla="*/ 8202 h 10000"/>
                <a:gd name="connsiteX77" fmla="*/ 4646 w 9523"/>
                <a:gd name="connsiteY77" fmla="*/ 6865 h 10000"/>
                <a:gd name="connsiteX78" fmla="*/ 4676 w 9523"/>
                <a:gd name="connsiteY78" fmla="*/ 6308 h 10000"/>
                <a:gd name="connsiteX79" fmla="*/ 4815 w 9523"/>
                <a:gd name="connsiteY79" fmla="*/ 6038 h 10000"/>
                <a:gd name="connsiteX80" fmla="*/ 5416 w 9523"/>
                <a:gd name="connsiteY80" fmla="*/ 4763 h 10000"/>
                <a:gd name="connsiteX81" fmla="*/ 5926 w 9523"/>
                <a:gd name="connsiteY81" fmla="*/ 4474 h 10000"/>
                <a:gd name="connsiteX82" fmla="*/ 5633 w 9523"/>
                <a:gd name="connsiteY82" fmla="*/ 3577 h 10000"/>
                <a:gd name="connsiteX83" fmla="*/ 5232 w 9523"/>
                <a:gd name="connsiteY83" fmla="*/ 3288 h 10000"/>
                <a:gd name="connsiteX84" fmla="*/ 5076 w 9523"/>
                <a:gd name="connsiteY84" fmla="*/ 2940 h 10000"/>
                <a:gd name="connsiteX85" fmla="*/ 5694 w 9523"/>
                <a:gd name="connsiteY85" fmla="*/ 2714 h 10000"/>
                <a:gd name="connsiteX86" fmla="*/ 6882 w 9523"/>
                <a:gd name="connsiteY86" fmla="*/ 2094 h 10000"/>
                <a:gd name="connsiteX87" fmla="*/ 6852 w 9523"/>
                <a:gd name="connsiteY87" fmla="*/ 1501 h 10000"/>
                <a:gd name="connsiteX88" fmla="*/ 6559 w 9523"/>
                <a:gd name="connsiteY88" fmla="*/ 1367 h 10000"/>
                <a:gd name="connsiteX89" fmla="*/ 5617 w 9523"/>
                <a:gd name="connsiteY89" fmla="*/ 1564 h 10000"/>
                <a:gd name="connsiteX90" fmla="*/ 5246 w 9523"/>
                <a:gd name="connsiteY90" fmla="*/ 1691 h 10000"/>
                <a:gd name="connsiteX91" fmla="*/ 5124 w 9523"/>
                <a:gd name="connsiteY91" fmla="*/ 1592 h 10000"/>
                <a:gd name="connsiteX92" fmla="*/ 5601 w 9523"/>
                <a:gd name="connsiteY92" fmla="*/ 1286 h 10000"/>
                <a:gd name="connsiteX93" fmla="*/ 6080 w 9523"/>
                <a:gd name="connsiteY93" fmla="*/ 1079 h 10000"/>
                <a:gd name="connsiteX94" fmla="*/ 6403 w 9523"/>
                <a:gd name="connsiteY94" fmla="*/ 666 h 10000"/>
                <a:gd name="connsiteX95" fmla="*/ 6898 w 9523"/>
                <a:gd name="connsiteY95" fmla="*/ 361 h 10000"/>
                <a:gd name="connsiteX96" fmla="*/ 7455 w 9523"/>
                <a:gd name="connsiteY96" fmla="*/ 460 h 10000"/>
                <a:gd name="connsiteX97" fmla="*/ 7747 w 9523"/>
                <a:gd name="connsiteY97" fmla="*/ 1187 h 10000"/>
                <a:gd name="connsiteX98" fmla="*/ 7068 w 9523"/>
                <a:gd name="connsiteY98" fmla="*/ 2202 h 10000"/>
                <a:gd name="connsiteX99" fmla="*/ 6960 w 9523"/>
                <a:gd name="connsiteY99" fmla="*/ 3065 h 10000"/>
                <a:gd name="connsiteX100" fmla="*/ 7900 w 9523"/>
                <a:gd name="connsiteY100" fmla="*/ 3416 h 10000"/>
                <a:gd name="connsiteX101" fmla="*/ 8503 w 9523"/>
                <a:gd name="connsiteY101" fmla="*/ 3900 h 10000"/>
                <a:gd name="connsiteX102" fmla="*/ 9383 w 9523"/>
                <a:gd name="connsiteY102" fmla="*/ 4322 h 10000"/>
                <a:gd name="connsiteX103" fmla="*/ 9521 w 9523"/>
                <a:gd name="connsiteY103" fmla="*/ 4474 h 10000"/>
                <a:gd name="connsiteX0" fmla="*/ 9998 w 10001"/>
                <a:gd name="connsiteY0" fmla="*/ 4474 h 10000"/>
                <a:gd name="connsiteX1" fmla="*/ 9951 w 10001"/>
                <a:gd name="connsiteY1" fmla="*/ 3666 h 10000"/>
                <a:gd name="connsiteX2" fmla="*/ 9966 w 10001"/>
                <a:gd name="connsiteY2" fmla="*/ 4009 h 10000"/>
                <a:gd name="connsiteX3" fmla="*/ 9886 w 10001"/>
                <a:gd name="connsiteY3" fmla="*/ 4053 h 10000"/>
                <a:gd name="connsiteX4" fmla="*/ 9302 w 10001"/>
                <a:gd name="connsiteY4" fmla="*/ 3793 h 10000"/>
                <a:gd name="connsiteX5" fmla="*/ 8847 w 10001"/>
                <a:gd name="connsiteY5" fmla="*/ 3442 h 10000"/>
                <a:gd name="connsiteX6" fmla="*/ 8102 w 10001"/>
                <a:gd name="connsiteY6" fmla="*/ 3109 h 10000"/>
                <a:gd name="connsiteX7" fmla="*/ 7714 w 10001"/>
                <a:gd name="connsiteY7" fmla="*/ 2382 h 10000"/>
                <a:gd name="connsiteX8" fmla="*/ 8572 w 10001"/>
                <a:gd name="connsiteY8" fmla="*/ 1187 h 10000"/>
                <a:gd name="connsiteX9" fmla="*/ 8135 w 10001"/>
                <a:gd name="connsiteY9" fmla="*/ 280 h 10000"/>
                <a:gd name="connsiteX10" fmla="*/ 7227 w 10001"/>
                <a:gd name="connsiteY10" fmla="*/ 118 h 10000"/>
                <a:gd name="connsiteX11" fmla="*/ 6287 w 10001"/>
                <a:gd name="connsiteY11" fmla="*/ 621 h 10000"/>
                <a:gd name="connsiteX12" fmla="*/ 6076 w 10001"/>
                <a:gd name="connsiteY12" fmla="*/ 908 h 10000"/>
                <a:gd name="connsiteX13" fmla="*/ 5656 w 10001"/>
                <a:gd name="connsiteY13" fmla="*/ 1079 h 10000"/>
                <a:gd name="connsiteX14" fmla="*/ 4975 w 10001"/>
                <a:gd name="connsiteY14" fmla="*/ 1754 h 10000"/>
                <a:gd name="connsiteX15" fmla="*/ 5234 w 10001"/>
                <a:gd name="connsiteY15" fmla="*/ 1933 h 10000"/>
                <a:gd name="connsiteX16" fmla="*/ 6141 w 10001"/>
                <a:gd name="connsiteY16" fmla="*/ 1772 h 10000"/>
                <a:gd name="connsiteX17" fmla="*/ 6644 w 10001"/>
                <a:gd name="connsiteY17" fmla="*/ 1610 h 10000"/>
                <a:gd name="connsiteX18" fmla="*/ 6821 w 10001"/>
                <a:gd name="connsiteY18" fmla="*/ 1626 h 10000"/>
                <a:gd name="connsiteX19" fmla="*/ 6821 w 10001"/>
                <a:gd name="connsiteY19" fmla="*/ 1996 h 10000"/>
                <a:gd name="connsiteX20" fmla="*/ 5850 w 10001"/>
                <a:gd name="connsiteY20" fmla="*/ 2481 h 10000"/>
                <a:gd name="connsiteX21" fmla="*/ 4926 w 10001"/>
                <a:gd name="connsiteY21" fmla="*/ 2858 h 10000"/>
                <a:gd name="connsiteX22" fmla="*/ 5104 w 10001"/>
                <a:gd name="connsiteY22" fmla="*/ 3424 h 10000"/>
                <a:gd name="connsiteX23" fmla="*/ 5591 w 10001"/>
                <a:gd name="connsiteY23" fmla="*/ 3747 h 10000"/>
                <a:gd name="connsiteX24" fmla="*/ 5866 w 10001"/>
                <a:gd name="connsiteY24" fmla="*/ 4340 h 10000"/>
                <a:gd name="connsiteX25" fmla="*/ 5444 w 10001"/>
                <a:gd name="connsiteY25" fmla="*/ 4556 h 10000"/>
                <a:gd name="connsiteX26" fmla="*/ 4619 w 10001"/>
                <a:gd name="connsiteY26" fmla="*/ 6038 h 10000"/>
                <a:gd name="connsiteX27" fmla="*/ 4700 w 10001"/>
                <a:gd name="connsiteY27" fmla="*/ 6298 h 10000"/>
                <a:gd name="connsiteX28" fmla="*/ 4683 w 10001"/>
                <a:gd name="connsiteY28" fmla="*/ 6865 h 10000"/>
                <a:gd name="connsiteX29" fmla="*/ 4636 w 10001"/>
                <a:gd name="connsiteY29" fmla="*/ 8202 h 10000"/>
                <a:gd name="connsiteX30" fmla="*/ 4636 w 10001"/>
                <a:gd name="connsiteY30" fmla="*/ 8293 h 10000"/>
                <a:gd name="connsiteX31" fmla="*/ 4343 w 10001"/>
                <a:gd name="connsiteY31" fmla="*/ 9873 h 10000"/>
                <a:gd name="connsiteX32" fmla="*/ 4312 w 10001"/>
                <a:gd name="connsiteY32" fmla="*/ 9891 h 10000"/>
                <a:gd name="connsiteX33" fmla="*/ 4213 w 10001"/>
                <a:gd name="connsiteY33" fmla="*/ 9864 h 10000"/>
                <a:gd name="connsiteX34" fmla="*/ 3937 w 10001"/>
                <a:gd name="connsiteY34" fmla="*/ 8185 h 10000"/>
                <a:gd name="connsiteX35" fmla="*/ 4084 w 10001"/>
                <a:gd name="connsiteY35" fmla="*/ 6253 h 10000"/>
                <a:gd name="connsiteX36" fmla="*/ 4213 w 10001"/>
                <a:gd name="connsiteY36" fmla="*/ 5957 h 10000"/>
                <a:gd name="connsiteX37" fmla="*/ 4230 w 10001"/>
                <a:gd name="connsiteY37" fmla="*/ 5885 h 10000"/>
                <a:gd name="connsiteX38" fmla="*/ 3874 w 10001"/>
                <a:gd name="connsiteY38" fmla="*/ 4098 h 10000"/>
                <a:gd name="connsiteX39" fmla="*/ 3710 w 10001"/>
                <a:gd name="connsiteY39" fmla="*/ 3073 h 10000"/>
                <a:gd name="connsiteX40" fmla="*/ 4100 w 10001"/>
                <a:gd name="connsiteY40" fmla="*/ 2004 h 10000"/>
                <a:gd name="connsiteX41" fmla="*/ 4343 w 10001"/>
                <a:gd name="connsiteY41" fmla="*/ 1600 h 10000"/>
                <a:gd name="connsiteX42" fmla="*/ 4391 w 10001"/>
                <a:gd name="connsiteY42" fmla="*/ 1493 h 10000"/>
                <a:gd name="connsiteX43" fmla="*/ 4180 w 10001"/>
                <a:gd name="connsiteY43" fmla="*/ 262 h 10000"/>
                <a:gd name="connsiteX44" fmla="*/ 3127 w 10001"/>
                <a:gd name="connsiteY44" fmla="*/ 1 h 10000"/>
                <a:gd name="connsiteX45" fmla="*/ 2560 w 10001"/>
                <a:gd name="connsiteY45" fmla="*/ 136 h 10000"/>
                <a:gd name="connsiteX46" fmla="*/ 2430 w 10001"/>
                <a:gd name="connsiteY46" fmla="*/ 621 h 10000"/>
                <a:gd name="connsiteX47" fmla="*/ 2268 w 10001"/>
                <a:gd name="connsiteY47" fmla="*/ 999 h 10000"/>
                <a:gd name="connsiteX48" fmla="*/ 1507 w 10001"/>
                <a:gd name="connsiteY48" fmla="*/ 703 h 10000"/>
                <a:gd name="connsiteX49" fmla="*/ 520 w 10001"/>
                <a:gd name="connsiteY49" fmla="*/ 307 h 10000"/>
                <a:gd name="connsiteX50" fmla="*/ 32 w 10001"/>
                <a:gd name="connsiteY50" fmla="*/ 280 h 10000"/>
                <a:gd name="connsiteX51" fmla="*/ 32 w 10001"/>
                <a:gd name="connsiteY51" fmla="*/ 280 h 10000"/>
                <a:gd name="connsiteX52" fmla="*/ 420 w 10001"/>
                <a:gd name="connsiteY52" fmla="*/ 432 h 10000"/>
                <a:gd name="connsiteX53" fmla="*/ 0 w 10001"/>
                <a:gd name="connsiteY53" fmla="*/ 603 h 10000"/>
                <a:gd name="connsiteX54" fmla="*/ 0 w 10001"/>
                <a:gd name="connsiteY54" fmla="*/ 603 h 10000"/>
                <a:gd name="connsiteX55" fmla="*/ 533 w 10001"/>
                <a:gd name="connsiteY55" fmla="*/ 586 h 10000"/>
                <a:gd name="connsiteX56" fmla="*/ 1167 w 10001"/>
                <a:gd name="connsiteY56" fmla="*/ 864 h 10000"/>
                <a:gd name="connsiteX57" fmla="*/ 2415 w 10001"/>
                <a:gd name="connsiteY57" fmla="*/ 1233 h 10000"/>
                <a:gd name="connsiteX58" fmla="*/ 2868 w 10001"/>
                <a:gd name="connsiteY58" fmla="*/ 594 h 10000"/>
                <a:gd name="connsiteX59" fmla="*/ 2900 w 10001"/>
                <a:gd name="connsiteY59" fmla="*/ 298 h 10000"/>
                <a:gd name="connsiteX60" fmla="*/ 3160 w 10001"/>
                <a:gd name="connsiteY60" fmla="*/ 253 h 10000"/>
                <a:gd name="connsiteX61" fmla="*/ 3839 w 10001"/>
                <a:gd name="connsiteY61" fmla="*/ 414 h 10000"/>
                <a:gd name="connsiteX62" fmla="*/ 3986 w 10001"/>
                <a:gd name="connsiteY62" fmla="*/ 1421 h 10000"/>
                <a:gd name="connsiteX63" fmla="*/ 3921 w 10001"/>
                <a:gd name="connsiteY63" fmla="*/ 1528 h 10000"/>
                <a:gd name="connsiteX64" fmla="*/ 3710 w 10001"/>
                <a:gd name="connsiteY64" fmla="*/ 1889 h 10000"/>
                <a:gd name="connsiteX65" fmla="*/ 3273 w 10001"/>
                <a:gd name="connsiteY65" fmla="*/ 3109 h 10000"/>
                <a:gd name="connsiteX66" fmla="*/ 3452 w 10001"/>
                <a:gd name="connsiteY66" fmla="*/ 4170 h 10000"/>
                <a:gd name="connsiteX67" fmla="*/ 3792 w 10001"/>
                <a:gd name="connsiteY67" fmla="*/ 5859 h 10000"/>
                <a:gd name="connsiteX68" fmla="*/ 3776 w 10001"/>
                <a:gd name="connsiteY68" fmla="*/ 5930 h 10000"/>
                <a:gd name="connsiteX69" fmla="*/ 3890 w 10001"/>
                <a:gd name="connsiteY69" fmla="*/ 6253 h 10000"/>
                <a:gd name="connsiteX70" fmla="*/ 3743 w 10001"/>
                <a:gd name="connsiteY70" fmla="*/ 8185 h 10000"/>
                <a:gd name="connsiteX71" fmla="*/ 4084 w 10001"/>
                <a:gd name="connsiteY71" fmla="*/ 9946 h 10000"/>
                <a:gd name="connsiteX72" fmla="*/ 4312 w 10001"/>
                <a:gd name="connsiteY72" fmla="*/ 10000 h 10000"/>
                <a:gd name="connsiteX73" fmla="*/ 4489 w 10001"/>
                <a:gd name="connsiteY73" fmla="*/ 9954 h 10000"/>
                <a:gd name="connsiteX74" fmla="*/ 4828 w 10001"/>
                <a:gd name="connsiteY74" fmla="*/ 8293 h 10000"/>
                <a:gd name="connsiteX75" fmla="*/ 4828 w 10001"/>
                <a:gd name="connsiteY75" fmla="*/ 8202 h 10000"/>
                <a:gd name="connsiteX76" fmla="*/ 4879 w 10001"/>
                <a:gd name="connsiteY76" fmla="*/ 6865 h 10000"/>
                <a:gd name="connsiteX77" fmla="*/ 4910 w 10001"/>
                <a:gd name="connsiteY77" fmla="*/ 6308 h 10000"/>
                <a:gd name="connsiteX78" fmla="*/ 5056 w 10001"/>
                <a:gd name="connsiteY78" fmla="*/ 6038 h 10000"/>
                <a:gd name="connsiteX79" fmla="*/ 5687 w 10001"/>
                <a:gd name="connsiteY79" fmla="*/ 4763 h 10000"/>
                <a:gd name="connsiteX80" fmla="*/ 6223 w 10001"/>
                <a:gd name="connsiteY80" fmla="*/ 4474 h 10000"/>
                <a:gd name="connsiteX81" fmla="*/ 5915 w 10001"/>
                <a:gd name="connsiteY81" fmla="*/ 3577 h 10000"/>
                <a:gd name="connsiteX82" fmla="*/ 5494 w 10001"/>
                <a:gd name="connsiteY82" fmla="*/ 3288 h 10000"/>
                <a:gd name="connsiteX83" fmla="*/ 5330 w 10001"/>
                <a:gd name="connsiteY83" fmla="*/ 2940 h 10000"/>
                <a:gd name="connsiteX84" fmla="*/ 5979 w 10001"/>
                <a:gd name="connsiteY84" fmla="*/ 2714 h 10000"/>
                <a:gd name="connsiteX85" fmla="*/ 7227 w 10001"/>
                <a:gd name="connsiteY85" fmla="*/ 2094 h 10000"/>
                <a:gd name="connsiteX86" fmla="*/ 7195 w 10001"/>
                <a:gd name="connsiteY86" fmla="*/ 1501 h 10000"/>
                <a:gd name="connsiteX87" fmla="*/ 6888 w 10001"/>
                <a:gd name="connsiteY87" fmla="*/ 1367 h 10000"/>
                <a:gd name="connsiteX88" fmla="*/ 5898 w 10001"/>
                <a:gd name="connsiteY88" fmla="*/ 1564 h 10000"/>
                <a:gd name="connsiteX89" fmla="*/ 5509 w 10001"/>
                <a:gd name="connsiteY89" fmla="*/ 1691 h 10000"/>
                <a:gd name="connsiteX90" fmla="*/ 5381 w 10001"/>
                <a:gd name="connsiteY90" fmla="*/ 1592 h 10000"/>
                <a:gd name="connsiteX91" fmla="*/ 5882 w 10001"/>
                <a:gd name="connsiteY91" fmla="*/ 1286 h 10000"/>
                <a:gd name="connsiteX92" fmla="*/ 6385 w 10001"/>
                <a:gd name="connsiteY92" fmla="*/ 1079 h 10000"/>
                <a:gd name="connsiteX93" fmla="*/ 6724 w 10001"/>
                <a:gd name="connsiteY93" fmla="*/ 666 h 10000"/>
                <a:gd name="connsiteX94" fmla="*/ 7244 w 10001"/>
                <a:gd name="connsiteY94" fmla="*/ 361 h 10000"/>
                <a:gd name="connsiteX95" fmla="*/ 7828 w 10001"/>
                <a:gd name="connsiteY95" fmla="*/ 460 h 10000"/>
                <a:gd name="connsiteX96" fmla="*/ 8135 w 10001"/>
                <a:gd name="connsiteY96" fmla="*/ 1187 h 10000"/>
                <a:gd name="connsiteX97" fmla="*/ 7422 w 10001"/>
                <a:gd name="connsiteY97" fmla="*/ 2202 h 10000"/>
                <a:gd name="connsiteX98" fmla="*/ 7309 w 10001"/>
                <a:gd name="connsiteY98" fmla="*/ 3065 h 10000"/>
                <a:gd name="connsiteX99" fmla="*/ 8296 w 10001"/>
                <a:gd name="connsiteY99" fmla="*/ 3416 h 10000"/>
                <a:gd name="connsiteX100" fmla="*/ 8929 w 10001"/>
                <a:gd name="connsiteY100" fmla="*/ 3900 h 10000"/>
                <a:gd name="connsiteX101" fmla="*/ 9853 w 10001"/>
                <a:gd name="connsiteY101" fmla="*/ 4322 h 10000"/>
                <a:gd name="connsiteX102" fmla="*/ 9998 w 10001"/>
                <a:gd name="connsiteY102" fmla="*/ 4474 h 10000"/>
                <a:gd name="connsiteX0" fmla="*/ 9998 w 10001"/>
                <a:gd name="connsiteY0" fmla="*/ 4474 h 10000"/>
                <a:gd name="connsiteX1" fmla="*/ 9951 w 10001"/>
                <a:gd name="connsiteY1" fmla="*/ 3666 h 10000"/>
                <a:gd name="connsiteX2" fmla="*/ 9966 w 10001"/>
                <a:gd name="connsiteY2" fmla="*/ 4009 h 10000"/>
                <a:gd name="connsiteX3" fmla="*/ 9302 w 10001"/>
                <a:gd name="connsiteY3" fmla="*/ 3793 h 10000"/>
                <a:gd name="connsiteX4" fmla="*/ 8847 w 10001"/>
                <a:gd name="connsiteY4" fmla="*/ 3442 h 10000"/>
                <a:gd name="connsiteX5" fmla="*/ 8102 w 10001"/>
                <a:gd name="connsiteY5" fmla="*/ 3109 h 10000"/>
                <a:gd name="connsiteX6" fmla="*/ 7714 w 10001"/>
                <a:gd name="connsiteY6" fmla="*/ 2382 h 10000"/>
                <a:gd name="connsiteX7" fmla="*/ 8572 w 10001"/>
                <a:gd name="connsiteY7" fmla="*/ 1187 h 10000"/>
                <a:gd name="connsiteX8" fmla="*/ 8135 w 10001"/>
                <a:gd name="connsiteY8" fmla="*/ 280 h 10000"/>
                <a:gd name="connsiteX9" fmla="*/ 7227 w 10001"/>
                <a:gd name="connsiteY9" fmla="*/ 118 h 10000"/>
                <a:gd name="connsiteX10" fmla="*/ 6287 w 10001"/>
                <a:gd name="connsiteY10" fmla="*/ 621 h 10000"/>
                <a:gd name="connsiteX11" fmla="*/ 6076 w 10001"/>
                <a:gd name="connsiteY11" fmla="*/ 908 h 10000"/>
                <a:gd name="connsiteX12" fmla="*/ 5656 w 10001"/>
                <a:gd name="connsiteY12" fmla="*/ 1079 h 10000"/>
                <a:gd name="connsiteX13" fmla="*/ 4975 w 10001"/>
                <a:gd name="connsiteY13" fmla="*/ 1754 h 10000"/>
                <a:gd name="connsiteX14" fmla="*/ 5234 w 10001"/>
                <a:gd name="connsiteY14" fmla="*/ 1933 h 10000"/>
                <a:gd name="connsiteX15" fmla="*/ 6141 w 10001"/>
                <a:gd name="connsiteY15" fmla="*/ 1772 h 10000"/>
                <a:gd name="connsiteX16" fmla="*/ 6644 w 10001"/>
                <a:gd name="connsiteY16" fmla="*/ 1610 h 10000"/>
                <a:gd name="connsiteX17" fmla="*/ 6821 w 10001"/>
                <a:gd name="connsiteY17" fmla="*/ 1626 h 10000"/>
                <a:gd name="connsiteX18" fmla="*/ 6821 w 10001"/>
                <a:gd name="connsiteY18" fmla="*/ 1996 h 10000"/>
                <a:gd name="connsiteX19" fmla="*/ 5850 w 10001"/>
                <a:gd name="connsiteY19" fmla="*/ 2481 h 10000"/>
                <a:gd name="connsiteX20" fmla="*/ 4926 w 10001"/>
                <a:gd name="connsiteY20" fmla="*/ 2858 h 10000"/>
                <a:gd name="connsiteX21" fmla="*/ 5104 w 10001"/>
                <a:gd name="connsiteY21" fmla="*/ 3424 h 10000"/>
                <a:gd name="connsiteX22" fmla="*/ 5591 w 10001"/>
                <a:gd name="connsiteY22" fmla="*/ 3747 h 10000"/>
                <a:gd name="connsiteX23" fmla="*/ 5866 w 10001"/>
                <a:gd name="connsiteY23" fmla="*/ 4340 h 10000"/>
                <a:gd name="connsiteX24" fmla="*/ 5444 w 10001"/>
                <a:gd name="connsiteY24" fmla="*/ 4556 h 10000"/>
                <a:gd name="connsiteX25" fmla="*/ 4619 w 10001"/>
                <a:gd name="connsiteY25" fmla="*/ 6038 h 10000"/>
                <a:gd name="connsiteX26" fmla="*/ 4700 w 10001"/>
                <a:gd name="connsiteY26" fmla="*/ 6298 h 10000"/>
                <a:gd name="connsiteX27" fmla="*/ 4683 w 10001"/>
                <a:gd name="connsiteY27" fmla="*/ 6865 h 10000"/>
                <a:gd name="connsiteX28" fmla="*/ 4636 w 10001"/>
                <a:gd name="connsiteY28" fmla="*/ 8202 h 10000"/>
                <a:gd name="connsiteX29" fmla="*/ 4636 w 10001"/>
                <a:gd name="connsiteY29" fmla="*/ 8293 h 10000"/>
                <a:gd name="connsiteX30" fmla="*/ 4343 w 10001"/>
                <a:gd name="connsiteY30" fmla="*/ 9873 h 10000"/>
                <a:gd name="connsiteX31" fmla="*/ 4312 w 10001"/>
                <a:gd name="connsiteY31" fmla="*/ 9891 h 10000"/>
                <a:gd name="connsiteX32" fmla="*/ 4213 w 10001"/>
                <a:gd name="connsiteY32" fmla="*/ 9864 h 10000"/>
                <a:gd name="connsiteX33" fmla="*/ 3937 w 10001"/>
                <a:gd name="connsiteY33" fmla="*/ 8185 h 10000"/>
                <a:gd name="connsiteX34" fmla="*/ 4084 w 10001"/>
                <a:gd name="connsiteY34" fmla="*/ 6253 h 10000"/>
                <a:gd name="connsiteX35" fmla="*/ 4213 w 10001"/>
                <a:gd name="connsiteY35" fmla="*/ 5957 h 10000"/>
                <a:gd name="connsiteX36" fmla="*/ 4230 w 10001"/>
                <a:gd name="connsiteY36" fmla="*/ 5885 h 10000"/>
                <a:gd name="connsiteX37" fmla="*/ 3874 w 10001"/>
                <a:gd name="connsiteY37" fmla="*/ 4098 h 10000"/>
                <a:gd name="connsiteX38" fmla="*/ 3710 w 10001"/>
                <a:gd name="connsiteY38" fmla="*/ 3073 h 10000"/>
                <a:gd name="connsiteX39" fmla="*/ 4100 w 10001"/>
                <a:gd name="connsiteY39" fmla="*/ 2004 h 10000"/>
                <a:gd name="connsiteX40" fmla="*/ 4343 w 10001"/>
                <a:gd name="connsiteY40" fmla="*/ 1600 h 10000"/>
                <a:gd name="connsiteX41" fmla="*/ 4391 w 10001"/>
                <a:gd name="connsiteY41" fmla="*/ 1493 h 10000"/>
                <a:gd name="connsiteX42" fmla="*/ 4180 w 10001"/>
                <a:gd name="connsiteY42" fmla="*/ 262 h 10000"/>
                <a:gd name="connsiteX43" fmla="*/ 3127 w 10001"/>
                <a:gd name="connsiteY43" fmla="*/ 1 h 10000"/>
                <a:gd name="connsiteX44" fmla="*/ 2560 w 10001"/>
                <a:gd name="connsiteY44" fmla="*/ 136 h 10000"/>
                <a:gd name="connsiteX45" fmla="*/ 2430 w 10001"/>
                <a:gd name="connsiteY45" fmla="*/ 621 h 10000"/>
                <a:gd name="connsiteX46" fmla="*/ 2268 w 10001"/>
                <a:gd name="connsiteY46" fmla="*/ 999 h 10000"/>
                <a:gd name="connsiteX47" fmla="*/ 1507 w 10001"/>
                <a:gd name="connsiteY47" fmla="*/ 703 h 10000"/>
                <a:gd name="connsiteX48" fmla="*/ 520 w 10001"/>
                <a:gd name="connsiteY48" fmla="*/ 307 h 10000"/>
                <a:gd name="connsiteX49" fmla="*/ 32 w 10001"/>
                <a:gd name="connsiteY49" fmla="*/ 280 h 10000"/>
                <a:gd name="connsiteX50" fmla="*/ 32 w 10001"/>
                <a:gd name="connsiteY50" fmla="*/ 280 h 10000"/>
                <a:gd name="connsiteX51" fmla="*/ 420 w 10001"/>
                <a:gd name="connsiteY51" fmla="*/ 432 h 10000"/>
                <a:gd name="connsiteX52" fmla="*/ 0 w 10001"/>
                <a:gd name="connsiteY52" fmla="*/ 603 h 10000"/>
                <a:gd name="connsiteX53" fmla="*/ 0 w 10001"/>
                <a:gd name="connsiteY53" fmla="*/ 603 h 10000"/>
                <a:gd name="connsiteX54" fmla="*/ 533 w 10001"/>
                <a:gd name="connsiteY54" fmla="*/ 586 h 10000"/>
                <a:gd name="connsiteX55" fmla="*/ 1167 w 10001"/>
                <a:gd name="connsiteY55" fmla="*/ 864 h 10000"/>
                <a:gd name="connsiteX56" fmla="*/ 2415 w 10001"/>
                <a:gd name="connsiteY56" fmla="*/ 1233 h 10000"/>
                <a:gd name="connsiteX57" fmla="*/ 2868 w 10001"/>
                <a:gd name="connsiteY57" fmla="*/ 594 h 10000"/>
                <a:gd name="connsiteX58" fmla="*/ 2900 w 10001"/>
                <a:gd name="connsiteY58" fmla="*/ 298 h 10000"/>
                <a:gd name="connsiteX59" fmla="*/ 3160 w 10001"/>
                <a:gd name="connsiteY59" fmla="*/ 253 h 10000"/>
                <a:gd name="connsiteX60" fmla="*/ 3839 w 10001"/>
                <a:gd name="connsiteY60" fmla="*/ 414 h 10000"/>
                <a:gd name="connsiteX61" fmla="*/ 3986 w 10001"/>
                <a:gd name="connsiteY61" fmla="*/ 1421 h 10000"/>
                <a:gd name="connsiteX62" fmla="*/ 3921 w 10001"/>
                <a:gd name="connsiteY62" fmla="*/ 1528 h 10000"/>
                <a:gd name="connsiteX63" fmla="*/ 3710 w 10001"/>
                <a:gd name="connsiteY63" fmla="*/ 1889 h 10000"/>
                <a:gd name="connsiteX64" fmla="*/ 3273 w 10001"/>
                <a:gd name="connsiteY64" fmla="*/ 3109 h 10000"/>
                <a:gd name="connsiteX65" fmla="*/ 3452 w 10001"/>
                <a:gd name="connsiteY65" fmla="*/ 4170 h 10000"/>
                <a:gd name="connsiteX66" fmla="*/ 3792 w 10001"/>
                <a:gd name="connsiteY66" fmla="*/ 5859 h 10000"/>
                <a:gd name="connsiteX67" fmla="*/ 3776 w 10001"/>
                <a:gd name="connsiteY67" fmla="*/ 5930 h 10000"/>
                <a:gd name="connsiteX68" fmla="*/ 3890 w 10001"/>
                <a:gd name="connsiteY68" fmla="*/ 6253 h 10000"/>
                <a:gd name="connsiteX69" fmla="*/ 3743 w 10001"/>
                <a:gd name="connsiteY69" fmla="*/ 8185 h 10000"/>
                <a:gd name="connsiteX70" fmla="*/ 4084 w 10001"/>
                <a:gd name="connsiteY70" fmla="*/ 9946 h 10000"/>
                <a:gd name="connsiteX71" fmla="*/ 4312 w 10001"/>
                <a:gd name="connsiteY71" fmla="*/ 10000 h 10000"/>
                <a:gd name="connsiteX72" fmla="*/ 4489 w 10001"/>
                <a:gd name="connsiteY72" fmla="*/ 9954 h 10000"/>
                <a:gd name="connsiteX73" fmla="*/ 4828 w 10001"/>
                <a:gd name="connsiteY73" fmla="*/ 8293 h 10000"/>
                <a:gd name="connsiteX74" fmla="*/ 4828 w 10001"/>
                <a:gd name="connsiteY74" fmla="*/ 8202 h 10000"/>
                <a:gd name="connsiteX75" fmla="*/ 4879 w 10001"/>
                <a:gd name="connsiteY75" fmla="*/ 6865 h 10000"/>
                <a:gd name="connsiteX76" fmla="*/ 4910 w 10001"/>
                <a:gd name="connsiteY76" fmla="*/ 6308 h 10000"/>
                <a:gd name="connsiteX77" fmla="*/ 5056 w 10001"/>
                <a:gd name="connsiteY77" fmla="*/ 6038 h 10000"/>
                <a:gd name="connsiteX78" fmla="*/ 5687 w 10001"/>
                <a:gd name="connsiteY78" fmla="*/ 4763 h 10000"/>
                <a:gd name="connsiteX79" fmla="*/ 6223 w 10001"/>
                <a:gd name="connsiteY79" fmla="*/ 4474 h 10000"/>
                <a:gd name="connsiteX80" fmla="*/ 5915 w 10001"/>
                <a:gd name="connsiteY80" fmla="*/ 3577 h 10000"/>
                <a:gd name="connsiteX81" fmla="*/ 5494 w 10001"/>
                <a:gd name="connsiteY81" fmla="*/ 3288 h 10000"/>
                <a:gd name="connsiteX82" fmla="*/ 5330 w 10001"/>
                <a:gd name="connsiteY82" fmla="*/ 2940 h 10000"/>
                <a:gd name="connsiteX83" fmla="*/ 5979 w 10001"/>
                <a:gd name="connsiteY83" fmla="*/ 2714 h 10000"/>
                <a:gd name="connsiteX84" fmla="*/ 7227 w 10001"/>
                <a:gd name="connsiteY84" fmla="*/ 2094 h 10000"/>
                <a:gd name="connsiteX85" fmla="*/ 7195 w 10001"/>
                <a:gd name="connsiteY85" fmla="*/ 1501 h 10000"/>
                <a:gd name="connsiteX86" fmla="*/ 6888 w 10001"/>
                <a:gd name="connsiteY86" fmla="*/ 1367 h 10000"/>
                <a:gd name="connsiteX87" fmla="*/ 5898 w 10001"/>
                <a:gd name="connsiteY87" fmla="*/ 1564 h 10000"/>
                <a:gd name="connsiteX88" fmla="*/ 5509 w 10001"/>
                <a:gd name="connsiteY88" fmla="*/ 1691 h 10000"/>
                <a:gd name="connsiteX89" fmla="*/ 5381 w 10001"/>
                <a:gd name="connsiteY89" fmla="*/ 1592 h 10000"/>
                <a:gd name="connsiteX90" fmla="*/ 5882 w 10001"/>
                <a:gd name="connsiteY90" fmla="*/ 1286 h 10000"/>
                <a:gd name="connsiteX91" fmla="*/ 6385 w 10001"/>
                <a:gd name="connsiteY91" fmla="*/ 1079 h 10000"/>
                <a:gd name="connsiteX92" fmla="*/ 6724 w 10001"/>
                <a:gd name="connsiteY92" fmla="*/ 666 h 10000"/>
                <a:gd name="connsiteX93" fmla="*/ 7244 w 10001"/>
                <a:gd name="connsiteY93" fmla="*/ 361 h 10000"/>
                <a:gd name="connsiteX94" fmla="*/ 7828 w 10001"/>
                <a:gd name="connsiteY94" fmla="*/ 460 h 10000"/>
                <a:gd name="connsiteX95" fmla="*/ 8135 w 10001"/>
                <a:gd name="connsiteY95" fmla="*/ 1187 h 10000"/>
                <a:gd name="connsiteX96" fmla="*/ 7422 w 10001"/>
                <a:gd name="connsiteY96" fmla="*/ 2202 h 10000"/>
                <a:gd name="connsiteX97" fmla="*/ 7309 w 10001"/>
                <a:gd name="connsiteY97" fmla="*/ 3065 h 10000"/>
                <a:gd name="connsiteX98" fmla="*/ 8296 w 10001"/>
                <a:gd name="connsiteY98" fmla="*/ 3416 h 10000"/>
                <a:gd name="connsiteX99" fmla="*/ 8929 w 10001"/>
                <a:gd name="connsiteY99" fmla="*/ 3900 h 10000"/>
                <a:gd name="connsiteX100" fmla="*/ 9853 w 10001"/>
                <a:gd name="connsiteY100" fmla="*/ 4322 h 10000"/>
                <a:gd name="connsiteX101" fmla="*/ 9998 w 10001"/>
                <a:gd name="connsiteY101" fmla="*/ 4474 h 10000"/>
                <a:gd name="connsiteX0" fmla="*/ 9998 w 10024"/>
                <a:gd name="connsiteY0" fmla="*/ 4474 h 10000"/>
                <a:gd name="connsiteX1" fmla="*/ 9951 w 10024"/>
                <a:gd name="connsiteY1" fmla="*/ 3666 h 10000"/>
                <a:gd name="connsiteX2" fmla="*/ 9302 w 10024"/>
                <a:gd name="connsiteY2" fmla="*/ 3793 h 10000"/>
                <a:gd name="connsiteX3" fmla="*/ 8847 w 10024"/>
                <a:gd name="connsiteY3" fmla="*/ 3442 h 10000"/>
                <a:gd name="connsiteX4" fmla="*/ 8102 w 10024"/>
                <a:gd name="connsiteY4" fmla="*/ 3109 h 10000"/>
                <a:gd name="connsiteX5" fmla="*/ 7714 w 10024"/>
                <a:gd name="connsiteY5" fmla="*/ 2382 h 10000"/>
                <a:gd name="connsiteX6" fmla="*/ 8572 w 10024"/>
                <a:gd name="connsiteY6" fmla="*/ 1187 h 10000"/>
                <a:gd name="connsiteX7" fmla="*/ 8135 w 10024"/>
                <a:gd name="connsiteY7" fmla="*/ 280 h 10000"/>
                <a:gd name="connsiteX8" fmla="*/ 7227 w 10024"/>
                <a:gd name="connsiteY8" fmla="*/ 118 h 10000"/>
                <a:gd name="connsiteX9" fmla="*/ 6287 w 10024"/>
                <a:gd name="connsiteY9" fmla="*/ 621 h 10000"/>
                <a:gd name="connsiteX10" fmla="*/ 6076 w 10024"/>
                <a:gd name="connsiteY10" fmla="*/ 908 h 10000"/>
                <a:gd name="connsiteX11" fmla="*/ 5656 w 10024"/>
                <a:gd name="connsiteY11" fmla="*/ 1079 h 10000"/>
                <a:gd name="connsiteX12" fmla="*/ 4975 w 10024"/>
                <a:gd name="connsiteY12" fmla="*/ 1754 h 10000"/>
                <a:gd name="connsiteX13" fmla="*/ 5234 w 10024"/>
                <a:gd name="connsiteY13" fmla="*/ 1933 h 10000"/>
                <a:gd name="connsiteX14" fmla="*/ 6141 w 10024"/>
                <a:gd name="connsiteY14" fmla="*/ 1772 h 10000"/>
                <a:gd name="connsiteX15" fmla="*/ 6644 w 10024"/>
                <a:gd name="connsiteY15" fmla="*/ 1610 h 10000"/>
                <a:gd name="connsiteX16" fmla="*/ 6821 w 10024"/>
                <a:gd name="connsiteY16" fmla="*/ 1626 h 10000"/>
                <a:gd name="connsiteX17" fmla="*/ 6821 w 10024"/>
                <a:gd name="connsiteY17" fmla="*/ 1996 h 10000"/>
                <a:gd name="connsiteX18" fmla="*/ 5850 w 10024"/>
                <a:gd name="connsiteY18" fmla="*/ 2481 h 10000"/>
                <a:gd name="connsiteX19" fmla="*/ 4926 w 10024"/>
                <a:gd name="connsiteY19" fmla="*/ 2858 h 10000"/>
                <a:gd name="connsiteX20" fmla="*/ 5104 w 10024"/>
                <a:gd name="connsiteY20" fmla="*/ 3424 h 10000"/>
                <a:gd name="connsiteX21" fmla="*/ 5591 w 10024"/>
                <a:gd name="connsiteY21" fmla="*/ 3747 h 10000"/>
                <a:gd name="connsiteX22" fmla="*/ 5866 w 10024"/>
                <a:gd name="connsiteY22" fmla="*/ 4340 h 10000"/>
                <a:gd name="connsiteX23" fmla="*/ 5444 w 10024"/>
                <a:gd name="connsiteY23" fmla="*/ 4556 h 10000"/>
                <a:gd name="connsiteX24" fmla="*/ 4619 w 10024"/>
                <a:gd name="connsiteY24" fmla="*/ 6038 h 10000"/>
                <a:gd name="connsiteX25" fmla="*/ 4700 w 10024"/>
                <a:gd name="connsiteY25" fmla="*/ 6298 h 10000"/>
                <a:gd name="connsiteX26" fmla="*/ 4683 w 10024"/>
                <a:gd name="connsiteY26" fmla="*/ 6865 h 10000"/>
                <a:gd name="connsiteX27" fmla="*/ 4636 w 10024"/>
                <a:gd name="connsiteY27" fmla="*/ 8202 h 10000"/>
                <a:gd name="connsiteX28" fmla="*/ 4636 w 10024"/>
                <a:gd name="connsiteY28" fmla="*/ 8293 h 10000"/>
                <a:gd name="connsiteX29" fmla="*/ 4343 w 10024"/>
                <a:gd name="connsiteY29" fmla="*/ 9873 h 10000"/>
                <a:gd name="connsiteX30" fmla="*/ 4312 w 10024"/>
                <a:gd name="connsiteY30" fmla="*/ 9891 h 10000"/>
                <a:gd name="connsiteX31" fmla="*/ 4213 w 10024"/>
                <a:gd name="connsiteY31" fmla="*/ 9864 h 10000"/>
                <a:gd name="connsiteX32" fmla="*/ 3937 w 10024"/>
                <a:gd name="connsiteY32" fmla="*/ 8185 h 10000"/>
                <a:gd name="connsiteX33" fmla="*/ 4084 w 10024"/>
                <a:gd name="connsiteY33" fmla="*/ 6253 h 10000"/>
                <a:gd name="connsiteX34" fmla="*/ 4213 w 10024"/>
                <a:gd name="connsiteY34" fmla="*/ 5957 h 10000"/>
                <a:gd name="connsiteX35" fmla="*/ 4230 w 10024"/>
                <a:gd name="connsiteY35" fmla="*/ 5885 h 10000"/>
                <a:gd name="connsiteX36" fmla="*/ 3874 w 10024"/>
                <a:gd name="connsiteY36" fmla="*/ 4098 h 10000"/>
                <a:gd name="connsiteX37" fmla="*/ 3710 w 10024"/>
                <a:gd name="connsiteY37" fmla="*/ 3073 h 10000"/>
                <a:gd name="connsiteX38" fmla="*/ 4100 w 10024"/>
                <a:gd name="connsiteY38" fmla="*/ 2004 h 10000"/>
                <a:gd name="connsiteX39" fmla="*/ 4343 w 10024"/>
                <a:gd name="connsiteY39" fmla="*/ 1600 h 10000"/>
                <a:gd name="connsiteX40" fmla="*/ 4391 w 10024"/>
                <a:gd name="connsiteY40" fmla="*/ 1493 h 10000"/>
                <a:gd name="connsiteX41" fmla="*/ 4180 w 10024"/>
                <a:gd name="connsiteY41" fmla="*/ 262 h 10000"/>
                <a:gd name="connsiteX42" fmla="*/ 3127 w 10024"/>
                <a:gd name="connsiteY42" fmla="*/ 1 h 10000"/>
                <a:gd name="connsiteX43" fmla="*/ 2560 w 10024"/>
                <a:gd name="connsiteY43" fmla="*/ 136 h 10000"/>
                <a:gd name="connsiteX44" fmla="*/ 2430 w 10024"/>
                <a:gd name="connsiteY44" fmla="*/ 621 h 10000"/>
                <a:gd name="connsiteX45" fmla="*/ 2268 w 10024"/>
                <a:gd name="connsiteY45" fmla="*/ 999 h 10000"/>
                <a:gd name="connsiteX46" fmla="*/ 1507 w 10024"/>
                <a:gd name="connsiteY46" fmla="*/ 703 h 10000"/>
                <a:gd name="connsiteX47" fmla="*/ 520 w 10024"/>
                <a:gd name="connsiteY47" fmla="*/ 307 h 10000"/>
                <a:gd name="connsiteX48" fmla="*/ 32 w 10024"/>
                <a:gd name="connsiteY48" fmla="*/ 280 h 10000"/>
                <a:gd name="connsiteX49" fmla="*/ 32 w 10024"/>
                <a:gd name="connsiteY49" fmla="*/ 280 h 10000"/>
                <a:gd name="connsiteX50" fmla="*/ 420 w 10024"/>
                <a:gd name="connsiteY50" fmla="*/ 432 h 10000"/>
                <a:gd name="connsiteX51" fmla="*/ 0 w 10024"/>
                <a:gd name="connsiteY51" fmla="*/ 603 h 10000"/>
                <a:gd name="connsiteX52" fmla="*/ 0 w 10024"/>
                <a:gd name="connsiteY52" fmla="*/ 603 h 10000"/>
                <a:gd name="connsiteX53" fmla="*/ 533 w 10024"/>
                <a:gd name="connsiteY53" fmla="*/ 586 h 10000"/>
                <a:gd name="connsiteX54" fmla="*/ 1167 w 10024"/>
                <a:gd name="connsiteY54" fmla="*/ 864 h 10000"/>
                <a:gd name="connsiteX55" fmla="*/ 2415 w 10024"/>
                <a:gd name="connsiteY55" fmla="*/ 1233 h 10000"/>
                <a:gd name="connsiteX56" fmla="*/ 2868 w 10024"/>
                <a:gd name="connsiteY56" fmla="*/ 594 h 10000"/>
                <a:gd name="connsiteX57" fmla="*/ 2900 w 10024"/>
                <a:gd name="connsiteY57" fmla="*/ 298 h 10000"/>
                <a:gd name="connsiteX58" fmla="*/ 3160 w 10024"/>
                <a:gd name="connsiteY58" fmla="*/ 253 h 10000"/>
                <a:gd name="connsiteX59" fmla="*/ 3839 w 10024"/>
                <a:gd name="connsiteY59" fmla="*/ 414 h 10000"/>
                <a:gd name="connsiteX60" fmla="*/ 3986 w 10024"/>
                <a:gd name="connsiteY60" fmla="*/ 1421 h 10000"/>
                <a:gd name="connsiteX61" fmla="*/ 3921 w 10024"/>
                <a:gd name="connsiteY61" fmla="*/ 1528 h 10000"/>
                <a:gd name="connsiteX62" fmla="*/ 3710 w 10024"/>
                <a:gd name="connsiteY62" fmla="*/ 1889 h 10000"/>
                <a:gd name="connsiteX63" fmla="*/ 3273 w 10024"/>
                <a:gd name="connsiteY63" fmla="*/ 3109 h 10000"/>
                <a:gd name="connsiteX64" fmla="*/ 3452 w 10024"/>
                <a:gd name="connsiteY64" fmla="*/ 4170 h 10000"/>
                <a:gd name="connsiteX65" fmla="*/ 3792 w 10024"/>
                <a:gd name="connsiteY65" fmla="*/ 5859 h 10000"/>
                <a:gd name="connsiteX66" fmla="*/ 3776 w 10024"/>
                <a:gd name="connsiteY66" fmla="*/ 5930 h 10000"/>
                <a:gd name="connsiteX67" fmla="*/ 3890 w 10024"/>
                <a:gd name="connsiteY67" fmla="*/ 6253 h 10000"/>
                <a:gd name="connsiteX68" fmla="*/ 3743 w 10024"/>
                <a:gd name="connsiteY68" fmla="*/ 8185 h 10000"/>
                <a:gd name="connsiteX69" fmla="*/ 4084 w 10024"/>
                <a:gd name="connsiteY69" fmla="*/ 9946 h 10000"/>
                <a:gd name="connsiteX70" fmla="*/ 4312 w 10024"/>
                <a:gd name="connsiteY70" fmla="*/ 10000 h 10000"/>
                <a:gd name="connsiteX71" fmla="*/ 4489 w 10024"/>
                <a:gd name="connsiteY71" fmla="*/ 9954 h 10000"/>
                <a:gd name="connsiteX72" fmla="*/ 4828 w 10024"/>
                <a:gd name="connsiteY72" fmla="*/ 8293 h 10000"/>
                <a:gd name="connsiteX73" fmla="*/ 4828 w 10024"/>
                <a:gd name="connsiteY73" fmla="*/ 8202 h 10000"/>
                <a:gd name="connsiteX74" fmla="*/ 4879 w 10024"/>
                <a:gd name="connsiteY74" fmla="*/ 6865 h 10000"/>
                <a:gd name="connsiteX75" fmla="*/ 4910 w 10024"/>
                <a:gd name="connsiteY75" fmla="*/ 6308 h 10000"/>
                <a:gd name="connsiteX76" fmla="*/ 5056 w 10024"/>
                <a:gd name="connsiteY76" fmla="*/ 6038 h 10000"/>
                <a:gd name="connsiteX77" fmla="*/ 5687 w 10024"/>
                <a:gd name="connsiteY77" fmla="*/ 4763 h 10000"/>
                <a:gd name="connsiteX78" fmla="*/ 6223 w 10024"/>
                <a:gd name="connsiteY78" fmla="*/ 4474 h 10000"/>
                <a:gd name="connsiteX79" fmla="*/ 5915 w 10024"/>
                <a:gd name="connsiteY79" fmla="*/ 3577 h 10000"/>
                <a:gd name="connsiteX80" fmla="*/ 5494 w 10024"/>
                <a:gd name="connsiteY80" fmla="*/ 3288 h 10000"/>
                <a:gd name="connsiteX81" fmla="*/ 5330 w 10024"/>
                <a:gd name="connsiteY81" fmla="*/ 2940 h 10000"/>
                <a:gd name="connsiteX82" fmla="*/ 5979 w 10024"/>
                <a:gd name="connsiteY82" fmla="*/ 2714 h 10000"/>
                <a:gd name="connsiteX83" fmla="*/ 7227 w 10024"/>
                <a:gd name="connsiteY83" fmla="*/ 2094 h 10000"/>
                <a:gd name="connsiteX84" fmla="*/ 7195 w 10024"/>
                <a:gd name="connsiteY84" fmla="*/ 1501 h 10000"/>
                <a:gd name="connsiteX85" fmla="*/ 6888 w 10024"/>
                <a:gd name="connsiteY85" fmla="*/ 1367 h 10000"/>
                <a:gd name="connsiteX86" fmla="*/ 5898 w 10024"/>
                <a:gd name="connsiteY86" fmla="*/ 1564 h 10000"/>
                <a:gd name="connsiteX87" fmla="*/ 5509 w 10024"/>
                <a:gd name="connsiteY87" fmla="*/ 1691 h 10000"/>
                <a:gd name="connsiteX88" fmla="*/ 5381 w 10024"/>
                <a:gd name="connsiteY88" fmla="*/ 1592 h 10000"/>
                <a:gd name="connsiteX89" fmla="*/ 5882 w 10024"/>
                <a:gd name="connsiteY89" fmla="*/ 1286 h 10000"/>
                <a:gd name="connsiteX90" fmla="*/ 6385 w 10024"/>
                <a:gd name="connsiteY90" fmla="*/ 1079 h 10000"/>
                <a:gd name="connsiteX91" fmla="*/ 6724 w 10024"/>
                <a:gd name="connsiteY91" fmla="*/ 666 h 10000"/>
                <a:gd name="connsiteX92" fmla="*/ 7244 w 10024"/>
                <a:gd name="connsiteY92" fmla="*/ 361 h 10000"/>
                <a:gd name="connsiteX93" fmla="*/ 7828 w 10024"/>
                <a:gd name="connsiteY93" fmla="*/ 460 h 10000"/>
                <a:gd name="connsiteX94" fmla="*/ 8135 w 10024"/>
                <a:gd name="connsiteY94" fmla="*/ 1187 h 10000"/>
                <a:gd name="connsiteX95" fmla="*/ 7422 w 10024"/>
                <a:gd name="connsiteY95" fmla="*/ 2202 h 10000"/>
                <a:gd name="connsiteX96" fmla="*/ 7309 w 10024"/>
                <a:gd name="connsiteY96" fmla="*/ 3065 h 10000"/>
                <a:gd name="connsiteX97" fmla="*/ 8296 w 10024"/>
                <a:gd name="connsiteY97" fmla="*/ 3416 h 10000"/>
                <a:gd name="connsiteX98" fmla="*/ 8929 w 10024"/>
                <a:gd name="connsiteY98" fmla="*/ 3900 h 10000"/>
                <a:gd name="connsiteX99" fmla="*/ 9853 w 10024"/>
                <a:gd name="connsiteY99" fmla="*/ 4322 h 10000"/>
                <a:gd name="connsiteX100" fmla="*/ 9998 w 10024"/>
                <a:gd name="connsiteY100" fmla="*/ 4474 h 10000"/>
                <a:gd name="connsiteX0" fmla="*/ 9998 w 9998"/>
                <a:gd name="connsiteY0" fmla="*/ 4474 h 10000"/>
                <a:gd name="connsiteX1" fmla="*/ 9302 w 9998"/>
                <a:gd name="connsiteY1" fmla="*/ 3793 h 10000"/>
                <a:gd name="connsiteX2" fmla="*/ 8847 w 9998"/>
                <a:gd name="connsiteY2" fmla="*/ 3442 h 10000"/>
                <a:gd name="connsiteX3" fmla="*/ 8102 w 9998"/>
                <a:gd name="connsiteY3" fmla="*/ 3109 h 10000"/>
                <a:gd name="connsiteX4" fmla="*/ 7714 w 9998"/>
                <a:gd name="connsiteY4" fmla="*/ 2382 h 10000"/>
                <a:gd name="connsiteX5" fmla="*/ 8572 w 9998"/>
                <a:gd name="connsiteY5" fmla="*/ 1187 h 10000"/>
                <a:gd name="connsiteX6" fmla="*/ 8135 w 9998"/>
                <a:gd name="connsiteY6" fmla="*/ 280 h 10000"/>
                <a:gd name="connsiteX7" fmla="*/ 7227 w 9998"/>
                <a:gd name="connsiteY7" fmla="*/ 118 h 10000"/>
                <a:gd name="connsiteX8" fmla="*/ 6287 w 9998"/>
                <a:gd name="connsiteY8" fmla="*/ 621 h 10000"/>
                <a:gd name="connsiteX9" fmla="*/ 6076 w 9998"/>
                <a:gd name="connsiteY9" fmla="*/ 908 h 10000"/>
                <a:gd name="connsiteX10" fmla="*/ 5656 w 9998"/>
                <a:gd name="connsiteY10" fmla="*/ 1079 h 10000"/>
                <a:gd name="connsiteX11" fmla="*/ 4975 w 9998"/>
                <a:gd name="connsiteY11" fmla="*/ 1754 h 10000"/>
                <a:gd name="connsiteX12" fmla="*/ 5234 w 9998"/>
                <a:gd name="connsiteY12" fmla="*/ 1933 h 10000"/>
                <a:gd name="connsiteX13" fmla="*/ 6141 w 9998"/>
                <a:gd name="connsiteY13" fmla="*/ 1772 h 10000"/>
                <a:gd name="connsiteX14" fmla="*/ 6644 w 9998"/>
                <a:gd name="connsiteY14" fmla="*/ 1610 h 10000"/>
                <a:gd name="connsiteX15" fmla="*/ 6821 w 9998"/>
                <a:gd name="connsiteY15" fmla="*/ 1626 h 10000"/>
                <a:gd name="connsiteX16" fmla="*/ 6821 w 9998"/>
                <a:gd name="connsiteY16" fmla="*/ 1996 h 10000"/>
                <a:gd name="connsiteX17" fmla="*/ 5850 w 9998"/>
                <a:gd name="connsiteY17" fmla="*/ 2481 h 10000"/>
                <a:gd name="connsiteX18" fmla="*/ 4926 w 9998"/>
                <a:gd name="connsiteY18" fmla="*/ 2858 h 10000"/>
                <a:gd name="connsiteX19" fmla="*/ 5104 w 9998"/>
                <a:gd name="connsiteY19" fmla="*/ 3424 h 10000"/>
                <a:gd name="connsiteX20" fmla="*/ 5591 w 9998"/>
                <a:gd name="connsiteY20" fmla="*/ 3747 h 10000"/>
                <a:gd name="connsiteX21" fmla="*/ 5866 w 9998"/>
                <a:gd name="connsiteY21" fmla="*/ 4340 h 10000"/>
                <a:gd name="connsiteX22" fmla="*/ 5444 w 9998"/>
                <a:gd name="connsiteY22" fmla="*/ 4556 h 10000"/>
                <a:gd name="connsiteX23" fmla="*/ 4619 w 9998"/>
                <a:gd name="connsiteY23" fmla="*/ 6038 h 10000"/>
                <a:gd name="connsiteX24" fmla="*/ 4700 w 9998"/>
                <a:gd name="connsiteY24" fmla="*/ 6298 h 10000"/>
                <a:gd name="connsiteX25" fmla="*/ 4683 w 9998"/>
                <a:gd name="connsiteY25" fmla="*/ 6865 h 10000"/>
                <a:gd name="connsiteX26" fmla="*/ 4636 w 9998"/>
                <a:gd name="connsiteY26" fmla="*/ 8202 h 10000"/>
                <a:gd name="connsiteX27" fmla="*/ 4636 w 9998"/>
                <a:gd name="connsiteY27" fmla="*/ 8293 h 10000"/>
                <a:gd name="connsiteX28" fmla="*/ 4343 w 9998"/>
                <a:gd name="connsiteY28" fmla="*/ 9873 h 10000"/>
                <a:gd name="connsiteX29" fmla="*/ 4312 w 9998"/>
                <a:gd name="connsiteY29" fmla="*/ 9891 h 10000"/>
                <a:gd name="connsiteX30" fmla="*/ 4213 w 9998"/>
                <a:gd name="connsiteY30" fmla="*/ 9864 h 10000"/>
                <a:gd name="connsiteX31" fmla="*/ 3937 w 9998"/>
                <a:gd name="connsiteY31" fmla="*/ 8185 h 10000"/>
                <a:gd name="connsiteX32" fmla="*/ 4084 w 9998"/>
                <a:gd name="connsiteY32" fmla="*/ 6253 h 10000"/>
                <a:gd name="connsiteX33" fmla="*/ 4213 w 9998"/>
                <a:gd name="connsiteY33" fmla="*/ 5957 h 10000"/>
                <a:gd name="connsiteX34" fmla="*/ 4230 w 9998"/>
                <a:gd name="connsiteY34" fmla="*/ 5885 h 10000"/>
                <a:gd name="connsiteX35" fmla="*/ 3874 w 9998"/>
                <a:gd name="connsiteY35" fmla="*/ 4098 h 10000"/>
                <a:gd name="connsiteX36" fmla="*/ 3710 w 9998"/>
                <a:gd name="connsiteY36" fmla="*/ 3073 h 10000"/>
                <a:gd name="connsiteX37" fmla="*/ 4100 w 9998"/>
                <a:gd name="connsiteY37" fmla="*/ 2004 h 10000"/>
                <a:gd name="connsiteX38" fmla="*/ 4343 w 9998"/>
                <a:gd name="connsiteY38" fmla="*/ 1600 h 10000"/>
                <a:gd name="connsiteX39" fmla="*/ 4391 w 9998"/>
                <a:gd name="connsiteY39" fmla="*/ 1493 h 10000"/>
                <a:gd name="connsiteX40" fmla="*/ 4180 w 9998"/>
                <a:gd name="connsiteY40" fmla="*/ 262 h 10000"/>
                <a:gd name="connsiteX41" fmla="*/ 3127 w 9998"/>
                <a:gd name="connsiteY41" fmla="*/ 1 h 10000"/>
                <a:gd name="connsiteX42" fmla="*/ 2560 w 9998"/>
                <a:gd name="connsiteY42" fmla="*/ 136 h 10000"/>
                <a:gd name="connsiteX43" fmla="*/ 2430 w 9998"/>
                <a:gd name="connsiteY43" fmla="*/ 621 h 10000"/>
                <a:gd name="connsiteX44" fmla="*/ 2268 w 9998"/>
                <a:gd name="connsiteY44" fmla="*/ 999 h 10000"/>
                <a:gd name="connsiteX45" fmla="*/ 1507 w 9998"/>
                <a:gd name="connsiteY45" fmla="*/ 703 h 10000"/>
                <a:gd name="connsiteX46" fmla="*/ 520 w 9998"/>
                <a:gd name="connsiteY46" fmla="*/ 307 h 10000"/>
                <a:gd name="connsiteX47" fmla="*/ 32 w 9998"/>
                <a:gd name="connsiteY47" fmla="*/ 280 h 10000"/>
                <a:gd name="connsiteX48" fmla="*/ 32 w 9998"/>
                <a:gd name="connsiteY48" fmla="*/ 280 h 10000"/>
                <a:gd name="connsiteX49" fmla="*/ 420 w 9998"/>
                <a:gd name="connsiteY49" fmla="*/ 432 h 10000"/>
                <a:gd name="connsiteX50" fmla="*/ 0 w 9998"/>
                <a:gd name="connsiteY50" fmla="*/ 603 h 10000"/>
                <a:gd name="connsiteX51" fmla="*/ 0 w 9998"/>
                <a:gd name="connsiteY51" fmla="*/ 603 h 10000"/>
                <a:gd name="connsiteX52" fmla="*/ 533 w 9998"/>
                <a:gd name="connsiteY52" fmla="*/ 586 h 10000"/>
                <a:gd name="connsiteX53" fmla="*/ 1167 w 9998"/>
                <a:gd name="connsiteY53" fmla="*/ 864 h 10000"/>
                <a:gd name="connsiteX54" fmla="*/ 2415 w 9998"/>
                <a:gd name="connsiteY54" fmla="*/ 1233 h 10000"/>
                <a:gd name="connsiteX55" fmla="*/ 2868 w 9998"/>
                <a:gd name="connsiteY55" fmla="*/ 594 h 10000"/>
                <a:gd name="connsiteX56" fmla="*/ 2900 w 9998"/>
                <a:gd name="connsiteY56" fmla="*/ 298 h 10000"/>
                <a:gd name="connsiteX57" fmla="*/ 3160 w 9998"/>
                <a:gd name="connsiteY57" fmla="*/ 253 h 10000"/>
                <a:gd name="connsiteX58" fmla="*/ 3839 w 9998"/>
                <a:gd name="connsiteY58" fmla="*/ 414 h 10000"/>
                <a:gd name="connsiteX59" fmla="*/ 3986 w 9998"/>
                <a:gd name="connsiteY59" fmla="*/ 1421 h 10000"/>
                <a:gd name="connsiteX60" fmla="*/ 3921 w 9998"/>
                <a:gd name="connsiteY60" fmla="*/ 1528 h 10000"/>
                <a:gd name="connsiteX61" fmla="*/ 3710 w 9998"/>
                <a:gd name="connsiteY61" fmla="*/ 1889 h 10000"/>
                <a:gd name="connsiteX62" fmla="*/ 3273 w 9998"/>
                <a:gd name="connsiteY62" fmla="*/ 3109 h 10000"/>
                <a:gd name="connsiteX63" fmla="*/ 3452 w 9998"/>
                <a:gd name="connsiteY63" fmla="*/ 4170 h 10000"/>
                <a:gd name="connsiteX64" fmla="*/ 3792 w 9998"/>
                <a:gd name="connsiteY64" fmla="*/ 5859 h 10000"/>
                <a:gd name="connsiteX65" fmla="*/ 3776 w 9998"/>
                <a:gd name="connsiteY65" fmla="*/ 5930 h 10000"/>
                <a:gd name="connsiteX66" fmla="*/ 3890 w 9998"/>
                <a:gd name="connsiteY66" fmla="*/ 6253 h 10000"/>
                <a:gd name="connsiteX67" fmla="*/ 3743 w 9998"/>
                <a:gd name="connsiteY67" fmla="*/ 8185 h 10000"/>
                <a:gd name="connsiteX68" fmla="*/ 4084 w 9998"/>
                <a:gd name="connsiteY68" fmla="*/ 9946 h 10000"/>
                <a:gd name="connsiteX69" fmla="*/ 4312 w 9998"/>
                <a:gd name="connsiteY69" fmla="*/ 10000 h 10000"/>
                <a:gd name="connsiteX70" fmla="*/ 4489 w 9998"/>
                <a:gd name="connsiteY70" fmla="*/ 9954 h 10000"/>
                <a:gd name="connsiteX71" fmla="*/ 4828 w 9998"/>
                <a:gd name="connsiteY71" fmla="*/ 8293 h 10000"/>
                <a:gd name="connsiteX72" fmla="*/ 4828 w 9998"/>
                <a:gd name="connsiteY72" fmla="*/ 8202 h 10000"/>
                <a:gd name="connsiteX73" fmla="*/ 4879 w 9998"/>
                <a:gd name="connsiteY73" fmla="*/ 6865 h 10000"/>
                <a:gd name="connsiteX74" fmla="*/ 4910 w 9998"/>
                <a:gd name="connsiteY74" fmla="*/ 6308 h 10000"/>
                <a:gd name="connsiteX75" fmla="*/ 5056 w 9998"/>
                <a:gd name="connsiteY75" fmla="*/ 6038 h 10000"/>
                <a:gd name="connsiteX76" fmla="*/ 5687 w 9998"/>
                <a:gd name="connsiteY76" fmla="*/ 4763 h 10000"/>
                <a:gd name="connsiteX77" fmla="*/ 6223 w 9998"/>
                <a:gd name="connsiteY77" fmla="*/ 4474 h 10000"/>
                <a:gd name="connsiteX78" fmla="*/ 5915 w 9998"/>
                <a:gd name="connsiteY78" fmla="*/ 3577 h 10000"/>
                <a:gd name="connsiteX79" fmla="*/ 5494 w 9998"/>
                <a:gd name="connsiteY79" fmla="*/ 3288 h 10000"/>
                <a:gd name="connsiteX80" fmla="*/ 5330 w 9998"/>
                <a:gd name="connsiteY80" fmla="*/ 2940 h 10000"/>
                <a:gd name="connsiteX81" fmla="*/ 5979 w 9998"/>
                <a:gd name="connsiteY81" fmla="*/ 2714 h 10000"/>
                <a:gd name="connsiteX82" fmla="*/ 7227 w 9998"/>
                <a:gd name="connsiteY82" fmla="*/ 2094 h 10000"/>
                <a:gd name="connsiteX83" fmla="*/ 7195 w 9998"/>
                <a:gd name="connsiteY83" fmla="*/ 1501 h 10000"/>
                <a:gd name="connsiteX84" fmla="*/ 6888 w 9998"/>
                <a:gd name="connsiteY84" fmla="*/ 1367 h 10000"/>
                <a:gd name="connsiteX85" fmla="*/ 5898 w 9998"/>
                <a:gd name="connsiteY85" fmla="*/ 1564 h 10000"/>
                <a:gd name="connsiteX86" fmla="*/ 5509 w 9998"/>
                <a:gd name="connsiteY86" fmla="*/ 1691 h 10000"/>
                <a:gd name="connsiteX87" fmla="*/ 5381 w 9998"/>
                <a:gd name="connsiteY87" fmla="*/ 1592 h 10000"/>
                <a:gd name="connsiteX88" fmla="*/ 5882 w 9998"/>
                <a:gd name="connsiteY88" fmla="*/ 1286 h 10000"/>
                <a:gd name="connsiteX89" fmla="*/ 6385 w 9998"/>
                <a:gd name="connsiteY89" fmla="*/ 1079 h 10000"/>
                <a:gd name="connsiteX90" fmla="*/ 6724 w 9998"/>
                <a:gd name="connsiteY90" fmla="*/ 666 h 10000"/>
                <a:gd name="connsiteX91" fmla="*/ 7244 w 9998"/>
                <a:gd name="connsiteY91" fmla="*/ 361 h 10000"/>
                <a:gd name="connsiteX92" fmla="*/ 7828 w 9998"/>
                <a:gd name="connsiteY92" fmla="*/ 460 h 10000"/>
                <a:gd name="connsiteX93" fmla="*/ 8135 w 9998"/>
                <a:gd name="connsiteY93" fmla="*/ 1187 h 10000"/>
                <a:gd name="connsiteX94" fmla="*/ 7422 w 9998"/>
                <a:gd name="connsiteY94" fmla="*/ 2202 h 10000"/>
                <a:gd name="connsiteX95" fmla="*/ 7309 w 9998"/>
                <a:gd name="connsiteY95" fmla="*/ 3065 h 10000"/>
                <a:gd name="connsiteX96" fmla="*/ 8296 w 9998"/>
                <a:gd name="connsiteY96" fmla="*/ 3416 h 10000"/>
                <a:gd name="connsiteX97" fmla="*/ 8929 w 9998"/>
                <a:gd name="connsiteY97" fmla="*/ 3900 h 10000"/>
                <a:gd name="connsiteX98" fmla="*/ 9853 w 9998"/>
                <a:gd name="connsiteY98" fmla="*/ 4322 h 10000"/>
                <a:gd name="connsiteX99" fmla="*/ 9998 w 9998"/>
                <a:gd name="connsiteY99" fmla="*/ 4474 h 10000"/>
                <a:gd name="connsiteX0" fmla="*/ 9855 w 9860"/>
                <a:gd name="connsiteY0" fmla="*/ 4322 h 10000"/>
                <a:gd name="connsiteX1" fmla="*/ 9304 w 9860"/>
                <a:gd name="connsiteY1" fmla="*/ 3793 h 10000"/>
                <a:gd name="connsiteX2" fmla="*/ 8849 w 9860"/>
                <a:gd name="connsiteY2" fmla="*/ 3442 h 10000"/>
                <a:gd name="connsiteX3" fmla="*/ 8104 w 9860"/>
                <a:gd name="connsiteY3" fmla="*/ 3109 h 10000"/>
                <a:gd name="connsiteX4" fmla="*/ 7716 w 9860"/>
                <a:gd name="connsiteY4" fmla="*/ 2382 h 10000"/>
                <a:gd name="connsiteX5" fmla="*/ 8574 w 9860"/>
                <a:gd name="connsiteY5" fmla="*/ 1187 h 10000"/>
                <a:gd name="connsiteX6" fmla="*/ 8137 w 9860"/>
                <a:gd name="connsiteY6" fmla="*/ 280 h 10000"/>
                <a:gd name="connsiteX7" fmla="*/ 7228 w 9860"/>
                <a:gd name="connsiteY7" fmla="*/ 118 h 10000"/>
                <a:gd name="connsiteX8" fmla="*/ 6288 w 9860"/>
                <a:gd name="connsiteY8" fmla="*/ 621 h 10000"/>
                <a:gd name="connsiteX9" fmla="*/ 6077 w 9860"/>
                <a:gd name="connsiteY9" fmla="*/ 908 h 10000"/>
                <a:gd name="connsiteX10" fmla="*/ 5657 w 9860"/>
                <a:gd name="connsiteY10" fmla="*/ 1079 h 10000"/>
                <a:gd name="connsiteX11" fmla="*/ 4976 w 9860"/>
                <a:gd name="connsiteY11" fmla="*/ 1754 h 10000"/>
                <a:gd name="connsiteX12" fmla="*/ 5235 w 9860"/>
                <a:gd name="connsiteY12" fmla="*/ 1933 h 10000"/>
                <a:gd name="connsiteX13" fmla="*/ 6142 w 9860"/>
                <a:gd name="connsiteY13" fmla="*/ 1772 h 10000"/>
                <a:gd name="connsiteX14" fmla="*/ 6645 w 9860"/>
                <a:gd name="connsiteY14" fmla="*/ 1610 h 10000"/>
                <a:gd name="connsiteX15" fmla="*/ 6822 w 9860"/>
                <a:gd name="connsiteY15" fmla="*/ 1626 h 10000"/>
                <a:gd name="connsiteX16" fmla="*/ 6822 w 9860"/>
                <a:gd name="connsiteY16" fmla="*/ 1996 h 10000"/>
                <a:gd name="connsiteX17" fmla="*/ 5851 w 9860"/>
                <a:gd name="connsiteY17" fmla="*/ 2481 h 10000"/>
                <a:gd name="connsiteX18" fmla="*/ 4927 w 9860"/>
                <a:gd name="connsiteY18" fmla="*/ 2858 h 10000"/>
                <a:gd name="connsiteX19" fmla="*/ 5105 w 9860"/>
                <a:gd name="connsiteY19" fmla="*/ 3424 h 10000"/>
                <a:gd name="connsiteX20" fmla="*/ 5592 w 9860"/>
                <a:gd name="connsiteY20" fmla="*/ 3747 h 10000"/>
                <a:gd name="connsiteX21" fmla="*/ 5867 w 9860"/>
                <a:gd name="connsiteY21" fmla="*/ 4340 h 10000"/>
                <a:gd name="connsiteX22" fmla="*/ 5445 w 9860"/>
                <a:gd name="connsiteY22" fmla="*/ 4556 h 10000"/>
                <a:gd name="connsiteX23" fmla="*/ 4620 w 9860"/>
                <a:gd name="connsiteY23" fmla="*/ 6038 h 10000"/>
                <a:gd name="connsiteX24" fmla="*/ 4701 w 9860"/>
                <a:gd name="connsiteY24" fmla="*/ 6298 h 10000"/>
                <a:gd name="connsiteX25" fmla="*/ 4684 w 9860"/>
                <a:gd name="connsiteY25" fmla="*/ 6865 h 10000"/>
                <a:gd name="connsiteX26" fmla="*/ 4637 w 9860"/>
                <a:gd name="connsiteY26" fmla="*/ 8202 h 10000"/>
                <a:gd name="connsiteX27" fmla="*/ 4637 w 9860"/>
                <a:gd name="connsiteY27" fmla="*/ 8293 h 10000"/>
                <a:gd name="connsiteX28" fmla="*/ 4344 w 9860"/>
                <a:gd name="connsiteY28" fmla="*/ 9873 h 10000"/>
                <a:gd name="connsiteX29" fmla="*/ 4313 w 9860"/>
                <a:gd name="connsiteY29" fmla="*/ 9891 h 10000"/>
                <a:gd name="connsiteX30" fmla="*/ 4214 w 9860"/>
                <a:gd name="connsiteY30" fmla="*/ 9864 h 10000"/>
                <a:gd name="connsiteX31" fmla="*/ 3938 w 9860"/>
                <a:gd name="connsiteY31" fmla="*/ 8185 h 10000"/>
                <a:gd name="connsiteX32" fmla="*/ 4085 w 9860"/>
                <a:gd name="connsiteY32" fmla="*/ 6253 h 10000"/>
                <a:gd name="connsiteX33" fmla="*/ 4214 w 9860"/>
                <a:gd name="connsiteY33" fmla="*/ 5957 h 10000"/>
                <a:gd name="connsiteX34" fmla="*/ 4231 w 9860"/>
                <a:gd name="connsiteY34" fmla="*/ 5885 h 10000"/>
                <a:gd name="connsiteX35" fmla="*/ 3875 w 9860"/>
                <a:gd name="connsiteY35" fmla="*/ 4098 h 10000"/>
                <a:gd name="connsiteX36" fmla="*/ 3711 w 9860"/>
                <a:gd name="connsiteY36" fmla="*/ 3073 h 10000"/>
                <a:gd name="connsiteX37" fmla="*/ 4101 w 9860"/>
                <a:gd name="connsiteY37" fmla="*/ 2004 h 10000"/>
                <a:gd name="connsiteX38" fmla="*/ 4344 w 9860"/>
                <a:gd name="connsiteY38" fmla="*/ 1600 h 10000"/>
                <a:gd name="connsiteX39" fmla="*/ 4392 w 9860"/>
                <a:gd name="connsiteY39" fmla="*/ 1493 h 10000"/>
                <a:gd name="connsiteX40" fmla="*/ 4181 w 9860"/>
                <a:gd name="connsiteY40" fmla="*/ 262 h 10000"/>
                <a:gd name="connsiteX41" fmla="*/ 3128 w 9860"/>
                <a:gd name="connsiteY41" fmla="*/ 1 h 10000"/>
                <a:gd name="connsiteX42" fmla="*/ 2561 w 9860"/>
                <a:gd name="connsiteY42" fmla="*/ 136 h 10000"/>
                <a:gd name="connsiteX43" fmla="*/ 2430 w 9860"/>
                <a:gd name="connsiteY43" fmla="*/ 621 h 10000"/>
                <a:gd name="connsiteX44" fmla="*/ 2268 w 9860"/>
                <a:gd name="connsiteY44" fmla="*/ 999 h 10000"/>
                <a:gd name="connsiteX45" fmla="*/ 1507 w 9860"/>
                <a:gd name="connsiteY45" fmla="*/ 703 h 10000"/>
                <a:gd name="connsiteX46" fmla="*/ 520 w 9860"/>
                <a:gd name="connsiteY46" fmla="*/ 307 h 10000"/>
                <a:gd name="connsiteX47" fmla="*/ 32 w 9860"/>
                <a:gd name="connsiteY47" fmla="*/ 280 h 10000"/>
                <a:gd name="connsiteX48" fmla="*/ 32 w 9860"/>
                <a:gd name="connsiteY48" fmla="*/ 280 h 10000"/>
                <a:gd name="connsiteX49" fmla="*/ 420 w 9860"/>
                <a:gd name="connsiteY49" fmla="*/ 432 h 10000"/>
                <a:gd name="connsiteX50" fmla="*/ 0 w 9860"/>
                <a:gd name="connsiteY50" fmla="*/ 603 h 10000"/>
                <a:gd name="connsiteX51" fmla="*/ 0 w 9860"/>
                <a:gd name="connsiteY51" fmla="*/ 603 h 10000"/>
                <a:gd name="connsiteX52" fmla="*/ 533 w 9860"/>
                <a:gd name="connsiteY52" fmla="*/ 586 h 10000"/>
                <a:gd name="connsiteX53" fmla="*/ 1167 w 9860"/>
                <a:gd name="connsiteY53" fmla="*/ 864 h 10000"/>
                <a:gd name="connsiteX54" fmla="*/ 2415 w 9860"/>
                <a:gd name="connsiteY54" fmla="*/ 1233 h 10000"/>
                <a:gd name="connsiteX55" fmla="*/ 2869 w 9860"/>
                <a:gd name="connsiteY55" fmla="*/ 594 h 10000"/>
                <a:gd name="connsiteX56" fmla="*/ 2901 w 9860"/>
                <a:gd name="connsiteY56" fmla="*/ 298 h 10000"/>
                <a:gd name="connsiteX57" fmla="*/ 3161 w 9860"/>
                <a:gd name="connsiteY57" fmla="*/ 253 h 10000"/>
                <a:gd name="connsiteX58" fmla="*/ 3840 w 9860"/>
                <a:gd name="connsiteY58" fmla="*/ 414 h 10000"/>
                <a:gd name="connsiteX59" fmla="*/ 3987 w 9860"/>
                <a:gd name="connsiteY59" fmla="*/ 1421 h 10000"/>
                <a:gd name="connsiteX60" fmla="*/ 3922 w 9860"/>
                <a:gd name="connsiteY60" fmla="*/ 1528 h 10000"/>
                <a:gd name="connsiteX61" fmla="*/ 3711 w 9860"/>
                <a:gd name="connsiteY61" fmla="*/ 1889 h 10000"/>
                <a:gd name="connsiteX62" fmla="*/ 3274 w 9860"/>
                <a:gd name="connsiteY62" fmla="*/ 3109 h 10000"/>
                <a:gd name="connsiteX63" fmla="*/ 3453 w 9860"/>
                <a:gd name="connsiteY63" fmla="*/ 4170 h 10000"/>
                <a:gd name="connsiteX64" fmla="*/ 3793 w 9860"/>
                <a:gd name="connsiteY64" fmla="*/ 5859 h 10000"/>
                <a:gd name="connsiteX65" fmla="*/ 3777 w 9860"/>
                <a:gd name="connsiteY65" fmla="*/ 5930 h 10000"/>
                <a:gd name="connsiteX66" fmla="*/ 3891 w 9860"/>
                <a:gd name="connsiteY66" fmla="*/ 6253 h 10000"/>
                <a:gd name="connsiteX67" fmla="*/ 3744 w 9860"/>
                <a:gd name="connsiteY67" fmla="*/ 8185 h 10000"/>
                <a:gd name="connsiteX68" fmla="*/ 4085 w 9860"/>
                <a:gd name="connsiteY68" fmla="*/ 9946 h 10000"/>
                <a:gd name="connsiteX69" fmla="*/ 4313 w 9860"/>
                <a:gd name="connsiteY69" fmla="*/ 10000 h 10000"/>
                <a:gd name="connsiteX70" fmla="*/ 4490 w 9860"/>
                <a:gd name="connsiteY70" fmla="*/ 9954 h 10000"/>
                <a:gd name="connsiteX71" fmla="*/ 4829 w 9860"/>
                <a:gd name="connsiteY71" fmla="*/ 8293 h 10000"/>
                <a:gd name="connsiteX72" fmla="*/ 4829 w 9860"/>
                <a:gd name="connsiteY72" fmla="*/ 8202 h 10000"/>
                <a:gd name="connsiteX73" fmla="*/ 4880 w 9860"/>
                <a:gd name="connsiteY73" fmla="*/ 6865 h 10000"/>
                <a:gd name="connsiteX74" fmla="*/ 4911 w 9860"/>
                <a:gd name="connsiteY74" fmla="*/ 6308 h 10000"/>
                <a:gd name="connsiteX75" fmla="*/ 5057 w 9860"/>
                <a:gd name="connsiteY75" fmla="*/ 6038 h 10000"/>
                <a:gd name="connsiteX76" fmla="*/ 5688 w 9860"/>
                <a:gd name="connsiteY76" fmla="*/ 4763 h 10000"/>
                <a:gd name="connsiteX77" fmla="*/ 6224 w 9860"/>
                <a:gd name="connsiteY77" fmla="*/ 4474 h 10000"/>
                <a:gd name="connsiteX78" fmla="*/ 5916 w 9860"/>
                <a:gd name="connsiteY78" fmla="*/ 3577 h 10000"/>
                <a:gd name="connsiteX79" fmla="*/ 5495 w 9860"/>
                <a:gd name="connsiteY79" fmla="*/ 3288 h 10000"/>
                <a:gd name="connsiteX80" fmla="*/ 5331 w 9860"/>
                <a:gd name="connsiteY80" fmla="*/ 2940 h 10000"/>
                <a:gd name="connsiteX81" fmla="*/ 5980 w 9860"/>
                <a:gd name="connsiteY81" fmla="*/ 2714 h 10000"/>
                <a:gd name="connsiteX82" fmla="*/ 7228 w 9860"/>
                <a:gd name="connsiteY82" fmla="*/ 2094 h 10000"/>
                <a:gd name="connsiteX83" fmla="*/ 7196 w 9860"/>
                <a:gd name="connsiteY83" fmla="*/ 1501 h 10000"/>
                <a:gd name="connsiteX84" fmla="*/ 6889 w 9860"/>
                <a:gd name="connsiteY84" fmla="*/ 1367 h 10000"/>
                <a:gd name="connsiteX85" fmla="*/ 5899 w 9860"/>
                <a:gd name="connsiteY85" fmla="*/ 1564 h 10000"/>
                <a:gd name="connsiteX86" fmla="*/ 5510 w 9860"/>
                <a:gd name="connsiteY86" fmla="*/ 1691 h 10000"/>
                <a:gd name="connsiteX87" fmla="*/ 5382 w 9860"/>
                <a:gd name="connsiteY87" fmla="*/ 1592 h 10000"/>
                <a:gd name="connsiteX88" fmla="*/ 5883 w 9860"/>
                <a:gd name="connsiteY88" fmla="*/ 1286 h 10000"/>
                <a:gd name="connsiteX89" fmla="*/ 6386 w 9860"/>
                <a:gd name="connsiteY89" fmla="*/ 1079 h 10000"/>
                <a:gd name="connsiteX90" fmla="*/ 6725 w 9860"/>
                <a:gd name="connsiteY90" fmla="*/ 666 h 10000"/>
                <a:gd name="connsiteX91" fmla="*/ 7245 w 9860"/>
                <a:gd name="connsiteY91" fmla="*/ 361 h 10000"/>
                <a:gd name="connsiteX92" fmla="*/ 7830 w 9860"/>
                <a:gd name="connsiteY92" fmla="*/ 460 h 10000"/>
                <a:gd name="connsiteX93" fmla="*/ 8137 w 9860"/>
                <a:gd name="connsiteY93" fmla="*/ 1187 h 10000"/>
                <a:gd name="connsiteX94" fmla="*/ 7423 w 9860"/>
                <a:gd name="connsiteY94" fmla="*/ 2202 h 10000"/>
                <a:gd name="connsiteX95" fmla="*/ 7310 w 9860"/>
                <a:gd name="connsiteY95" fmla="*/ 3065 h 10000"/>
                <a:gd name="connsiteX96" fmla="*/ 8298 w 9860"/>
                <a:gd name="connsiteY96" fmla="*/ 3416 h 10000"/>
                <a:gd name="connsiteX97" fmla="*/ 8931 w 9860"/>
                <a:gd name="connsiteY97" fmla="*/ 3900 h 10000"/>
                <a:gd name="connsiteX98" fmla="*/ 9855 w 9860"/>
                <a:gd name="connsiteY98" fmla="*/ 4322 h 10000"/>
                <a:gd name="connsiteX0" fmla="*/ 9058 w 9436"/>
                <a:gd name="connsiteY0" fmla="*/ 3900 h 10000"/>
                <a:gd name="connsiteX1" fmla="*/ 9436 w 9436"/>
                <a:gd name="connsiteY1" fmla="*/ 3793 h 10000"/>
                <a:gd name="connsiteX2" fmla="*/ 8975 w 9436"/>
                <a:gd name="connsiteY2" fmla="*/ 3442 h 10000"/>
                <a:gd name="connsiteX3" fmla="*/ 8219 w 9436"/>
                <a:gd name="connsiteY3" fmla="*/ 3109 h 10000"/>
                <a:gd name="connsiteX4" fmla="*/ 7826 w 9436"/>
                <a:gd name="connsiteY4" fmla="*/ 2382 h 10000"/>
                <a:gd name="connsiteX5" fmla="*/ 8696 w 9436"/>
                <a:gd name="connsiteY5" fmla="*/ 1187 h 10000"/>
                <a:gd name="connsiteX6" fmla="*/ 8253 w 9436"/>
                <a:gd name="connsiteY6" fmla="*/ 280 h 10000"/>
                <a:gd name="connsiteX7" fmla="*/ 7331 w 9436"/>
                <a:gd name="connsiteY7" fmla="*/ 118 h 10000"/>
                <a:gd name="connsiteX8" fmla="*/ 6377 w 9436"/>
                <a:gd name="connsiteY8" fmla="*/ 621 h 10000"/>
                <a:gd name="connsiteX9" fmla="*/ 6163 w 9436"/>
                <a:gd name="connsiteY9" fmla="*/ 908 h 10000"/>
                <a:gd name="connsiteX10" fmla="*/ 5737 w 9436"/>
                <a:gd name="connsiteY10" fmla="*/ 1079 h 10000"/>
                <a:gd name="connsiteX11" fmla="*/ 5047 w 9436"/>
                <a:gd name="connsiteY11" fmla="*/ 1754 h 10000"/>
                <a:gd name="connsiteX12" fmla="*/ 5309 w 9436"/>
                <a:gd name="connsiteY12" fmla="*/ 1933 h 10000"/>
                <a:gd name="connsiteX13" fmla="*/ 6229 w 9436"/>
                <a:gd name="connsiteY13" fmla="*/ 1772 h 10000"/>
                <a:gd name="connsiteX14" fmla="*/ 6739 w 9436"/>
                <a:gd name="connsiteY14" fmla="*/ 1610 h 10000"/>
                <a:gd name="connsiteX15" fmla="*/ 6919 w 9436"/>
                <a:gd name="connsiteY15" fmla="*/ 1626 h 10000"/>
                <a:gd name="connsiteX16" fmla="*/ 6919 w 9436"/>
                <a:gd name="connsiteY16" fmla="*/ 1996 h 10000"/>
                <a:gd name="connsiteX17" fmla="*/ 5934 w 9436"/>
                <a:gd name="connsiteY17" fmla="*/ 2481 h 10000"/>
                <a:gd name="connsiteX18" fmla="*/ 4997 w 9436"/>
                <a:gd name="connsiteY18" fmla="*/ 2858 h 10000"/>
                <a:gd name="connsiteX19" fmla="*/ 5177 w 9436"/>
                <a:gd name="connsiteY19" fmla="*/ 3424 h 10000"/>
                <a:gd name="connsiteX20" fmla="*/ 5671 w 9436"/>
                <a:gd name="connsiteY20" fmla="*/ 3747 h 10000"/>
                <a:gd name="connsiteX21" fmla="*/ 5950 w 9436"/>
                <a:gd name="connsiteY21" fmla="*/ 4340 h 10000"/>
                <a:gd name="connsiteX22" fmla="*/ 5522 w 9436"/>
                <a:gd name="connsiteY22" fmla="*/ 4556 h 10000"/>
                <a:gd name="connsiteX23" fmla="*/ 4686 w 9436"/>
                <a:gd name="connsiteY23" fmla="*/ 6038 h 10000"/>
                <a:gd name="connsiteX24" fmla="*/ 4768 w 9436"/>
                <a:gd name="connsiteY24" fmla="*/ 6298 h 10000"/>
                <a:gd name="connsiteX25" fmla="*/ 4751 w 9436"/>
                <a:gd name="connsiteY25" fmla="*/ 6865 h 10000"/>
                <a:gd name="connsiteX26" fmla="*/ 4703 w 9436"/>
                <a:gd name="connsiteY26" fmla="*/ 8202 h 10000"/>
                <a:gd name="connsiteX27" fmla="*/ 4703 w 9436"/>
                <a:gd name="connsiteY27" fmla="*/ 8293 h 10000"/>
                <a:gd name="connsiteX28" fmla="*/ 4406 w 9436"/>
                <a:gd name="connsiteY28" fmla="*/ 9873 h 10000"/>
                <a:gd name="connsiteX29" fmla="*/ 4374 w 9436"/>
                <a:gd name="connsiteY29" fmla="*/ 9891 h 10000"/>
                <a:gd name="connsiteX30" fmla="*/ 4274 w 9436"/>
                <a:gd name="connsiteY30" fmla="*/ 9864 h 10000"/>
                <a:gd name="connsiteX31" fmla="*/ 3994 w 9436"/>
                <a:gd name="connsiteY31" fmla="*/ 8185 h 10000"/>
                <a:gd name="connsiteX32" fmla="*/ 4143 w 9436"/>
                <a:gd name="connsiteY32" fmla="*/ 6253 h 10000"/>
                <a:gd name="connsiteX33" fmla="*/ 4274 w 9436"/>
                <a:gd name="connsiteY33" fmla="*/ 5957 h 10000"/>
                <a:gd name="connsiteX34" fmla="*/ 4291 w 9436"/>
                <a:gd name="connsiteY34" fmla="*/ 5885 h 10000"/>
                <a:gd name="connsiteX35" fmla="*/ 3930 w 9436"/>
                <a:gd name="connsiteY35" fmla="*/ 4098 h 10000"/>
                <a:gd name="connsiteX36" fmla="*/ 3764 w 9436"/>
                <a:gd name="connsiteY36" fmla="*/ 3073 h 10000"/>
                <a:gd name="connsiteX37" fmla="*/ 4159 w 9436"/>
                <a:gd name="connsiteY37" fmla="*/ 2004 h 10000"/>
                <a:gd name="connsiteX38" fmla="*/ 4406 w 9436"/>
                <a:gd name="connsiteY38" fmla="*/ 1600 h 10000"/>
                <a:gd name="connsiteX39" fmla="*/ 4454 w 9436"/>
                <a:gd name="connsiteY39" fmla="*/ 1493 h 10000"/>
                <a:gd name="connsiteX40" fmla="*/ 4240 w 9436"/>
                <a:gd name="connsiteY40" fmla="*/ 262 h 10000"/>
                <a:gd name="connsiteX41" fmla="*/ 3172 w 9436"/>
                <a:gd name="connsiteY41" fmla="*/ 1 h 10000"/>
                <a:gd name="connsiteX42" fmla="*/ 2597 w 9436"/>
                <a:gd name="connsiteY42" fmla="*/ 136 h 10000"/>
                <a:gd name="connsiteX43" fmla="*/ 2465 w 9436"/>
                <a:gd name="connsiteY43" fmla="*/ 621 h 10000"/>
                <a:gd name="connsiteX44" fmla="*/ 2300 w 9436"/>
                <a:gd name="connsiteY44" fmla="*/ 999 h 10000"/>
                <a:gd name="connsiteX45" fmla="*/ 1528 w 9436"/>
                <a:gd name="connsiteY45" fmla="*/ 703 h 10000"/>
                <a:gd name="connsiteX46" fmla="*/ 527 w 9436"/>
                <a:gd name="connsiteY46" fmla="*/ 307 h 10000"/>
                <a:gd name="connsiteX47" fmla="*/ 32 w 9436"/>
                <a:gd name="connsiteY47" fmla="*/ 280 h 10000"/>
                <a:gd name="connsiteX48" fmla="*/ 32 w 9436"/>
                <a:gd name="connsiteY48" fmla="*/ 280 h 10000"/>
                <a:gd name="connsiteX49" fmla="*/ 426 w 9436"/>
                <a:gd name="connsiteY49" fmla="*/ 432 h 10000"/>
                <a:gd name="connsiteX50" fmla="*/ 0 w 9436"/>
                <a:gd name="connsiteY50" fmla="*/ 603 h 10000"/>
                <a:gd name="connsiteX51" fmla="*/ 0 w 9436"/>
                <a:gd name="connsiteY51" fmla="*/ 603 h 10000"/>
                <a:gd name="connsiteX52" fmla="*/ 541 w 9436"/>
                <a:gd name="connsiteY52" fmla="*/ 586 h 10000"/>
                <a:gd name="connsiteX53" fmla="*/ 1184 w 9436"/>
                <a:gd name="connsiteY53" fmla="*/ 864 h 10000"/>
                <a:gd name="connsiteX54" fmla="*/ 2449 w 9436"/>
                <a:gd name="connsiteY54" fmla="*/ 1233 h 10000"/>
                <a:gd name="connsiteX55" fmla="*/ 2910 w 9436"/>
                <a:gd name="connsiteY55" fmla="*/ 594 h 10000"/>
                <a:gd name="connsiteX56" fmla="*/ 2942 w 9436"/>
                <a:gd name="connsiteY56" fmla="*/ 298 h 10000"/>
                <a:gd name="connsiteX57" fmla="*/ 3206 w 9436"/>
                <a:gd name="connsiteY57" fmla="*/ 253 h 10000"/>
                <a:gd name="connsiteX58" fmla="*/ 3895 w 9436"/>
                <a:gd name="connsiteY58" fmla="*/ 414 h 10000"/>
                <a:gd name="connsiteX59" fmla="*/ 4044 w 9436"/>
                <a:gd name="connsiteY59" fmla="*/ 1421 h 10000"/>
                <a:gd name="connsiteX60" fmla="*/ 3978 w 9436"/>
                <a:gd name="connsiteY60" fmla="*/ 1528 h 10000"/>
                <a:gd name="connsiteX61" fmla="*/ 3764 w 9436"/>
                <a:gd name="connsiteY61" fmla="*/ 1889 h 10000"/>
                <a:gd name="connsiteX62" fmla="*/ 3320 w 9436"/>
                <a:gd name="connsiteY62" fmla="*/ 3109 h 10000"/>
                <a:gd name="connsiteX63" fmla="*/ 3502 w 9436"/>
                <a:gd name="connsiteY63" fmla="*/ 4170 h 10000"/>
                <a:gd name="connsiteX64" fmla="*/ 3847 w 9436"/>
                <a:gd name="connsiteY64" fmla="*/ 5859 h 10000"/>
                <a:gd name="connsiteX65" fmla="*/ 3831 w 9436"/>
                <a:gd name="connsiteY65" fmla="*/ 5930 h 10000"/>
                <a:gd name="connsiteX66" fmla="*/ 3946 w 9436"/>
                <a:gd name="connsiteY66" fmla="*/ 6253 h 10000"/>
                <a:gd name="connsiteX67" fmla="*/ 3797 w 9436"/>
                <a:gd name="connsiteY67" fmla="*/ 8185 h 10000"/>
                <a:gd name="connsiteX68" fmla="*/ 4143 w 9436"/>
                <a:gd name="connsiteY68" fmla="*/ 9946 h 10000"/>
                <a:gd name="connsiteX69" fmla="*/ 4374 w 9436"/>
                <a:gd name="connsiteY69" fmla="*/ 10000 h 10000"/>
                <a:gd name="connsiteX70" fmla="*/ 4554 w 9436"/>
                <a:gd name="connsiteY70" fmla="*/ 9954 h 10000"/>
                <a:gd name="connsiteX71" fmla="*/ 4898 w 9436"/>
                <a:gd name="connsiteY71" fmla="*/ 8293 h 10000"/>
                <a:gd name="connsiteX72" fmla="*/ 4898 w 9436"/>
                <a:gd name="connsiteY72" fmla="*/ 8202 h 10000"/>
                <a:gd name="connsiteX73" fmla="*/ 4949 w 9436"/>
                <a:gd name="connsiteY73" fmla="*/ 6865 h 10000"/>
                <a:gd name="connsiteX74" fmla="*/ 4981 w 9436"/>
                <a:gd name="connsiteY74" fmla="*/ 6308 h 10000"/>
                <a:gd name="connsiteX75" fmla="*/ 5129 w 9436"/>
                <a:gd name="connsiteY75" fmla="*/ 6038 h 10000"/>
                <a:gd name="connsiteX76" fmla="*/ 5769 w 9436"/>
                <a:gd name="connsiteY76" fmla="*/ 4763 h 10000"/>
                <a:gd name="connsiteX77" fmla="*/ 6312 w 9436"/>
                <a:gd name="connsiteY77" fmla="*/ 4474 h 10000"/>
                <a:gd name="connsiteX78" fmla="*/ 6000 w 9436"/>
                <a:gd name="connsiteY78" fmla="*/ 3577 h 10000"/>
                <a:gd name="connsiteX79" fmla="*/ 5573 w 9436"/>
                <a:gd name="connsiteY79" fmla="*/ 3288 h 10000"/>
                <a:gd name="connsiteX80" fmla="*/ 5407 w 9436"/>
                <a:gd name="connsiteY80" fmla="*/ 2940 h 10000"/>
                <a:gd name="connsiteX81" fmla="*/ 6065 w 9436"/>
                <a:gd name="connsiteY81" fmla="*/ 2714 h 10000"/>
                <a:gd name="connsiteX82" fmla="*/ 7331 w 9436"/>
                <a:gd name="connsiteY82" fmla="*/ 2094 h 10000"/>
                <a:gd name="connsiteX83" fmla="*/ 7298 w 9436"/>
                <a:gd name="connsiteY83" fmla="*/ 1501 h 10000"/>
                <a:gd name="connsiteX84" fmla="*/ 6987 w 9436"/>
                <a:gd name="connsiteY84" fmla="*/ 1367 h 10000"/>
                <a:gd name="connsiteX85" fmla="*/ 5983 w 9436"/>
                <a:gd name="connsiteY85" fmla="*/ 1564 h 10000"/>
                <a:gd name="connsiteX86" fmla="*/ 5588 w 9436"/>
                <a:gd name="connsiteY86" fmla="*/ 1691 h 10000"/>
                <a:gd name="connsiteX87" fmla="*/ 5458 w 9436"/>
                <a:gd name="connsiteY87" fmla="*/ 1592 h 10000"/>
                <a:gd name="connsiteX88" fmla="*/ 5967 w 9436"/>
                <a:gd name="connsiteY88" fmla="*/ 1286 h 10000"/>
                <a:gd name="connsiteX89" fmla="*/ 6477 w 9436"/>
                <a:gd name="connsiteY89" fmla="*/ 1079 h 10000"/>
                <a:gd name="connsiteX90" fmla="*/ 6820 w 9436"/>
                <a:gd name="connsiteY90" fmla="*/ 666 h 10000"/>
                <a:gd name="connsiteX91" fmla="*/ 7348 w 9436"/>
                <a:gd name="connsiteY91" fmla="*/ 361 h 10000"/>
                <a:gd name="connsiteX92" fmla="*/ 7941 w 9436"/>
                <a:gd name="connsiteY92" fmla="*/ 460 h 10000"/>
                <a:gd name="connsiteX93" fmla="*/ 8253 w 9436"/>
                <a:gd name="connsiteY93" fmla="*/ 1187 h 10000"/>
                <a:gd name="connsiteX94" fmla="*/ 7528 w 9436"/>
                <a:gd name="connsiteY94" fmla="*/ 2202 h 10000"/>
                <a:gd name="connsiteX95" fmla="*/ 7414 w 9436"/>
                <a:gd name="connsiteY95" fmla="*/ 3065 h 10000"/>
                <a:gd name="connsiteX96" fmla="*/ 8416 w 9436"/>
                <a:gd name="connsiteY96" fmla="*/ 3416 h 10000"/>
                <a:gd name="connsiteX97" fmla="*/ 9058 w 9436"/>
                <a:gd name="connsiteY97" fmla="*/ 3900 h 10000"/>
                <a:gd name="connsiteX0" fmla="*/ 8919 w 10000"/>
                <a:gd name="connsiteY0" fmla="*/ 3416 h 10000"/>
                <a:gd name="connsiteX1" fmla="*/ 10000 w 10000"/>
                <a:gd name="connsiteY1" fmla="*/ 3793 h 10000"/>
                <a:gd name="connsiteX2" fmla="*/ 9511 w 10000"/>
                <a:gd name="connsiteY2" fmla="*/ 3442 h 10000"/>
                <a:gd name="connsiteX3" fmla="*/ 8710 w 10000"/>
                <a:gd name="connsiteY3" fmla="*/ 3109 h 10000"/>
                <a:gd name="connsiteX4" fmla="*/ 8294 w 10000"/>
                <a:gd name="connsiteY4" fmla="*/ 2382 h 10000"/>
                <a:gd name="connsiteX5" fmla="*/ 9216 w 10000"/>
                <a:gd name="connsiteY5" fmla="*/ 1187 h 10000"/>
                <a:gd name="connsiteX6" fmla="*/ 8746 w 10000"/>
                <a:gd name="connsiteY6" fmla="*/ 280 h 10000"/>
                <a:gd name="connsiteX7" fmla="*/ 7769 w 10000"/>
                <a:gd name="connsiteY7" fmla="*/ 118 h 10000"/>
                <a:gd name="connsiteX8" fmla="*/ 6758 w 10000"/>
                <a:gd name="connsiteY8" fmla="*/ 621 h 10000"/>
                <a:gd name="connsiteX9" fmla="*/ 6531 w 10000"/>
                <a:gd name="connsiteY9" fmla="*/ 908 h 10000"/>
                <a:gd name="connsiteX10" fmla="*/ 6080 w 10000"/>
                <a:gd name="connsiteY10" fmla="*/ 1079 h 10000"/>
                <a:gd name="connsiteX11" fmla="*/ 5349 w 10000"/>
                <a:gd name="connsiteY11" fmla="*/ 1754 h 10000"/>
                <a:gd name="connsiteX12" fmla="*/ 5626 w 10000"/>
                <a:gd name="connsiteY12" fmla="*/ 1933 h 10000"/>
                <a:gd name="connsiteX13" fmla="*/ 6601 w 10000"/>
                <a:gd name="connsiteY13" fmla="*/ 1772 h 10000"/>
                <a:gd name="connsiteX14" fmla="*/ 7142 w 10000"/>
                <a:gd name="connsiteY14" fmla="*/ 1610 h 10000"/>
                <a:gd name="connsiteX15" fmla="*/ 7333 w 10000"/>
                <a:gd name="connsiteY15" fmla="*/ 1626 h 10000"/>
                <a:gd name="connsiteX16" fmla="*/ 7333 w 10000"/>
                <a:gd name="connsiteY16" fmla="*/ 1996 h 10000"/>
                <a:gd name="connsiteX17" fmla="*/ 6289 w 10000"/>
                <a:gd name="connsiteY17" fmla="*/ 2481 h 10000"/>
                <a:gd name="connsiteX18" fmla="*/ 5296 w 10000"/>
                <a:gd name="connsiteY18" fmla="*/ 2858 h 10000"/>
                <a:gd name="connsiteX19" fmla="*/ 5486 w 10000"/>
                <a:gd name="connsiteY19" fmla="*/ 3424 h 10000"/>
                <a:gd name="connsiteX20" fmla="*/ 6010 w 10000"/>
                <a:gd name="connsiteY20" fmla="*/ 3747 h 10000"/>
                <a:gd name="connsiteX21" fmla="*/ 6306 w 10000"/>
                <a:gd name="connsiteY21" fmla="*/ 4340 h 10000"/>
                <a:gd name="connsiteX22" fmla="*/ 5852 w 10000"/>
                <a:gd name="connsiteY22" fmla="*/ 4556 h 10000"/>
                <a:gd name="connsiteX23" fmla="*/ 4966 w 10000"/>
                <a:gd name="connsiteY23" fmla="*/ 6038 h 10000"/>
                <a:gd name="connsiteX24" fmla="*/ 5053 w 10000"/>
                <a:gd name="connsiteY24" fmla="*/ 6298 h 10000"/>
                <a:gd name="connsiteX25" fmla="*/ 5035 w 10000"/>
                <a:gd name="connsiteY25" fmla="*/ 6865 h 10000"/>
                <a:gd name="connsiteX26" fmla="*/ 4984 w 10000"/>
                <a:gd name="connsiteY26" fmla="*/ 8202 h 10000"/>
                <a:gd name="connsiteX27" fmla="*/ 4984 w 10000"/>
                <a:gd name="connsiteY27" fmla="*/ 8293 h 10000"/>
                <a:gd name="connsiteX28" fmla="*/ 4669 w 10000"/>
                <a:gd name="connsiteY28" fmla="*/ 9873 h 10000"/>
                <a:gd name="connsiteX29" fmla="*/ 4635 w 10000"/>
                <a:gd name="connsiteY29" fmla="*/ 9891 h 10000"/>
                <a:gd name="connsiteX30" fmla="*/ 4529 w 10000"/>
                <a:gd name="connsiteY30" fmla="*/ 9864 h 10000"/>
                <a:gd name="connsiteX31" fmla="*/ 4233 w 10000"/>
                <a:gd name="connsiteY31" fmla="*/ 8185 h 10000"/>
                <a:gd name="connsiteX32" fmla="*/ 4391 w 10000"/>
                <a:gd name="connsiteY32" fmla="*/ 6253 h 10000"/>
                <a:gd name="connsiteX33" fmla="*/ 4529 w 10000"/>
                <a:gd name="connsiteY33" fmla="*/ 5957 h 10000"/>
                <a:gd name="connsiteX34" fmla="*/ 4547 w 10000"/>
                <a:gd name="connsiteY34" fmla="*/ 5885 h 10000"/>
                <a:gd name="connsiteX35" fmla="*/ 4165 w 10000"/>
                <a:gd name="connsiteY35" fmla="*/ 4098 h 10000"/>
                <a:gd name="connsiteX36" fmla="*/ 3989 w 10000"/>
                <a:gd name="connsiteY36" fmla="*/ 3073 h 10000"/>
                <a:gd name="connsiteX37" fmla="*/ 4408 w 10000"/>
                <a:gd name="connsiteY37" fmla="*/ 2004 h 10000"/>
                <a:gd name="connsiteX38" fmla="*/ 4669 w 10000"/>
                <a:gd name="connsiteY38" fmla="*/ 1600 h 10000"/>
                <a:gd name="connsiteX39" fmla="*/ 4720 w 10000"/>
                <a:gd name="connsiteY39" fmla="*/ 1493 h 10000"/>
                <a:gd name="connsiteX40" fmla="*/ 4493 w 10000"/>
                <a:gd name="connsiteY40" fmla="*/ 262 h 10000"/>
                <a:gd name="connsiteX41" fmla="*/ 3362 w 10000"/>
                <a:gd name="connsiteY41" fmla="*/ 1 h 10000"/>
                <a:gd name="connsiteX42" fmla="*/ 2752 w 10000"/>
                <a:gd name="connsiteY42" fmla="*/ 136 h 10000"/>
                <a:gd name="connsiteX43" fmla="*/ 2612 w 10000"/>
                <a:gd name="connsiteY43" fmla="*/ 621 h 10000"/>
                <a:gd name="connsiteX44" fmla="*/ 2437 w 10000"/>
                <a:gd name="connsiteY44" fmla="*/ 999 h 10000"/>
                <a:gd name="connsiteX45" fmla="*/ 1619 w 10000"/>
                <a:gd name="connsiteY45" fmla="*/ 703 h 10000"/>
                <a:gd name="connsiteX46" fmla="*/ 558 w 10000"/>
                <a:gd name="connsiteY46" fmla="*/ 307 h 10000"/>
                <a:gd name="connsiteX47" fmla="*/ 34 w 10000"/>
                <a:gd name="connsiteY47" fmla="*/ 280 h 10000"/>
                <a:gd name="connsiteX48" fmla="*/ 34 w 10000"/>
                <a:gd name="connsiteY48" fmla="*/ 280 h 10000"/>
                <a:gd name="connsiteX49" fmla="*/ 451 w 10000"/>
                <a:gd name="connsiteY49" fmla="*/ 432 h 10000"/>
                <a:gd name="connsiteX50" fmla="*/ 0 w 10000"/>
                <a:gd name="connsiteY50" fmla="*/ 603 h 10000"/>
                <a:gd name="connsiteX51" fmla="*/ 0 w 10000"/>
                <a:gd name="connsiteY51" fmla="*/ 603 h 10000"/>
                <a:gd name="connsiteX52" fmla="*/ 573 w 10000"/>
                <a:gd name="connsiteY52" fmla="*/ 586 h 10000"/>
                <a:gd name="connsiteX53" fmla="*/ 1255 w 10000"/>
                <a:gd name="connsiteY53" fmla="*/ 864 h 10000"/>
                <a:gd name="connsiteX54" fmla="*/ 2595 w 10000"/>
                <a:gd name="connsiteY54" fmla="*/ 1233 h 10000"/>
                <a:gd name="connsiteX55" fmla="*/ 3084 w 10000"/>
                <a:gd name="connsiteY55" fmla="*/ 594 h 10000"/>
                <a:gd name="connsiteX56" fmla="*/ 3118 w 10000"/>
                <a:gd name="connsiteY56" fmla="*/ 298 h 10000"/>
                <a:gd name="connsiteX57" fmla="*/ 3398 w 10000"/>
                <a:gd name="connsiteY57" fmla="*/ 253 h 10000"/>
                <a:gd name="connsiteX58" fmla="*/ 4128 w 10000"/>
                <a:gd name="connsiteY58" fmla="*/ 414 h 10000"/>
                <a:gd name="connsiteX59" fmla="*/ 4286 w 10000"/>
                <a:gd name="connsiteY59" fmla="*/ 1421 h 10000"/>
                <a:gd name="connsiteX60" fmla="*/ 4216 w 10000"/>
                <a:gd name="connsiteY60" fmla="*/ 1528 h 10000"/>
                <a:gd name="connsiteX61" fmla="*/ 3989 w 10000"/>
                <a:gd name="connsiteY61" fmla="*/ 1889 h 10000"/>
                <a:gd name="connsiteX62" fmla="*/ 3518 w 10000"/>
                <a:gd name="connsiteY62" fmla="*/ 3109 h 10000"/>
                <a:gd name="connsiteX63" fmla="*/ 3711 w 10000"/>
                <a:gd name="connsiteY63" fmla="*/ 4170 h 10000"/>
                <a:gd name="connsiteX64" fmla="*/ 4077 w 10000"/>
                <a:gd name="connsiteY64" fmla="*/ 5859 h 10000"/>
                <a:gd name="connsiteX65" fmla="*/ 4060 w 10000"/>
                <a:gd name="connsiteY65" fmla="*/ 5930 h 10000"/>
                <a:gd name="connsiteX66" fmla="*/ 4182 w 10000"/>
                <a:gd name="connsiteY66" fmla="*/ 6253 h 10000"/>
                <a:gd name="connsiteX67" fmla="*/ 4024 w 10000"/>
                <a:gd name="connsiteY67" fmla="*/ 8185 h 10000"/>
                <a:gd name="connsiteX68" fmla="*/ 4391 w 10000"/>
                <a:gd name="connsiteY68" fmla="*/ 9946 h 10000"/>
                <a:gd name="connsiteX69" fmla="*/ 4635 w 10000"/>
                <a:gd name="connsiteY69" fmla="*/ 10000 h 10000"/>
                <a:gd name="connsiteX70" fmla="*/ 4826 w 10000"/>
                <a:gd name="connsiteY70" fmla="*/ 9954 h 10000"/>
                <a:gd name="connsiteX71" fmla="*/ 5191 w 10000"/>
                <a:gd name="connsiteY71" fmla="*/ 8293 h 10000"/>
                <a:gd name="connsiteX72" fmla="*/ 5191 w 10000"/>
                <a:gd name="connsiteY72" fmla="*/ 8202 h 10000"/>
                <a:gd name="connsiteX73" fmla="*/ 5245 w 10000"/>
                <a:gd name="connsiteY73" fmla="*/ 6865 h 10000"/>
                <a:gd name="connsiteX74" fmla="*/ 5279 w 10000"/>
                <a:gd name="connsiteY74" fmla="*/ 6308 h 10000"/>
                <a:gd name="connsiteX75" fmla="*/ 5436 w 10000"/>
                <a:gd name="connsiteY75" fmla="*/ 6038 h 10000"/>
                <a:gd name="connsiteX76" fmla="*/ 6114 w 10000"/>
                <a:gd name="connsiteY76" fmla="*/ 4763 h 10000"/>
                <a:gd name="connsiteX77" fmla="*/ 6689 w 10000"/>
                <a:gd name="connsiteY77" fmla="*/ 4474 h 10000"/>
                <a:gd name="connsiteX78" fmla="*/ 6359 w 10000"/>
                <a:gd name="connsiteY78" fmla="*/ 3577 h 10000"/>
                <a:gd name="connsiteX79" fmla="*/ 5906 w 10000"/>
                <a:gd name="connsiteY79" fmla="*/ 3288 h 10000"/>
                <a:gd name="connsiteX80" fmla="*/ 5730 w 10000"/>
                <a:gd name="connsiteY80" fmla="*/ 2940 h 10000"/>
                <a:gd name="connsiteX81" fmla="*/ 6428 w 10000"/>
                <a:gd name="connsiteY81" fmla="*/ 2714 h 10000"/>
                <a:gd name="connsiteX82" fmla="*/ 7769 w 10000"/>
                <a:gd name="connsiteY82" fmla="*/ 2094 h 10000"/>
                <a:gd name="connsiteX83" fmla="*/ 7734 w 10000"/>
                <a:gd name="connsiteY83" fmla="*/ 1501 h 10000"/>
                <a:gd name="connsiteX84" fmla="*/ 7405 w 10000"/>
                <a:gd name="connsiteY84" fmla="*/ 1367 h 10000"/>
                <a:gd name="connsiteX85" fmla="*/ 6341 w 10000"/>
                <a:gd name="connsiteY85" fmla="*/ 1564 h 10000"/>
                <a:gd name="connsiteX86" fmla="*/ 5922 w 10000"/>
                <a:gd name="connsiteY86" fmla="*/ 1691 h 10000"/>
                <a:gd name="connsiteX87" fmla="*/ 5784 w 10000"/>
                <a:gd name="connsiteY87" fmla="*/ 1592 h 10000"/>
                <a:gd name="connsiteX88" fmla="*/ 6324 w 10000"/>
                <a:gd name="connsiteY88" fmla="*/ 1286 h 10000"/>
                <a:gd name="connsiteX89" fmla="*/ 6864 w 10000"/>
                <a:gd name="connsiteY89" fmla="*/ 1079 h 10000"/>
                <a:gd name="connsiteX90" fmla="*/ 7228 w 10000"/>
                <a:gd name="connsiteY90" fmla="*/ 666 h 10000"/>
                <a:gd name="connsiteX91" fmla="*/ 7787 w 10000"/>
                <a:gd name="connsiteY91" fmla="*/ 361 h 10000"/>
                <a:gd name="connsiteX92" fmla="*/ 8416 w 10000"/>
                <a:gd name="connsiteY92" fmla="*/ 460 h 10000"/>
                <a:gd name="connsiteX93" fmla="*/ 8746 w 10000"/>
                <a:gd name="connsiteY93" fmla="*/ 1187 h 10000"/>
                <a:gd name="connsiteX94" fmla="*/ 7978 w 10000"/>
                <a:gd name="connsiteY94" fmla="*/ 2202 h 10000"/>
                <a:gd name="connsiteX95" fmla="*/ 7857 w 10000"/>
                <a:gd name="connsiteY95" fmla="*/ 3065 h 10000"/>
                <a:gd name="connsiteX96" fmla="*/ 8919 w 10000"/>
                <a:gd name="connsiteY96" fmla="*/ 3416 h 10000"/>
                <a:gd name="connsiteX0" fmla="*/ 8919 w 9513"/>
                <a:gd name="connsiteY0" fmla="*/ 3416 h 10000"/>
                <a:gd name="connsiteX1" fmla="*/ 9511 w 9513"/>
                <a:gd name="connsiteY1" fmla="*/ 3442 h 10000"/>
                <a:gd name="connsiteX2" fmla="*/ 8710 w 9513"/>
                <a:gd name="connsiteY2" fmla="*/ 3109 h 10000"/>
                <a:gd name="connsiteX3" fmla="*/ 8294 w 9513"/>
                <a:gd name="connsiteY3" fmla="*/ 2382 h 10000"/>
                <a:gd name="connsiteX4" fmla="*/ 9216 w 9513"/>
                <a:gd name="connsiteY4" fmla="*/ 1187 h 10000"/>
                <a:gd name="connsiteX5" fmla="*/ 8746 w 9513"/>
                <a:gd name="connsiteY5" fmla="*/ 280 h 10000"/>
                <a:gd name="connsiteX6" fmla="*/ 7769 w 9513"/>
                <a:gd name="connsiteY6" fmla="*/ 118 h 10000"/>
                <a:gd name="connsiteX7" fmla="*/ 6758 w 9513"/>
                <a:gd name="connsiteY7" fmla="*/ 621 h 10000"/>
                <a:gd name="connsiteX8" fmla="*/ 6531 w 9513"/>
                <a:gd name="connsiteY8" fmla="*/ 908 h 10000"/>
                <a:gd name="connsiteX9" fmla="*/ 6080 w 9513"/>
                <a:gd name="connsiteY9" fmla="*/ 1079 h 10000"/>
                <a:gd name="connsiteX10" fmla="*/ 5349 w 9513"/>
                <a:gd name="connsiteY10" fmla="*/ 1754 h 10000"/>
                <a:gd name="connsiteX11" fmla="*/ 5626 w 9513"/>
                <a:gd name="connsiteY11" fmla="*/ 1933 h 10000"/>
                <a:gd name="connsiteX12" fmla="*/ 6601 w 9513"/>
                <a:gd name="connsiteY12" fmla="*/ 1772 h 10000"/>
                <a:gd name="connsiteX13" fmla="*/ 7142 w 9513"/>
                <a:gd name="connsiteY13" fmla="*/ 1610 h 10000"/>
                <a:gd name="connsiteX14" fmla="*/ 7333 w 9513"/>
                <a:gd name="connsiteY14" fmla="*/ 1626 h 10000"/>
                <a:gd name="connsiteX15" fmla="*/ 7333 w 9513"/>
                <a:gd name="connsiteY15" fmla="*/ 1996 h 10000"/>
                <a:gd name="connsiteX16" fmla="*/ 6289 w 9513"/>
                <a:gd name="connsiteY16" fmla="*/ 2481 h 10000"/>
                <a:gd name="connsiteX17" fmla="*/ 5296 w 9513"/>
                <a:gd name="connsiteY17" fmla="*/ 2858 h 10000"/>
                <a:gd name="connsiteX18" fmla="*/ 5486 w 9513"/>
                <a:gd name="connsiteY18" fmla="*/ 3424 h 10000"/>
                <a:gd name="connsiteX19" fmla="*/ 6010 w 9513"/>
                <a:gd name="connsiteY19" fmla="*/ 3747 h 10000"/>
                <a:gd name="connsiteX20" fmla="*/ 6306 w 9513"/>
                <a:gd name="connsiteY20" fmla="*/ 4340 h 10000"/>
                <a:gd name="connsiteX21" fmla="*/ 5852 w 9513"/>
                <a:gd name="connsiteY21" fmla="*/ 4556 h 10000"/>
                <a:gd name="connsiteX22" fmla="*/ 4966 w 9513"/>
                <a:gd name="connsiteY22" fmla="*/ 6038 h 10000"/>
                <a:gd name="connsiteX23" fmla="*/ 5053 w 9513"/>
                <a:gd name="connsiteY23" fmla="*/ 6298 h 10000"/>
                <a:gd name="connsiteX24" fmla="*/ 5035 w 9513"/>
                <a:gd name="connsiteY24" fmla="*/ 6865 h 10000"/>
                <a:gd name="connsiteX25" fmla="*/ 4984 w 9513"/>
                <a:gd name="connsiteY25" fmla="*/ 8202 h 10000"/>
                <a:gd name="connsiteX26" fmla="*/ 4984 w 9513"/>
                <a:gd name="connsiteY26" fmla="*/ 8293 h 10000"/>
                <a:gd name="connsiteX27" fmla="*/ 4669 w 9513"/>
                <a:gd name="connsiteY27" fmla="*/ 9873 h 10000"/>
                <a:gd name="connsiteX28" fmla="*/ 4635 w 9513"/>
                <a:gd name="connsiteY28" fmla="*/ 9891 h 10000"/>
                <a:gd name="connsiteX29" fmla="*/ 4529 w 9513"/>
                <a:gd name="connsiteY29" fmla="*/ 9864 h 10000"/>
                <a:gd name="connsiteX30" fmla="*/ 4233 w 9513"/>
                <a:gd name="connsiteY30" fmla="*/ 8185 h 10000"/>
                <a:gd name="connsiteX31" fmla="*/ 4391 w 9513"/>
                <a:gd name="connsiteY31" fmla="*/ 6253 h 10000"/>
                <a:gd name="connsiteX32" fmla="*/ 4529 w 9513"/>
                <a:gd name="connsiteY32" fmla="*/ 5957 h 10000"/>
                <a:gd name="connsiteX33" fmla="*/ 4547 w 9513"/>
                <a:gd name="connsiteY33" fmla="*/ 5885 h 10000"/>
                <a:gd name="connsiteX34" fmla="*/ 4165 w 9513"/>
                <a:gd name="connsiteY34" fmla="*/ 4098 h 10000"/>
                <a:gd name="connsiteX35" fmla="*/ 3989 w 9513"/>
                <a:gd name="connsiteY35" fmla="*/ 3073 h 10000"/>
                <a:gd name="connsiteX36" fmla="*/ 4408 w 9513"/>
                <a:gd name="connsiteY36" fmla="*/ 2004 h 10000"/>
                <a:gd name="connsiteX37" fmla="*/ 4669 w 9513"/>
                <a:gd name="connsiteY37" fmla="*/ 1600 h 10000"/>
                <a:gd name="connsiteX38" fmla="*/ 4720 w 9513"/>
                <a:gd name="connsiteY38" fmla="*/ 1493 h 10000"/>
                <a:gd name="connsiteX39" fmla="*/ 4493 w 9513"/>
                <a:gd name="connsiteY39" fmla="*/ 262 h 10000"/>
                <a:gd name="connsiteX40" fmla="*/ 3362 w 9513"/>
                <a:gd name="connsiteY40" fmla="*/ 1 h 10000"/>
                <a:gd name="connsiteX41" fmla="*/ 2752 w 9513"/>
                <a:gd name="connsiteY41" fmla="*/ 136 h 10000"/>
                <a:gd name="connsiteX42" fmla="*/ 2612 w 9513"/>
                <a:gd name="connsiteY42" fmla="*/ 621 h 10000"/>
                <a:gd name="connsiteX43" fmla="*/ 2437 w 9513"/>
                <a:gd name="connsiteY43" fmla="*/ 999 h 10000"/>
                <a:gd name="connsiteX44" fmla="*/ 1619 w 9513"/>
                <a:gd name="connsiteY44" fmla="*/ 703 h 10000"/>
                <a:gd name="connsiteX45" fmla="*/ 558 w 9513"/>
                <a:gd name="connsiteY45" fmla="*/ 307 h 10000"/>
                <a:gd name="connsiteX46" fmla="*/ 34 w 9513"/>
                <a:gd name="connsiteY46" fmla="*/ 280 h 10000"/>
                <a:gd name="connsiteX47" fmla="*/ 34 w 9513"/>
                <a:gd name="connsiteY47" fmla="*/ 280 h 10000"/>
                <a:gd name="connsiteX48" fmla="*/ 451 w 9513"/>
                <a:gd name="connsiteY48" fmla="*/ 432 h 10000"/>
                <a:gd name="connsiteX49" fmla="*/ 0 w 9513"/>
                <a:gd name="connsiteY49" fmla="*/ 603 h 10000"/>
                <a:gd name="connsiteX50" fmla="*/ 0 w 9513"/>
                <a:gd name="connsiteY50" fmla="*/ 603 h 10000"/>
                <a:gd name="connsiteX51" fmla="*/ 573 w 9513"/>
                <a:gd name="connsiteY51" fmla="*/ 586 h 10000"/>
                <a:gd name="connsiteX52" fmla="*/ 1255 w 9513"/>
                <a:gd name="connsiteY52" fmla="*/ 864 h 10000"/>
                <a:gd name="connsiteX53" fmla="*/ 2595 w 9513"/>
                <a:gd name="connsiteY53" fmla="*/ 1233 h 10000"/>
                <a:gd name="connsiteX54" fmla="*/ 3084 w 9513"/>
                <a:gd name="connsiteY54" fmla="*/ 594 h 10000"/>
                <a:gd name="connsiteX55" fmla="*/ 3118 w 9513"/>
                <a:gd name="connsiteY55" fmla="*/ 298 h 10000"/>
                <a:gd name="connsiteX56" fmla="*/ 3398 w 9513"/>
                <a:gd name="connsiteY56" fmla="*/ 253 h 10000"/>
                <a:gd name="connsiteX57" fmla="*/ 4128 w 9513"/>
                <a:gd name="connsiteY57" fmla="*/ 414 h 10000"/>
                <a:gd name="connsiteX58" fmla="*/ 4286 w 9513"/>
                <a:gd name="connsiteY58" fmla="*/ 1421 h 10000"/>
                <a:gd name="connsiteX59" fmla="*/ 4216 w 9513"/>
                <a:gd name="connsiteY59" fmla="*/ 1528 h 10000"/>
                <a:gd name="connsiteX60" fmla="*/ 3989 w 9513"/>
                <a:gd name="connsiteY60" fmla="*/ 1889 h 10000"/>
                <a:gd name="connsiteX61" fmla="*/ 3518 w 9513"/>
                <a:gd name="connsiteY61" fmla="*/ 3109 h 10000"/>
                <a:gd name="connsiteX62" fmla="*/ 3711 w 9513"/>
                <a:gd name="connsiteY62" fmla="*/ 4170 h 10000"/>
                <a:gd name="connsiteX63" fmla="*/ 4077 w 9513"/>
                <a:gd name="connsiteY63" fmla="*/ 5859 h 10000"/>
                <a:gd name="connsiteX64" fmla="*/ 4060 w 9513"/>
                <a:gd name="connsiteY64" fmla="*/ 5930 h 10000"/>
                <a:gd name="connsiteX65" fmla="*/ 4182 w 9513"/>
                <a:gd name="connsiteY65" fmla="*/ 6253 h 10000"/>
                <a:gd name="connsiteX66" fmla="*/ 4024 w 9513"/>
                <a:gd name="connsiteY66" fmla="*/ 8185 h 10000"/>
                <a:gd name="connsiteX67" fmla="*/ 4391 w 9513"/>
                <a:gd name="connsiteY67" fmla="*/ 9946 h 10000"/>
                <a:gd name="connsiteX68" fmla="*/ 4635 w 9513"/>
                <a:gd name="connsiteY68" fmla="*/ 10000 h 10000"/>
                <a:gd name="connsiteX69" fmla="*/ 4826 w 9513"/>
                <a:gd name="connsiteY69" fmla="*/ 9954 h 10000"/>
                <a:gd name="connsiteX70" fmla="*/ 5191 w 9513"/>
                <a:gd name="connsiteY70" fmla="*/ 8293 h 10000"/>
                <a:gd name="connsiteX71" fmla="*/ 5191 w 9513"/>
                <a:gd name="connsiteY71" fmla="*/ 8202 h 10000"/>
                <a:gd name="connsiteX72" fmla="*/ 5245 w 9513"/>
                <a:gd name="connsiteY72" fmla="*/ 6865 h 10000"/>
                <a:gd name="connsiteX73" fmla="*/ 5279 w 9513"/>
                <a:gd name="connsiteY73" fmla="*/ 6308 h 10000"/>
                <a:gd name="connsiteX74" fmla="*/ 5436 w 9513"/>
                <a:gd name="connsiteY74" fmla="*/ 6038 h 10000"/>
                <a:gd name="connsiteX75" fmla="*/ 6114 w 9513"/>
                <a:gd name="connsiteY75" fmla="*/ 4763 h 10000"/>
                <a:gd name="connsiteX76" fmla="*/ 6689 w 9513"/>
                <a:gd name="connsiteY76" fmla="*/ 4474 h 10000"/>
                <a:gd name="connsiteX77" fmla="*/ 6359 w 9513"/>
                <a:gd name="connsiteY77" fmla="*/ 3577 h 10000"/>
                <a:gd name="connsiteX78" fmla="*/ 5906 w 9513"/>
                <a:gd name="connsiteY78" fmla="*/ 3288 h 10000"/>
                <a:gd name="connsiteX79" fmla="*/ 5730 w 9513"/>
                <a:gd name="connsiteY79" fmla="*/ 2940 h 10000"/>
                <a:gd name="connsiteX80" fmla="*/ 6428 w 9513"/>
                <a:gd name="connsiteY80" fmla="*/ 2714 h 10000"/>
                <a:gd name="connsiteX81" fmla="*/ 7769 w 9513"/>
                <a:gd name="connsiteY81" fmla="*/ 2094 h 10000"/>
                <a:gd name="connsiteX82" fmla="*/ 7734 w 9513"/>
                <a:gd name="connsiteY82" fmla="*/ 1501 h 10000"/>
                <a:gd name="connsiteX83" fmla="*/ 7405 w 9513"/>
                <a:gd name="connsiteY83" fmla="*/ 1367 h 10000"/>
                <a:gd name="connsiteX84" fmla="*/ 6341 w 9513"/>
                <a:gd name="connsiteY84" fmla="*/ 1564 h 10000"/>
                <a:gd name="connsiteX85" fmla="*/ 5922 w 9513"/>
                <a:gd name="connsiteY85" fmla="*/ 1691 h 10000"/>
                <a:gd name="connsiteX86" fmla="*/ 5784 w 9513"/>
                <a:gd name="connsiteY86" fmla="*/ 1592 h 10000"/>
                <a:gd name="connsiteX87" fmla="*/ 6324 w 9513"/>
                <a:gd name="connsiteY87" fmla="*/ 1286 h 10000"/>
                <a:gd name="connsiteX88" fmla="*/ 6864 w 9513"/>
                <a:gd name="connsiteY88" fmla="*/ 1079 h 10000"/>
                <a:gd name="connsiteX89" fmla="*/ 7228 w 9513"/>
                <a:gd name="connsiteY89" fmla="*/ 666 h 10000"/>
                <a:gd name="connsiteX90" fmla="*/ 7787 w 9513"/>
                <a:gd name="connsiteY90" fmla="*/ 361 h 10000"/>
                <a:gd name="connsiteX91" fmla="*/ 8416 w 9513"/>
                <a:gd name="connsiteY91" fmla="*/ 460 h 10000"/>
                <a:gd name="connsiteX92" fmla="*/ 8746 w 9513"/>
                <a:gd name="connsiteY92" fmla="*/ 1187 h 10000"/>
                <a:gd name="connsiteX93" fmla="*/ 7978 w 9513"/>
                <a:gd name="connsiteY93" fmla="*/ 2202 h 10000"/>
                <a:gd name="connsiteX94" fmla="*/ 7857 w 9513"/>
                <a:gd name="connsiteY94" fmla="*/ 3065 h 10000"/>
                <a:gd name="connsiteX95" fmla="*/ 8919 w 9513"/>
                <a:gd name="connsiteY95" fmla="*/ 3416 h 10000"/>
                <a:gd name="connsiteX0" fmla="*/ 9376 w 9690"/>
                <a:gd name="connsiteY0" fmla="*/ 3416 h 10000"/>
                <a:gd name="connsiteX1" fmla="*/ 9156 w 9690"/>
                <a:gd name="connsiteY1" fmla="*/ 3109 h 10000"/>
                <a:gd name="connsiteX2" fmla="*/ 8719 w 9690"/>
                <a:gd name="connsiteY2" fmla="*/ 2382 h 10000"/>
                <a:gd name="connsiteX3" fmla="*/ 9688 w 9690"/>
                <a:gd name="connsiteY3" fmla="*/ 1187 h 10000"/>
                <a:gd name="connsiteX4" fmla="*/ 9194 w 9690"/>
                <a:gd name="connsiteY4" fmla="*/ 280 h 10000"/>
                <a:gd name="connsiteX5" fmla="*/ 8167 w 9690"/>
                <a:gd name="connsiteY5" fmla="*/ 118 h 10000"/>
                <a:gd name="connsiteX6" fmla="*/ 7104 w 9690"/>
                <a:gd name="connsiteY6" fmla="*/ 621 h 10000"/>
                <a:gd name="connsiteX7" fmla="*/ 6865 w 9690"/>
                <a:gd name="connsiteY7" fmla="*/ 908 h 10000"/>
                <a:gd name="connsiteX8" fmla="*/ 6391 w 9690"/>
                <a:gd name="connsiteY8" fmla="*/ 1079 h 10000"/>
                <a:gd name="connsiteX9" fmla="*/ 5623 w 9690"/>
                <a:gd name="connsiteY9" fmla="*/ 1754 h 10000"/>
                <a:gd name="connsiteX10" fmla="*/ 5914 w 9690"/>
                <a:gd name="connsiteY10" fmla="*/ 1933 h 10000"/>
                <a:gd name="connsiteX11" fmla="*/ 6939 w 9690"/>
                <a:gd name="connsiteY11" fmla="*/ 1772 h 10000"/>
                <a:gd name="connsiteX12" fmla="*/ 7508 w 9690"/>
                <a:gd name="connsiteY12" fmla="*/ 1610 h 10000"/>
                <a:gd name="connsiteX13" fmla="*/ 7708 w 9690"/>
                <a:gd name="connsiteY13" fmla="*/ 1626 h 10000"/>
                <a:gd name="connsiteX14" fmla="*/ 7708 w 9690"/>
                <a:gd name="connsiteY14" fmla="*/ 1996 h 10000"/>
                <a:gd name="connsiteX15" fmla="*/ 6611 w 9690"/>
                <a:gd name="connsiteY15" fmla="*/ 2481 h 10000"/>
                <a:gd name="connsiteX16" fmla="*/ 5567 w 9690"/>
                <a:gd name="connsiteY16" fmla="*/ 2858 h 10000"/>
                <a:gd name="connsiteX17" fmla="*/ 5767 w 9690"/>
                <a:gd name="connsiteY17" fmla="*/ 3424 h 10000"/>
                <a:gd name="connsiteX18" fmla="*/ 6318 w 9690"/>
                <a:gd name="connsiteY18" fmla="*/ 3747 h 10000"/>
                <a:gd name="connsiteX19" fmla="*/ 6629 w 9690"/>
                <a:gd name="connsiteY19" fmla="*/ 4340 h 10000"/>
                <a:gd name="connsiteX20" fmla="*/ 6152 w 9690"/>
                <a:gd name="connsiteY20" fmla="*/ 4556 h 10000"/>
                <a:gd name="connsiteX21" fmla="*/ 5220 w 9690"/>
                <a:gd name="connsiteY21" fmla="*/ 6038 h 10000"/>
                <a:gd name="connsiteX22" fmla="*/ 5312 w 9690"/>
                <a:gd name="connsiteY22" fmla="*/ 6298 h 10000"/>
                <a:gd name="connsiteX23" fmla="*/ 5293 w 9690"/>
                <a:gd name="connsiteY23" fmla="*/ 6865 h 10000"/>
                <a:gd name="connsiteX24" fmla="*/ 5239 w 9690"/>
                <a:gd name="connsiteY24" fmla="*/ 8202 h 10000"/>
                <a:gd name="connsiteX25" fmla="*/ 5239 w 9690"/>
                <a:gd name="connsiteY25" fmla="*/ 8293 h 10000"/>
                <a:gd name="connsiteX26" fmla="*/ 4908 w 9690"/>
                <a:gd name="connsiteY26" fmla="*/ 9873 h 10000"/>
                <a:gd name="connsiteX27" fmla="*/ 4872 w 9690"/>
                <a:gd name="connsiteY27" fmla="*/ 9891 h 10000"/>
                <a:gd name="connsiteX28" fmla="*/ 4761 w 9690"/>
                <a:gd name="connsiteY28" fmla="*/ 9864 h 10000"/>
                <a:gd name="connsiteX29" fmla="*/ 4450 w 9690"/>
                <a:gd name="connsiteY29" fmla="*/ 8185 h 10000"/>
                <a:gd name="connsiteX30" fmla="*/ 4616 w 9690"/>
                <a:gd name="connsiteY30" fmla="*/ 6253 h 10000"/>
                <a:gd name="connsiteX31" fmla="*/ 4761 w 9690"/>
                <a:gd name="connsiteY31" fmla="*/ 5957 h 10000"/>
                <a:gd name="connsiteX32" fmla="*/ 4780 w 9690"/>
                <a:gd name="connsiteY32" fmla="*/ 5885 h 10000"/>
                <a:gd name="connsiteX33" fmla="*/ 4378 w 9690"/>
                <a:gd name="connsiteY33" fmla="*/ 4098 h 10000"/>
                <a:gd name="connsiteX34" fmla="*/ 4193 w 9690"/>
                <a:gd name="connsiteY34" fmla="*/ 3073 h 10000"/>
                <a:gd name="connsiteX35" fmla="*/ 4634 w 9690"/>
                <a:gd name="connsiteY35" fmla="*/ 2004 h 10000"/>
                <a:gd name="connsiteX36" fmla="*/ 4908 w 9690"/>
                <a:gd name="connsiteY36" fmla="*/ 1600 h 10000"/>
                <a:gd name="connsiteX37" fmla="*/ 4962 w 9690"/>
                <a:gd name="connsiteY37" fmla="*/ 1493 h 10000"/>
                <a:gd name="connsiteX38" fmla="*/ 4723 w 9690"/>
                <a:gd name="connsiteY38" fmla="*/ 262 h 10000"/>
                <a:gd name="connsiteX39" fmla="*/ 3534 w 9690"/>
                <a:gd name="connsiteY39" fmla="*/ 1 h 10000"/>
                <a:gd name="connsiteX40" fmla="*/ 2893 w 9690"/>
                <a:gd name="connsiteY40" fmla="*/ 136 h 10000"/>
                <a:gd name="connsiteX41" fmla="*/ 2746 w 9690"/>
                <a:gd name="connsiteY41" fmla="*/ 621 h 10000"/>
                <a:gd name="connsiteX42" fmla="*/ 2562 w 9690"/>
                <a:gd name="connsiteY42" fmla="*/ 999 h 10000"/>
                <a:gd name="connsiteX43" fmla="*/ 1702 w 9690"/>
                <a:gd name="connsiteY43" fmla="*/ 703 h 10000"/>
                <a:gd name="connsiteX44" fmla="*/ 587 w 9690"/>
                <a:gd name="connsiteY44" fmla="*/ 307 h 10000"/>
                <a:gd name="connsiteX45" fmla="*/ 36 w 9690"/>
                <a:gd name="connsiteY45" fmla="*/ 280 h 10000"/>
                <a:gd name="connsiteX46" fmla="*/ 36 w 9690"/>
                <a:gd name="connsiteY46" fmla="*/ 280 h 10000"/>
                <a:gd name="connsiteX47" fmla="*/ 474 w 9690"/>
                <a:gd name="connsiteY47" fmla="*/ 432 h 10000"/>
                <a:gd name="connsiteX48" fmla="*/ 0 w 9690"/>
                <a:gd name="connsiteY48" fmla="*/ 603 h 10000"/>
                <a:gd name="connsiteX49" fmla="*/ 0 w 9690"/>
                <a:gd name="connsiteY49" fmla="*/ 603 h 10000"/>
                <a:gd name="connsiteX50" fmla="*/ 602 w 9690"/>
                <a:gd name="connsiteY50" fmla="*/ 586 h 10000"/>
                <a:gd name="connsiteX51" fmla="*/ 1319 w 9690"/>
                <a:gd name="connsiteY51" fmla="*/ 864 h 10000"/>
                <a:gd name="connsiteX52" fmla="*/ 2728 w 9690"/>
                <a:gd name="connsiteY52" fmla="*/ 1233 h 10000"/>
                <a:gd name="connsiteX53" fmla="*/ 3242 w 9690"/>
                <a:gd name="connsiteY53" fmla="*/ 594 h 10000"/>
                <a:gd name="connsiteX54" fmla="*/ 3278 w 9690"/>
                <a:gd name="connsiteY54" fmla="*/ 298 h 10000"/>
                <a:gd name="connsiteX55" fmla="*/ 3572 w 9690"/>
                <a:gd name="connsiteY55" fmla="*/ 253 h 10000"/>
                <a:gd name="connsiteX56" fmla="*/ 4339 w 9690"/>
                <a:gd name="connsiteY56" fmla="*/ 414 h 10000"/>
                <a:gd name="connsiteX57" fmla="*/ 4505 w 9690"/>
                <a:gd name="connsiteY57" fmla="*/ 1421 h 10000"/>
                <a:gd name="connsiteX58" fmla="*/ 4432 w 9690"/>
                <a:gd name="connsiteY58" fmla="*/ 1528 h 10000"/>
                <a:gd name="connsiteX59" fmla="*/ 4193 w 9690"/>
                <a:gd name="connsiteY59" fmla="*/ 1889 h 10000"/>
                <a:gd name="connsiteX60" fmla="*/ 3698 w 9690"/>
                <a:gd name="connsiteY60" fmla="*/ 3109 h 10000"/>
                <a:gd name="connsiteX61" fmla="*/ 3901 w 9690"/>
                <a:gd name="connsiteY61" fmla="*/ 4170 h 10000"/>
                <a:gd name="connsiteX62" fmla="*/ 4286 w 9690"/>
                <a:gd name="connsiteY62" fmla="*/ 5859 h 10000"/>
                <a:gd name="connsiteX63" fmla="*/ 4268 w 9690"/>
                <a:gd name="connsiteY63" fmla="*/ 5930 h 10000"/>
                <a:gd name="connsiteX64" fmla="*/ 4396 w 9690"/>
                <a:gd name="connsiteY64" fmla="*/ 6253 h 10000"/>
                <a:gd name="connsiteX65" fmla="*/ 4230 w 9690"/>
                <a:gd name="connsiteY65" fmla="*/ 8185 h 10000"/>
                <a:gd name="connsiteX66" fmla="*/ 4616 w 9690"/>
                <a:gd name="connsiteY66" fmla="*/ 9946 h 10000"/>
                <a:gd name="connsiteX67" fmla="*/ 4872 w 9690"/>
                <a:gd name="connsiteY67" fmla="*/ 10000 h 10000"/>
                <a:gd name="connsiteX68" fmla="*/ 5073 w 9690"/>
                <a:gd name="connsiteY68" fmla="*/ 9954 h 10000"/>
                <a:gd name="connsiteX69" fmla="*/ 5457 w 9690"/>
                <a:gd name="connsiteY69" fmla="*/ 8293 h 10000"/>
                <a:gd name="connsiteX70" fmla="*/ 5457 w 9690"/>
                <a:gd name="connsiteY70" fmla="*/ 8202 h 10000"/>
                <a:gd name="connsiteX71" fmla="*/ 5514 w 9690"/>
                <a:gd name="connsiteY71" fmla="*/ 6865 h 10000"/>
                <a:gd name="connsiteX72" fmla="*/ 5549 w 9690"/>
                <a:gd name="connsiteY72" fmla="*/ 6308 h 10000"/>
                <a:gd name="connsiteX73" fmla="*/ 5714 w 9690"/>
                <a:gd name="connsiteY73" fmla="*/ 6038 h 10000"/>
                <a:gd name="connsiteX74" fmla="*/ 6427 w 9690"/>
                <a:gd name="connsiteY74" fmla="*/ 4763 h 10000"/>
                <a:gd name="connsiteX75" fmla="*/ 7031 w 9690"/>
                <a:gd name="connsiteY75" fmla="*/ 4474 h 10000"/>
                <a:gd name="connsiteX76" fmla="*/ 6685 w 9690"/>
                <a:gd name="connsiteY76" fmla="*/ 3577 h 10000"/>
                <a:gd name="connsiteX77" fmla="*/ 6208 w 9690"/>
                <a:gd name="connsiteY77" fmla="*/ 3288 h 10000"/>
                <a:gd name="connsiteX78" fmla="*/ 6023 w 9690"/>
                <a:gd name="connsiteY78" fmla="*/ 2940 h 10000"/>
                <a:gd name="connsiteX79" fmla="*/ 6757 w 9690"/>
                <a:gd name="connsiteY79" fmla="*/ 2714 h 10000"/>
                <a:gd name="connsiteX80" fmla="*/ 8167 w 9690"/>
                <a:gd name="connsiteY80" fmla="*/ 2094 h 10000"/>
                <a:gd name="connsiteX81" fmla="*/ 8130 w 9690"/>
                <a:gd name="connsiteY81" fmla="*/ 1501 h 10000"/>
                <a:gd name="connsiteX82" fmla="*/ 7784 w 9690"/>
                <a:gd name="connsiteY82" fmla="*/ 1367 h 10000"/>
                <a:gd name="connsiteX83" fmla="*/ 6666 w 9690"/>
                <a:gd name="connsiteY83" fmla="*/ 1564 h 10000"/>
                <a:gd name="connsiteX84" fmla="*/ 6225 w 9690"/>
                <a:gd name="connsiteY84" fmla="*/ 1691 h 10000"/>
                <a:gd name="connsiteX85" fmla="*/ 6080 w 9690"/>
                <a:gd name="connsiteY85" fmla="*/ 1592 h 10000"/>
                <a:gd name="connsiteX86" fmla="*/ 6648 w 9690"/>
                <a:gd name="connsiteY86" fmla="*/ 1286 h 10000"/>
                <a:gd name="connsiteX87" fmla="*/ 7215 w 9690"/>
                <a:gd name="connsiteY87" fmla="*/ 1079 h 10000"/>
                <a:gd name="connsiteX88" fmla="*/ 7598 w 9690"/>
                <a:gd name="connsiteY88" fmla="*/ 666 h 10000"/>
                <a:gd name="connsiteX89" fmla="*/ 8186 w 9690"/>
                <a:gd name="connsiteY89" fmla="*/ 361 h 10000"/>
                <a:gd name="connsiteX90" fmla="*/ 8847 w 9690"/>
                <a:gd name="connsiteY90" fmla="*/ 460 h 10000"/>
                <a:gd name="connsiteX91" fmla="*/ 9194 w 9690"/>
                <a:gd name="connsiteY91" fmla="*/ 1187 h 10000"/>
                <a:gd name="connsiteX92" fmla="*/ 8386 w 9690"/>
                <a:gd name="connsiteY92" fmla="*/ 2202 h 10000"/>
                <a:gd name="connsiteX93" fmla="*/ 8259 w 9690"/>
                <a:gd name="connsiteY93" fmla="*/ 3065 h 10000"/>
                <a:gd name="connsiteX94" fmla="*/ 9376 w 9690"/>
                <a:gd name="connsiteY94" fmla="*/ 3416 h 10000"/>
                <a:gd name="connsiteX0" fmla="*/ 8523 w 10000"/>
                <a:gd name="connsiteY0" fmla="*/ 3065 h 10000"/>
                <a:gd name="connsiteX1" fmla="*/ 9449 w 10000"/>
                <a:gd name="connsiteY1" fmla="*/ 3109 h 10000"/>
                <a:gd name="connsiteX2" fmla="*/ 8998 w 10000"/>
                <a:gd name="connsiteY2" fmla="*/ 2382 h 10000"/>
                <a:gd name="connsiteX3" fmla="*/ 9998 w 10000"/>
                <a:gd name="connsiteY3" fmla="*/ 1187 h 10000"/>
                <a:gd name="connsiteX4" fmla="*/ 9488 w 10000"/>
                <a:gd name="connsiteY4" fmla="*/ 280 h 10000"/>
                <a:gd name="connsiteX5" fmla="*/ 8428 w 10000"/>
                <a:gd name="connsiteY5" fmla="*/ 118 h 10000"/>
                <a:gd name="connsiteX6" fmla="*/ 7331 w 10000"/>
                <a:gd name="connsiteY6" fmla="*/ 621 h 10000"/>
                <a:gd name="connsiteX7" fmla="*/ 7085 w 10000"/>
                <a:gd name="connsiteY7" fmla="*/ 908 h 10000"/>
                <a:gd name="connsiteX8" fmla="*/ 6595 w 10000"/>
                <a:gd name="connsiteY8" fmla="*/ 1079 h 10000"/>
                <a:gd name="connsiteX9" fmla="*/ 5803 w 10000"/>
                <a:gd name="connsiteY9" fmla="*/ 1754 h 10000"/>
                <a:gd name="connsiteX10" fmla="*/ 6103 w 10000"/>
                <a:gd name="connsiteY10" fmla="*/ 1933 h 10000"/>
                <a:gd name="connsiteX11" fmla="*/ 7161 w 10000"/>
                <a:gd name="connsiteY11" fmla="*/ 1772 h 10000"/>
                <a:gd name="connsiteX12" fmla="*/ 7748 w 10000"/>
                <a:gd name="connsiteY12" fmla="*/ 1610 h 10000"/>
                <a:gd name="connsiteX13" fmla="*/ 7955 w 10000"/>
                <a:gd name="connsiteY13" fmla="*/ 1626 h 10000"/>
                <a:gd name="connsiteX14" fmla="*/ 7955 w 10000"/>
                <a:gd name="connsiteY14" fmla="*/ 1996 h 10000"/>
                <a:gd name="connsiteX15" fmla="*/ 6822 w 10000"/>
                <a:gd name="connsiteY15" fmla="*/ 2481 h 10000"/>
                <a:gd name="connsiteX16" fmla="*/ 5745 w 10000"/>
                <a:gd name="connsiteY16" fmla="*/ 2858 h 10000"/>
                <a:gd name="connsiteX17" fmla="*/ 5951 w 10000"/>
                <a:gd name="connsiteY17" fmla="*/ 3424 h 10000"/>
                <a:gd name="connsiteX18" fmla="*/ 6520 w 10000"/>
                <a:gd name="connsiteY18" fmla="*/ 3747 h 10000"/>
                <a:gd name="connsiteX19" fmla="*/ 6841 w 10000"/>
                <a:gd name="connsiteY19" fmla="*/ 4340 h 10000"/>
                <a:gd name="connsiteX20" fmla="*/ 6349 w 10000"/>
                <a:gd name="connsiteY20" fmla="*/ 4556 h 10000"/>
                <a:gd name="connsiteX21" fmla="*/ 5387 w 10000"/>
                <a:gd name="connsiteY21" fmla="*/ 6038 h 10000"/>
                <a:gd name="connsiteX22" fmla="*/ 5482 w 10000"/>
                <a:gd name="connsiteY22" fmla="*/ 6298 h 10000"/>
                <a:gd name="connsiteX23" fmla="*/ 5462 w 10000"/>
                <a:gd name="connsiteY23" fmla="*/ 6865 h 10000"/>
                <a:gd name="connsiteX24" fmla="*/ 5407 w 10000"/>
                <a:gd name="connsiteY24" fmla="*/ 8202 h 10000"/>
                <a:gd name="connsiteX25" fmla="*/ 5407 w 10000"/>
                <a:gd name="connsiteY25" fmla="*/ 8293 h 10000"/>
                <a:gd name="connsiteX26" fmla="*/ 5065 w 10000"/>
                <a:gd name="connsiteY26" fmla="*/ 9873 h 10000"/>
                <a:gd name="connsiteX27" fmla="*/ 5028 w 10000"/>
                <a:gd name="connsiteY27" fmla="*/ 9891 h 10000"/>
                <a:gd name="connsiteX28" fmla="*/ 4913 w 10000"/>
                <a:gd name="connsiteY28" fmla="*/ 9864 h 10000"/>
                <a:gd name="connsiteX29" fmla="*/ 4592 w 10000"/>
                <a:gd name="connsiteY29" fmla="*/ 8185 h 10000"/>
                <a:gd name="connsiteX30" fmla="*/ 4764 w 10000"/>
                <a:gd name="connsiteY30" fmla="*/ 6253 h 10000"/>
                <a:gd name="connsiteX31" fmla="*/ 4913 w 10000"/>
                <a:gd name="connsiteY31" fmla="*/ 5957 h 10000"/>
                <a:gd name="connsiteX32" fmla="*/ 4933 w 10000"/>
                <a:gd name="connsiteY32" fmla="*/ 5885 h 10000"/>
                <a:gd name="connsiteX33" fmla="*/ 4518 w 10000"/>
                <a:gd name="connsiteY33" fmla="*/ 4098 h 10000"/>
                <a:gd name="connsiteX34" fmla="*/ 4327 w 10000"/>
                <a:gd name="connsiteY34" fmla="*/ 3073 h 10000"/>
                <a:gd name="connsiteX35" fmla="*/ 4782 w 10000"/>
                <a:gd name="connsiteY35" fmla="*/ 2004 h 10000"/>
                <a:gd name="connsiteX36" fmla="*/ 5065 w 10000"/>
                <a:gd name="connsiteY36" fmla="*/ 1600 h 10000"/>
                <a:gd name="connsiteX37" fmla="*/ 5121 w 10000"/>
                <a:gd name="connsiteY37" fmla="*/ 1493 h 10000"/>
                <a:gd name="connsiteX38" fmla="*/ 4874 w 10000"/>
                <a:gd name="connsiteY38" fmla="*/ 262 h 10000"/>
                <a:gd name="connsiteX39" fmla="*/ 3647 w 10000"/>
                <a:gd name="connsiteY39" fmla="*/ 1 h 10000"/>
                <a:gd name="connsiteX40" fmla="*/ 2986 w 10000"/>
                <a:gd name="connsiteY40" fmla="*/ 136 h 10000"/>
                <a:gd name="connsiteX41" fmla="*/ 2834 w 10000"/>
                <a:gd name="connsiteY41" fmla="*/ 621 h 10000"/>
                <a:gd name="connsiteX42" fmla="*/ 2644 w 10000"/>
                <a:gd name="connsiteY42" fmla="*/ 999 h 10000"/>
                <a:gd name="connsiteX43" fmla="*/ 1756 w 10000"/>
                <a:gd name="connsiteY43" fmla="*/ 703 h 10000"/>
                <a:gd name="connsiteX44" fmla="*/ 606 w 10000"/>
                <a:gd name="connsiteY44" fmla="*/ 307 h 10000"/>
                <a:gd name="connsiteX45" fmla="*/ 37 w 10000"/>
                <a:gd name="connsiteY45" fmla="*/ 280 h 10000"/>
                <a:gd name="connsiteX46" fmla="*/ 37 w 10000"/>
                <a:gd name="connsiteY46" fmla="*/ 280 h 10000"/>
                <a:gd name="connsiteX47" fmla="*/ 489 w 10000"/>
                <a:gd name="connsiteY47" fmla="*/ 432 h 10000"/>
                <a:gd name="connsiteX48" fmla="*/ 0 w 10000"/>
                <a:gd name="connsiteY48" fmla="*/ 603 h 10000"/>
                <a:gd name="connsiteX49" fmla="*/ 0 w 10000"/>
                <a:gd name="connsiteY49" fmla="*/ 603 h 10000"/>
                <a:gd name="connsiteX50" fmla="*/ 621 w 10000"/>
                <a:gd name="connsiteY50" fmla="*/ 586 h 10000"/>
                <a:gd name="connsiteX51" fmla="*/ 1361 w 10000"/>
                <a:gd name="connsiteY51" fmla="*/ 864 h 10000"/>
                <a:gd name="connsiteX52" fmla="*/ 2815 w 10000"/>
                <a:gd name="connsiteY52" fmla="*/ 1233 h 10000"/>
                <a:gd name="connsiteX53" fmla="*/ 3346 w 10000"/>
                <a:gd name="connsiteY53" fmla="*/ 594 h 10000"/>
                <a:gd name="connsiteX54" fmla="*/ 3383 w 10000"/>
                <a:gd name="connsiteY54" fmla="*/ 298 h 10000"/>
                <a:gd name="connsiteX55" fmla="*/ 3686 w 10000"/>
                <a:gd name="connsiteY55" fmla="*/ 253 h 10000"/>
                <a:gd name="connsiteX56" fmla="*/ 4478 w 10000"/>
                <a:gd name="connsiteY56" fmla="*/ 414 h 10000"/>
                <a:gd name="connsiteX57" fmla="*/ 4649 w 10000"/>
                <a:gd name="connsiteY57" fmla="*/ 1421 h 10000"/>
                <a:gd name="connsiteX58" fmla="*/ 4574 w 10000"/>
                <a:gd name="connsiteY58" fmla="*/ 1528 h 10000"/>
                <a:gd name="connsiteX59" fmla="*/ 4327 w 10000"/>
                <a:gd name="connsiteY59" fmla="*/ 1889 h 10000"/>
                <a:gd name="connsiteX60" fmla="*/ 3816 w 10000"/>
                <a:gd name="connsiteY60" fmla="*/ 3109 h 10000"/>
                <a:gd name="connsiteX61" fmla="*/ 4026 w 10000"/>
                <a:gd name="connsiteY61" fmla="*/ 4170 h 10000"/>
                <a:gd name="connsiteX62" fmla="*/ 4423 w 10000"/>
                <a:gd name="connsiteY62" fmla="*/ 5859 h 10000"/>
                <a:gd name="connsiteX63" fmla="*/ 4405 w 10000"/>
                <a:gd name="connsiteY63" fmla="*/ 5930 h 10000"/>
                <a:gd name="connsiteX64" fmla="*/ 4537 w 10000"/>
                <a:gd name="connsiteY64" fmla="*/ 6253 h 10000"/>
                <a:gd name="connsiteX65" fmla="*/ 4365 w 10000"/>
                <a:gd name="connsiteY65" fmla="*/ 8185 h 10000"/>
                <a:gd name="connsiteX66" fmla="*/ 4764 w 10000"/>
                <a:gd name="connsiteY66" fmla="*/ 9946 h 10000"/>
                <a:gd name="connsiteX67" fmla="*/ 5028 w 10000"/>
                <a:gd name="connsiteY67" fmla="*/ 10000 h 10000"/>
                <a:gd name="connsiteX68" fmla="*/ 5235 w 10000"/>
                <a:gd name="connsiteY68" fmla="*/ 9954 h 10000"/>
                <a:gd name="connsiteX69" fmla="*/ 5632 w 10000"/>
                <a:gd name="connsiteY69" fmla="*/ 8293 h 10000"/>
                <a:gd name="connsiteX70" fmla="*/ 5632 w 10000"/>
                <a:gd name="connsiteY70" fmla="*/ 8202 h 10000"/>
                <a:gd name="connsiteX71" fmla="*/ 5690 w 10000"/>
                <a:gd name="connsiteY71" fmla="*/ 6865 h 10000"/>
                <a:gd name="connsiteX72" fmla="*/ 5727 w 10000"/>
                <a:gd name="connsiteY72" fmla="*/ 6308 h 10000"/>
                <a:gd name="connsiteX73" fmla="*/ 5897 w 10000"/>
                <a:gd name="connsiteY73" fmla="*/ 6038 h 10000"/>
                <a:gd name="connsiteX74" fmla="*/ 6633 w 10000"/>
                <a:gd name="connsiteY74" fmla="*/ 4763 h 10000"/>
                <a:gd name="connsiteX75" fmla="*/ 7256 w 10000"/>
                <a:gd name="connsiteY75" fmla="*/ 4474 h 10000"/>
                <a:gd name="connsiteX76" fmla="*/ 6899 w 10000"/>
                <a:gd name="connsiteY76" fmla="*/ 3577 h 10000"/>
                <a:gd name="connsiteX77" fmla="*/ 6407 w 10000"/>
                <a:gd name="connsiteY77" fmla="*/ 3288 h 10000"/>
                <a:gd name="connsiteX78" fmla="*/ 6216 w 10000"/>
                <a:gd name="connsiteY78" fmla="*/ 2940 h 10000"/>
                <a:gd name="connsiteX79" fmla="*/ 6973 w 10000"/>
                <a:gd name="connsiteY79" fmla="*/ 2714 h 10000"/>
                <a:gd name="connsiteX80" fmla="*/ 8428 w 10000"/>
                <a:gd name="connsiteY80" fmla="*/ 2094 h 10000"/>
                <a:gd name="connsiteX81" fmla="*/ 8390 w 10000"/>
                <a:gd name="connsiteY81" fmla="*/ 1501 h 10000"/>
                <a:gd name="connsiteX82" fmla="*/ 8033 w 10000"/>
                <a:gd name="connsiteY82" fmla="*/ 1367 h 10000"/>
                <a:gd name="connsiteX83" fmla="*/ 6879 w 10000"/>
                <a:gd name="connsiteY83" fmla="*/ 1564 h 10000"/>
                <a:gd name="connsiteX84" fmla="*/ 6424 w 10000"/>
                <a:gd name="connsiteY84" fmla="*/ 1691 h 10000"/>
                <a:gd name="connsiteX85" fmla="*/ 6275 w 10000"/>
                <a:gd name="connsiteY85" fmla="*/ 1592 h 10000"/>
                <a:gd name="connsiteX86" fmla="*/ 6861 w 10000"/>
                <a:gd name="connsiteY86" fmla="*/ 1286 h 10000"/>
                <a:gd name="connsiteX87" fmla="*/ 7446 w 10000"/>
                <a:gd name="connsiteY87" fmla="*/ 1079 h 10000"/>
                <a:gd name="connsiteX88" fmla="*/ 7841 w 10000"/>
                <a:gd name="connsiteY88" fmla="*/ 666 h 10000"/>
                <a:gd name="connsiteX89" fmla="*/ 8448 w 10000"/>
                <a:gd name="connsiteY89" fmla="*/ 361 h 10000"/>
                <a:gd name="connsiteX90" fmla="*/ 9130 w 10000"/>
                <a:gd name="connsiteY90" fmla="*/ 460 h 10000"/>
                <a:gd name="connsiteX91" fmla="*/ 9488 w 10000"/>
                <a:gd name="connsiteY91" fmla="*/ 1187 h 10000"/>
                <a:gd name="connsiteX92" fmla="*/ 8654 w 10000"/>
                <a:gd name="connsiteY92" fmla="*/ 2202 h 10000"/>
                <a:gd name="connsiteX93" fmla="*/ 8523 w 10000"/>
                <a:gd name="connsiteY93" fmla="*/ 3065 h 10000"/>
                <a:gd name="connsiteX0" fmla="*/ 8654 w 10000"/>
                <a:gd name="connsiteY0" fmla="*/ 2202 h 10000"/>
                <a:gd name="connsiteX1" fmla="*/ 9449 w 10000"/>
                <a:gd name="connsiteY1" fmla="*/ 3109 h 10000"/>
                <a:gd name="connsiteX2" fmla="*/ 8998 w 10000"/>
                <a:gd name="connsiteY2" fmla="*/ 2382 h 10000"/>
                <a:gd name="connsiteX3" fmla="*/ 9998 w 10000"/>
                <a:gd name="connsiteY3" fmla="*/ 1187 h 10000"/>
                <a:gd name="connsiteX4" fmla="*/ 9488 w 10000"/>
                <a:gd name="connsiteY4" fmla="*/ 280 h 10000"/>
                <a:gd name="connsiteX5" fmla="*/ 8428 w 10000"/>
                <a:gd name="connsiteY5" fmla="*/ 118 h 10000"/>
                <a:gd name="connsiteX6" fmla="*/ 7331 w 10000"/>
                <a:gd name="connsiteY6" fmla="*/ 621 h 10000"/>
                <a:gd name="connsiteX7" fmla="*/ 7085 w 10000"/>
                <a:gd name="connsiteY7" fmla="*/ 908 h 10000"/>
                <a:gd name="connsiteX8" fmla="*/ 6595 w 10000"/>
                <a:gd name="connsiteY8" fmla="*/ 1079 h 10000"/>
                <a:gd name="connsiteX9" fmla="*/ 5803 w 10000"/>
                <a:gd name="connsiteY9" fmla="*/ 1754 h 10000"/>
                <a:gd name="connsiteX10" fmla="*/ 6103 w 10000"/>
                <a:gd name="connsiteY10" fmla="*/ 1933 h 10000"/>
                <a:gd name="connsiteX11" fmla="*/ 7161 w 10000"/>
                <a:gd name="connsiteY11" fmla="*/ 1772 h 10000"/>
                <a:gd name="connsiteX12" fmla="*/ 7748 w 10000"/>
                <a:gd name="connsiteY12" fmla="*/ 1610 h 10000"/>
                <a:gd name="connsiteX13" fmla="*/ 7955 w 10000"/>
                <a:gd name="connsiteY13" fmla="*/ 1626 h 10000"/>
                <a:gd name="connsiteX14" fmla="*/ 7955 w 10000"/>
                <a:gd name="connsiteY14" fmla="*/ 1996 h 10000"/>
                <a:gd name="connsiteX15" fmla="*/ 6822 w 10000"/>
                <a:gd name="connsiteY15" fmla="*/ 2481 h 10000"/>
                <a:gd name="connsiteX16" fmla="*/ 5745 w 10000"/>
                <a:gd name="connsiteY16" fmla="*/ 2858 h 10000"/>
                <a:gd name="connsiteX17" fmla="*/ 5951 w 10000"/>
                <a:gd name="connsiteY17" fmla="*/ 3424 h 10000"/>
                <a:gd name="connsiteX18" fmla="*/ 6520 w 10000"/>
                <a:gd name="connsiteY18" fmla="*/ 3747 h 10000"/>
                <a:gd name="connsiteX19" fmla="*/ 6841 w 10000"/>
                <a:gd name="connsiteY19" fmla="*/ 4340 h 10000"/>
                <a:gd name="connsiteX20" fmla="*/ 6349 w 10000"/>
                <a:gd name="connsiteY20" fmla="*/ 4556 h 10000"/>
                <a:gd name="connsiteX21" fmla="*/ 5387 w 10000"/>
                <a:gd name="connsiteY21" fmla="*/ 6038 h 10000"/>
                <a:gd name="connsiteX22" fmla="*/ 5482 w 10000"/>
                <a:gd name="connsiteY22" fmla="*/ 6298 h 10000"/>
                <a:gd name="connsiteX23" fmla="*/ 5462 w 10000"/>
                <a:gd name="connsiteY23" fmla="*/ 6865 h 10000"/>
                <a:gd name="connsiteX24" fmla="*/ 5407 w 10000"/>
                <a:gd name="connsiteY24" fmla="*/ 8202 h 10000"/>
                <a:gd name="connsiteX25" fmla="*/ 5407 w 10000"/>
                <a:gd name="connsiteY25" fmla="*/ 8293 h 10000"/>
                <a:gd name="connsiteX26" fmla="*/ 5065 w 10000"/>
                <a:gd name="connsiteY26" fmla="*/ 9873 h 10000"/>
                <a:gd name="connsiteX27" fmla="*/ 5028 w 10000"/>
                <a:gd name="connsiteY27" fmla="*/ 9891 h 10000"/>
                <a:gd name="connsiteX28" fmla="*/ 4913 w 10000"/>
                <a:gd name="connsiteY28" fmla="*/ 9864 h 10000"/>
                <a:gd name="connsiteX29" fmla="*/ 4592 w 10000"/>
                <a:gd name="connsiteY29" fmla="*/ 8185 h 10000"/>
                <a:gd name="connsiteX30" fmla="*/ 4764 w 10000"/>
                <a:gd name="connsiteY30" fmla="*/ 6253 h 10000"/>
                <a:gd name="connsiteX31" fmla="*/ 4913 w 10000"/>
                <a:gd name="connsiteY31" fmla="*/ 5957 h 10000"/>
                <a:gd name="connsiteX32" fmla="*/ 4933 w 10000"/>
                <a:gd name="connsiteY32" fmla="*/ 5885 h 10000"/>
                <a:gd name="connsiteX33" fmla="*/ 4518 w 10000"/>
                <a:gd name="connsiteY33" fmla="*/ 4098 h 10000"/>
                <a:gd name="connsiteX34" fmla="*/ 4327 w 10000"/>
                <a:gd name="connsiteY34" fmla="*/ 3073 h 10000"/>
                <a:gd name="connsiteX35" fmla="*/ 4782 w 10000"/>
                <a:gd name="connsiteY35" fmla="*/ 2004 h 10000"/>
                <a:gd name="connsiteX36" fmla="*/ 5065 w 10000"/>
                <a:gd name="connsiteY36" fmla="*/ 1600 h 10000"/>
                <a:gd name="connsiteX37" fmla="*/ 5121 w 10000"/>
                <a:gd name="connsiteY37" fmla="*/ 1493 h 10000"/>
                <a:gd name="connsiteX38" fmla="*/ 4874 w 10000"/>
                <a:gd name="connsiteY38" fmla="*/ 262 h 10000"/>
                <a:gd name="connsiteX39" fmla="*/ 3647 w 10000"/>
                <a:gd name="connsiteY39" fmla="*/ 1 h 10000"/>
                <a:gd name="connsiteX40" fmla="*/ 2986 w 10000"/>
                <a:gd name="connsiteY40" fmla="*/ 136 h 10000"/>
                <a:gd name="connsiteX41" fmla="*/ 2834 w 10000"/>
                <a:gd name="connsiteY41" fmla="*/ 621 h 10000"/>
                <a:gd name="connsiteX42" fmla="*/ 2644 w 10000"/>
                <a:gd name="connsiteY42" fmla="*/ 999 h 10000"/>
                <a:gd name="connsiteX43" fmla="*/ 1756 w 10000"/>
                <a:gd name="connsiteY43" fmla="*/ 703 h 10000"/>
                <a:gd name="connsiteX44" fmla="*/ 606 w 10000"/>
                <a:gd name="connsiteY44" fmla="*/ 307 h 10000"/>
                <a:gd name="connsiteX45" fmla="*/ 37 w 10000"/>
                <a:gd name="connsiteY45" fmla="*/ 280 h 10000"/>
                <a:gd name="connsiteX46" fmla="*/ 37 w 10000"/>
                <a:gd name="connsiteY46" fmla="*/ 280 h 10000"/>
                <a:gd name="connsiteX47" fmla="*/ 489 w 10000"/>
                <a:gd name="connsiteY47" fmla="*/ 432 h 10000"/>
                <a:gd name="connsiteX48" fmla="*/ 0 w 10000"/>
                <a:gd name="connsiteY48" fmla="*/ 603 h 10000"/>
                <a:gd name="connsiteX49" fmla="*/ 0 w 10000"/>
                <a:gd name="connsiteY49" fmla="*/ 603 h 10000"/>
                <a:gd name="connsiteX50" fmla="*/ 621 w 10000"/>
                <a:gd name="connsiteY50" fmla="*/ 586 h 10000"/>
                <a:gd name="connsiteX51" fmla="*/ 1361 w 10000"/>
                <a:gd name="connsiteY51" fmla="*/ 864 h 10000"/>
                <a:gd name="connsiteX52" fmla="*/ 2815 w 10000"/>
                <a:gd name="connsiteY52" fmla="*/ 1233 h 10000"/>
                <a:gd name="connsiteX53" fmla="*/ 3346 w 10000"/>
                <a:gd name="connsiteY53" fmla="*/ 594 h 10000"/>
                <a:gd name="connsiteX54" fmla="*/ 3383 w 10000"/>
                <a:gd name="connsiteY54" fmla="*/ 298 h 10000"/>
                <a:gd name="connsiteX55" fmla="*/ 3686 w 10000"/>
                <a:gd name="connsiteY55" fmla="*/ 253 h 10000"/>
                <a:gd name="connsiteX56" fmla="*/ 4478 w 10000"/>
                <a:gd name="connsiteY56" fmla="*/ 414 h 10000"/>
                <a:gd name="connsiteX57" fmla="*/ 4649 w 10000"/>
                <a:gd name="connsiteY57" fmla="*/ 1421 h 10000"/>
                <a:gd name="connsiteX58" fmla="*/ 4574 w 10000"/>
                <a:gd name="connsiteY58" fmla="*/ 1528 h 10000"/>
                <a:gd name="connsiteX59" fmla="*/ 4327 w 10000"/>
                <a:gd name="connsiteY59" fmla="*/ 1889 h 10000"/>
                <a:gd name="connsiteX60" fmla="*/ 3816 w 10000"/>
                <a:gd name="connsiteY60" fmla="*/ 3109 h 10000"/>
                <a:gd name="connsiteX61" fmla="*/ 4026 w 10000"/>
                <a:gd name="connsiteY61" fmla="*/ 4170 h 10000"/>
                <a:gd name="connsiteX62" fmla="*/ 4423 w 10000"/>
                <a:gd name="connsiteY62" fmla="*/ 5859 h 10000"/>
                <a:gd name="connsiteX63" fmla="*/ 4405 w 10000"/>
                <a:gd name="connsiteY63" fmla="*/ 5930 h 10000"/>
                <a:gd name="connsiteX64" fmla="*/ 4537 w 10000"/>
                <a:gd name="connsiteY64" fmla="*/ 6253 h 10000"/>
                <a:gd name="connsiteX65" fmla="*/ 4365 w 10000"/>
                <a:gd name="connsiteY65" fmla="*/ 8185 h 10000"/>
                <a:gd name="connsiteX66" fmla="*/ 4764 w 10000"/>
                <a:gd name="connsiteY66" fmla="*/ 9946 h 10000"/>
                <a:gd name="connsiteX67" fmla="*/ 5028 w 10000"/>
                <a:gd name="connsiteY67" fmla="*/ 10000 h 10000"/>
                <a:gd name="connsiteX68" fmla="*/ 5235 w 10000"/>
                <a:gd name="connsiteY68" fmla="*/ 9954 h 10000"/>
                <a:gd name="connsiteX69" fmla="*/ 5632 w 10000"/>
                <a:gd name="connsiteY69" fmla="*/ 8293 h 10000"/>
                <a:gd name="connsiteX70" fmla="*/ 5632 w 10000"/>
                <a:gd name="connsiteY70" fmla="*/ 8202 h 10000"/>
                <a:gd name="connsiteX71" fmla="*/ 5690 w 10000"/>
                <a:gd name="connsiteY71" fmla="*/ 6865 h 10000"/>
                <a:gd name="connsiteX72" fmla="*/ 5727 w 10000"/>
                <a:gd name="connsiteY72" fmla="*/ 6308 h 10000"/>
                <a:gd name="connsiteX73" fmla="*/ 5897 w 10000"/>
                <a:gd name="connsiteY73" fmla="*/ 6038 h 10000"/>
                <a:gd name="connsiteX74" fmla="*/ 6633 w 10000"/>
                <a:gd name="connsiteY74" fmla="*/ 4763 h 10000"/>
                <a:gd name="connsiteX75" fmla="*/ 7256 w 10000"/>
                <a:gd name="connsiteY75" fmla="*/ 4474 h 10000"/>
                <a:gd name="connsiteX76" fmla="*/ 6899 w 10000"/>
                <a:gd name="connsiteY76" fmla="*/ 3577 h 10000"/>
                <a:gd name="connsiteX77" fmla="*/ 6407 w 10000"/>
                <a:gd name="connsiteY77" fmla="*/ 3288 h 10000"/>
                <a:gd name="connsiteX78" fmla="*/ 6216 w 10000"/>
                <a:gd name="connsiteY78" fmla="*/ 2940 h 10000"/>
                <a:gd name="connsiteX79" fmla="*/ 6973 w 10000"/>
                <a:gd name="connsiteY79" fmla="*/ 2714 h 10000"/>
                <a:gd name="connsiteX80" fmla="*/ 8428 w 10000"/>
                <a:gd name="connsiteY80" fmla="*/ 2094 h 10000"/>
                <a:gd name="connsiteX81" fmla="*/ 8390 w 10000"/>
                <a:gd name="connsiteY81" fmla="*/ 1501 h 10000"/>
                <a:gd name="connsiteX82" fmla="*/ 8033 w 10000"/>
                <a:gd name="connsiteY82" fmla="*/ 1367 h 10000"/>
                <a:gd name="connsiteX83" fmla="*/ 6879 w 10000"/>
                <a:gd name="connsiteY83" fmla="*/ 1564 h 10000"/>
                <a:gd name="connsiteX84" fmla="*/ 6424 w 10000"/>
                <a:gd name="connsiteY84" fmla="*/ 1691 h 10000"/>
                <a:gd name="connsiteX85" fmla="*/ 6275 w 10000"/>
                <a:gd name="connsiteY85" fmla="*/ 1592 h 10000"/>
                <a:gd name="connsiteX86" fmla="*/ 6861 w 10000"/>
                <a:gd name="connsiteY86" fmla="*/ 1286 h 10000"/>
                <a:gd name="connsiteX87" fmla="*/ 7446 w 10000"/>
                <a:gd name="connsiteY87" fmla="*/ 1079 h 10000"/>
                <a:gd name="connsiteX88" fmla="*/ 7841 w 10000"/>
                <a:gd name="connsiteY88" fmla="*/ 666 h 10000"/>
                <a:gd name="connsiteX89" fmla="*/ 8448 w 10000"/>
                <a:gd name="connsiteY89" fmla="*/ 361 h 10000"/>
                <a:gd name="connsiteX90" fmla="*/ 9130 w 10000"/>
                <a:gd name="connsiteY90" fmla="*/ 460 h 10000"/>
                <a:gd name="connsiteX91" fmla="*/ 9488 w 10000"/>
                <a:gd name="connsiteY91" fmla="*/ 1187 h 10000"/>
                <a:gd name="connsiteX92" fmla="*/ 8654 w 10000"/>
                <a:gd name="connsiteY92" fmla="*/ 2202 h 10000"/>
                <a:gd name="connsiteX0" fmla="*/ 8654 w 10000"/>
                <a:gd name="connsiteY0" fmla="*/ 2202 h 10000"/>
                <a:gd name="connsiteX1" fmla="*/ 8998 w 10000"/>
                <a:gd name="connsiteY1" fmla="*/ 2382 h 10000"/>
                <a:gd name="connsiteX2" fmla="*/ 9998 w 10000"/>
                <a:gd name="connsiteY2" fmla="*/ 1187 h 10000"/>
                <a:gd name="connsiteX3" fmla="*/ 9488 w 10000"/>
                <a:gd name="connsiteY3" fmla="*/ 280 h 10000"/>
                <a:gd name="connsiteX4" fmla="*/ 8428 w 10000"/>
                <a:gd name="connsiteY4" fmla="*/ 118 h 10000"/>
                <a:gd name="connsiteX5" fmla="*/ 7331 w 10000"/>
                <a:gd name="connsiteY5" fmla="*/ 621 h 10000"/>
                <a:gd name="connsiteX6" fmla="*/ 7085 w 10000"/>
                <a:gd name="connsiteY6" fmla="*/ 908 h 10000"/>
                <a:gd name="connsiteX7" fmla="*/ 6595 w 10000"/>
                <a:gd name="connsiteY7" fmla="*/ 1079 h 10000"/>
                <a:gd name="connsiteX8" fmla="*/ 5803 w 10000"/>
                <a:gd name="connsiteY8" fmla="*/ 1754 h 10000"/>
                <a:gd name="connsiteX9" fmla="*/ 6103 w 10000"/>
                <a:gd name="connsiteY9" fmla="*/ 1933 h 10000"/>
                <a:gd name="connsiteX10" fmla="*/ 7161 w 10000"/>
                <a:gd name="connsiteY10" fmla="*/ 1772 h 10000"/>
                <a:gd name="connsiteX11" fmla="*/ 7748 w 10000"/>
                <a:gd name="connsiteY11" fmla="*/ 1610 h 10000"/>
                <a:gd name="connsiteX12" fmla="*/ 7955 w 10000"/>
                <a:gd name="connsiteY12" fmla="*/ 1626 h 10000"/>
                <a:gd name="connsiteX13" fmla="*/ 7955 w 10000"/>
                <a:gd name="connsiteY13" fmla="*/ 1996 h 10000"/>
                <a:gd name="connsiteX14" fmla="*/ 6822 w 10000"/>
                <a:gd name="connsiteY14" fmla="*/ 2481 h 10000"/>
                <a:gd name="connsiteX15" fmla="*/ 5745 w 10000"/>
                <a:gd name="connsiteY15" fmla="*/ 2858 h 10000"/>
                <a:gd name="connsiteX16" fmla="*/ 5951 w 10000"/>
                <a:gd name="connsiteY16" fmla="*/ 3424 h 10000"/>
                <a:gd name="connsiteX17" fmla="*/ 6520 w 10000"/>
                <a:gd name="connsiteY17" fmla="*/ 3747 h 10000"/>
                <a:gd name="connsiteX18" fmla="*/ 6841 w 10000"/>
                <a:gd name="connsiteY18" fmla="*/ 4340 h 10000"/>
                <a:gd name="connsiteX19" fmla="*/ 6349 w 10000"/>
                <a:gd name="connsiteY19" fmla="*/ 4556 h 10000"/>
                <a:gd name="connsiteX20" fmla="*/ 5387 w 10000"/>
                <a:gd name="connsiteY20" fmla="*/ 6038 h 10000"/>
                <a:gd name="connsiteX21" fmla="*/ 5482 w 10000"/>
                <a:gd name="connsiteY21" fmla="*/ 6298 h 10000"/>
                <a:gd name="connsiteX22" fmla="*/ 5462 w 10000"/>
                <a:gd name="connsiteY22" fmla="*/ 6865 h 10000"/>
                <a:gd name="connsiteX23" fmla="*/ 5407 w 10000"/>
                <a:gd name="connsiteY23" fmla="*/ 8202 h 10000"/>
                <a:gd name="connsiteX24" fmla="*/ 5407 w 10000"/>
                <a:gd name="connsiteY24" fmla="*/ 8293 h 10000"/>
                <a:gd name="connsiteX25" fmla="*/ 5065 w 10000"/>
                <a:gd name="connsiteY25" fmla="*/ 9873 h 10000"/>
                <a:gd name="connsiteX26" fmla="*/ 5028 w 10000"/>
                <a:gd name="connsiteY26" fmla="*/ 9891 h 10000"/>
                <a:gd name="connsiteX27" fmla="*/ 4913 w 10000"/>
                <a:gd name="connsiteY27" fmla="*/ 9864 h 10000"/>
                <a:gd name="connsiteX28" fmla="*/ 4592 w 10000"/>
                <a:gd name="connsiteY28" fmla="*/ 8185 h 10000"/>
                <a:gd name="connsiteX29" fmla="*/ 4764 w 10000"/>
                <a:gd name="connsiteY29" fmla="*/ 6253 h 10000"/>
                <a:gd name="connsiteX30" fmla="*/ 4913 w 10000"/>
                <a:gd name="connsiteY30" fmla="*/ 5957 h 10000"/>
                <a:gd name="connsiteX31" fmla="*/ 4933 w 10000"/>
                <a:gd name="connsiteY31" fmla="*/ 5885 h 10000"/>
                <a:gd name="connsiteX32" fmla="*/ 4518 w 10000"/>
                <a:gd name="connsiteY32" fmla="*/ 4098 h 10000"/>
                <a:gd name="connsiteX33" fmla="*/ 4327 w 10000"/>
                <a:gd name="connsiteY33" fmla="*/ 3073 h 10000"/>
                <a:gd name="connsiteX34" fmla="*/ 4782 w 10000"/>
                <a:gd name="connsiteY34" fmla="*/ 2004 h 10000"/>
                <a:gd name="connsiteX35" fmla="*/ 5065 w 10000"/>
                <a:gd name="connsiteY35" fmla="*/ 1600 h 10000"/>
                <a:gd name="connsiteX36" fmla="*/ 5121 w 10000"/>
                <a:gd name="connsiteY36" fmla="*/ 1493 h 10000"/>
                <a:gd name="connsiteX37" fmla="*/ 4874 w 10000"/>
                <a:gd name="connsiteY37" fmla="*/ 262 h 10000"/>
                <a:gd name="connsiteX38" fmla="*/ 3647 w 10000"/>
                <a:gd name="connsiteY38" fmla="*/ 1 h 10000"/>
                <a:gd name="connsiteX39" fmla="*/ 2986 w 10000"/>
                <a:gd name="connsiteY39" fmla="*/ 136 h 10000"/>
                <a:gd name="connsiteX40" fmla="*/ 2834 w 10000"/>
                <a:gd name="connsiteY40" fmla="*/ 621 h 10000"/>
                <a:gd name="connsiteX41" fmla="*/ 2644 w 10000"/>
                <a:gd name="connsiteY41" fmla="*/ 999 h 10000"/>
                <a:gd name="connsiteX42" fmla="*/ 1756 w 10000"/>
                <a:gd name="connsiteY42" fmla="*/ 703 h 10000"/>
                <a:gd name="connsiteX43" fmla="*/ 606 w 10000"/>
                <a:gd name="connsiteY43" fmla="*/ 307 h 10000"/>
                <a:gd name="connsiteX44" fmla="*/ 37 w 10000"/>
                <a:gd name="connsiteY44" fmla="*/ 280 h 10000"/>
                <a:gd name="connsiteX45" fmla="*/ 37 w 10000"/>
                <a:gd name="connsiteY45" fmla="*/ 280 h 10000"/>
                <a:gd name="connsiteX46" fmla="*/ 489 w 10000"/>
                <a:gd name="connsiteY46" fmla="*/ 432 h 10000"/>
                <a:gd name="connsiteX47" fmla="*/ 0 w 10000"/>
                <a:gd name="connsiteY47" fmla="*/ 603 h 10000"/>
                <a:gd name="connsiteX48" fmla="*/ 0 w 10000"/>
                <a:gd name="connsiteY48" fmla="*/ 603 h 10000"/>
                <a:gd name="connsiteX49" fmla="*/ 621 w 10000"/>
                <a:gd name="connsiteY49" fmla="*/ 586 h 10000"/>
                <a:gd name="connsiteX50" fmla="*/ 1361 w 10000"/>
                <a:gd name="connsiteY50" fmla="*/ 864 h 10000"/>
                <a:gd name="connsiteX51" fmla="*/ 2815 w 10000"/>
                <a:gd name="connsiteY51" fmla="*/ 1233 h 10000"/>
                <a:gd name="connsiteX52" fmla="*/ 3346 w 10000"/>
                <a:gd name="connsiteY52" fmla="*/ 594 h 10000"/>
                <a:gd name="connsiteX53" fmla="*/ 3383 w 10000"/>
                <a:gd name="connsiteY53" fmla="*/ 298 h 10000"/>
                <a:gd name="connsiteX54" fmla="*/ 3686 w 10000"/>
                <a:gd name="connsiteY54" fmla="*/ 253 h 10000"/>
                <a:gd name="connsiteX55" fmla="*/ 4478 w 10000"/>
                <a:gd name="connsiteY55" fmla="*/ 414 h 10000"/>
                <a:gd name="connsiteX56" fmla="*/ 4649 w 10000"/>
                <a:gd name="connsiteY56" fmla="*/ 1421 h 10000"/>
                <a:gd name="connsiteX57" fmla="*/ 4574 w 10000"/>
                <a:gd name="connsiteY57" fmla="*/ 1528 h 10000"/>
                <a:gd name="connsiteX58" fmla="*/ 4327 w 10000"/>
                <a:gd name="connsiteY58" fmla="*/ 1889 h 10000"/>
                <a:gd name="connsiteX59" fmla="*/ 3816 w 10000"/>
                <a:gd name="connsiteY59" fmla="*/ 3109 h 10000"/>
                <a:gd name="connsiteX60" fmla="*/ 4026 w 10000"/>
                <a:gd name="connsiteY60" fmla="*/ 4170 h 10000"/>
                <a:gd name="connsiteX61" fmla="*/ 4423 w 10000"/>
                <a:gd name="connsiteY61" fmla="*/ 5859 h 10000"/>
                <a:gd name="connsiteX62" fmla="*/ 4405 w 10000"/>
                <a:gd name="connsiteY62" fmla="*/ 5930 h 10000"/>
                <a:gd name="connsiteX63" fmla="*/ 4537 w 10000"/>
                <a:gd name="connsiteY63" fmla="*/ 6253 h 10000"/>
                <a:gd name="connsiteX64" fmla="*/ 4365 w 10000"/>
                <a:gd name="connsiteY64" fmla="*/ 8185 h 10000"/>
                <a:gd name="connsiteX65" fmla="*/ 4764 w 10000"/>
                <a:gd name="connsiteY65" fmla="*/ 9946 h 10000"/>
                <a:gd name="connsiteX66" fmla="*/ 5028 w 10000"/>
                <a:gd name="connsiteY66" fmla="*/ 10000 h 10000"/>
                <a:gd name="connsiteX67" fmla="*/ 5235 w 10000"/>
                <a:gd name="connsiteY67" fmla="*/ 9954 h 10000"/>
                <a:gd name="connsiteX68" fmla="*/ 5632 w 10000"/>
                <a:gd name="connsiteY68" fmla="*/ 8293 h 10000"/>
                <a:gd name="connsiteX69" fmla="*/ 5632 w 10000"/>
                <a:gd name="connsiteY69" fmla="*/ 8202 h 10000"/>
                <a:gd name="connsiteX70" fmla="*/ 5690 w 10000"/>
                <a:gd name="connsiteY70" fmla="*/ 6865 h 10000"/>
                <a:gd name="connsiteX71" fmla="*/ 5727 w 10000"/>
                <a:gd name="connsiteY71" fmla="*/ 6308 h 10000"/>
                <a:gd name="connsiteX72" fmla="*/ 5897 w 10000"/>
                <a:gd name="connsiteY72" fmla="*/ 6038 h 10000"/>
                <a:gd name="connsiteX73" fmla="*/ 6633 w 10000"/>
                <a:gd name="connsiteY73" fmla="*/ 4763 h 10000"/>
                <a:gd name="connsiteX74" fmla="*/ 7256 w 10000"/>
                <a:gd name="connsiteY74" fmla="*/ 4474 h 10000"/>
                <a:gd name="connsiteX75" fmla="*/ 6899 w 10000"/>
                <a:gd name="connsiteY75" fmla="*/ 3577 h 10000"/>
                <a:gd name="connsiteX76" fmla="*/ 6407 w 10000"/>
                <a:gd name="connsiteY76" fmla="*/ 3288 h 10000"/>
                <a:gd name="connsiteX77" fmla="*/ 6216 w 10000"/>
                <a:gd name="connsiteY77" fmla="*/ 2940 h 10000"/>
                <a:gd name="connsiteX78" fmla="*/ 6973 w 10000"/>
                <a:gd name="connsiteY78" fmla="*/ 2714 h 10000"/>
                <a:gd name="connsiteX79" fmla="*/ 8428 w 10000"/>
                <a:gd name="connsiteY79" fmla="*/ 2094 h 10000"/>
                <a:gd name="connsiteX80" fmla="*/ 8390 w 10000"/>
                <a:gd name="connsiteY80" fmla="*/ 1501 h 10000"/>
                <a:gd name="connsiteX81" fmla="*/ 8033 w 10000"/>
                <a:gd name="connsiteY81" fmla="*/ 1367 h 10000"/>
                <a:gd name="connsiteX82" fmla="*/ 6879 w 10000"/>
                <a:gd name="connsiteY82" fmla="*/ 1564 h 10000"/>
                <a:gd name="connsiteX83" fmla="*/ 6424 w 10000"/>
                <a:gd name="connsiteY83" fmla="*/ 1691 h 10000"/>
                <a:gd name="connsiteX84" fmla="*/ 6275 w 10000"/>
                <a:gd name="connsiteY84" fmla="*/ 1592 h 10000"/>
                <a:gd name="connsiteX85" fmla="*/ 6861 w 10000"/>
                <a:gd name="connsiteY85" fmla="*/ 1286 h 10000"/>
                <a:gd name="connsiteX86" fmla="*/ 7446 w 10000"/>
                <a:gd name="connsiteY86" fmla="*/ 1079 h 10000"/>
                <a:gd name="connsiteX87" fmla="*/ 7841 w 10000"/>
                <a:gd name="connsiteY87" fmla="*/ 666 h 10000"/>
                <a:gd name="connsiteX88" fmla="*/ 8448 w 10000"/>
                <a:gd name="connsiteY88" fmla="*/ 361 h 10000"/>
                <a:gd name="connsiteX89" fmla="*/ 9130 w 10000"/>
                <a:gd name="connsiteY89" fmla="*/ 460 h 10000"/>
                <a:gd name="connsiteX90" fmla="*/ 9488 w 10000"/>
                <a:gd name="connsiteY90" fmla="*/ 1187 h 10000"/>
                <a:gd name="connsiteX91" fmla="*/ 8654 w 10000"/>
                <a:gd name="connsiteY91" fmla="*/ 2202 h 10000"/>
                <a:gd name="connsiteX0" fmla="*/ 8654 w 9998"/>
                <a:gd name="connsiteY0" fmla="*/ 2202 h 10000"/>
                <a:gd name="connsiteX1" fmla="*/ 9998 w 9998"/>
                <a:gd name="connsiteY1" fmla="*/ 1187 h 10000"/>
                <a:gd name="connsiteX2" fmla="*/ 9488 w 9998"/>
                <a:gd name="connsiteY2" fmla="*/ 280 h 10000"/>
                <a:gd name="connsiteX3" fmla="*/ 8428 w 9998"/>
                <a:gd name="connsiteY3" fmla="*/ 118 h 10000"/>
                <a:gd name="connsiteX4" fmla="*/ 7331 w 9998"/>
                <a:gd name="connsiteY4" fmla="*/ 621 h 10000"/>
                <a:gd name="connsiteX5" fmla="*/ 7085 w 9998"/>
                <a:gd name="connsiteY5" fmla="*/ 908 h 10000"/>
                <a:gd name="connsiteX6" fmla="*/ 6595 w 9998"/>
                <a:gd name="connsiteY6" fmla="*/ 1079 h 10000"/>
                <a:gd name="connsiteX7" fmla="*/ 5803 w 9998"/>
                <a:gd name="connsiteY7" fmla="*/ 1754 h 10000"/>
                <a:gd name="connsiteX8" fmla="*/ 6103 w 9998"/>
                <a:gd name="connsiteY8" fmla="*/ 1933 h 10000"/>
                <a:gd name="connsiteX9" fmla="*/ 7161 w 9998"/>
                <a:gd name="connsiteY9" fmla="*/ 1772 h 10000"/>
                <a:gd name="connsiteX10" fmla="*/ 7748 w 9998"/>
                <a:gd name="connsiteY10" fmla="*/ 1610 h 10000"/>
                <a:gd name="connsiteX11" fmla="*/ 7955 w 9998"/>
                <a:gd name="connsiteY11" fmla="*/ 1626 h 10000"/>
                <a:gd name="connsiteX12" fmla="*/ 7955 w 9998"/>
                <a:gd name="connsiteY12" fmla="*/ 1996 h 10000"/>
                <a:gd name="connsiteX13" fmla="*/ 6822 w 9998"/>
                <a:gd name="connsiteY13" fmla="*/ 2481 h 10000"/>
                <a:gd name="connsiteX14" fmla="*/ 5745 w 9998"/>
                <a:gd name="connsiteY14" fmla="*/ 2858 h 10000"/>
                <a:gd name="connsiteX15" fmla="*/ 5951 w 9998"/>
                <a:gd name="connsiteY15" fmla="*/ 3424 h 10000"/>
                <a:gd name="connsiteX16" fmla="*/ 6520 w 9998"/>
                <a:gd name="connsiteY16" fmla="*/ 3747 h 10000"/>
                <a:gd name="connsiteX17" fmla="*/ 6841 w 9998"/>
                <a:gd name="connsiteY17" fmla="*/ 4340 h 10000"/>
                <a:gd name="connsiteX18" fmla="*/ 6349 w 9998"/>
                <a:gd name="connsiteY18" fmla="*/ 4556 h 10000"/>
                <a:gd name="connsiteX19" fmla="*/ 5387 w 9998"/>
                <a:gd name="connsiteY19" fmla="*/ 6038 h 10000"/>
                <a:gd name="connsiteX20" fmla="*/ 5482 w 9998"/>
                <a:gd name="connsiteY20" fmla="*/ 6298 h 10000"/>
                <a:gd name="connsiteX21" fmla="*/ 5462 w 9998"/>
                <a:gd name="connsiteY21" fmla="*/ 6865 h 10000"/>
                <a:gd name="connsiteX22" fmla="*/ 5407 w 9998"/>
                <a:gd name="connsiteY22" fmla="*/ 8202 h 10000"/>
                <a:gd name="connsiteX23" fmla="*/ 5407 w 9998"/>
                <a:gd name="connsiteY23" fmla="*/ 8293 h 10000"/>
                <a:gd name="connsiteX24" fmla="*/ 5065 w 9998"/>
                <a:gd name="connsiteY24" fmla="*/ 9873 h 10000"/>
                <a:gd name="connsiteX25" fmla="*/ 5028 w 9998"/>
                <a:gd name="connsiteY25" fmla="*/ 9891 h 10000"/>
                <a:gd name="connsiteX26" fmla="*/ 4913 w 9998"/>
                <a:gd name="connsiteY26" fmla="*/ 9864 h 10000"/>
                <a:gd name="connsiteX27" fmla="*/ 4592 w 9998"/>
                <a:gd name="connsiteY27" fmla="*/ 8185 h 10000"/>
                <a:gd name="connsiteX28" fmla="*/ 4764 w 9998"/>
                <a:gd name="connsiteY28" fmla="*/ 6253 h 10000"/>
                <a:gd name="connsiteX29" fmla="*/ 4913 w 9998"/>
                <a:gd name="connsiteY29" fmla="*/ 5957 h 10000"/>
                <a:gd name="connsiteX30" fmla="*/ 4933 w 9998"/>
                <a:gd name="connsiteY30" fmla="*/ 5885 h 10000"/>
                <a:gd name="connsiteX31" fmla="*/ 4518 w 9998"/>
                <a:gd name="connsiteY31" fmla="*/ 4098 h 10000"/>
                <a:gd name="connsiteX32" fmla="*/ 4327 w 9998"/>
                <a:gd name="connsiteY32" fmla="*/ 3073 h 10000"/>
                <a:gd name="connsiteX33" fmla="*/ 4782 w 9998"/>
                <a:gd name="connsiteY33" fmla="*/ 2004 h 10000"/>
                <a:gd name="connsiteX34" fmla="*/ 5065 w 9998"/>
                <a:gd name="connsiteY34" fmla="*/ 1600 h 10000"/>
                <a:gd name="connsiteX35" fmla="*/ 5121 w 9998"/>
                <a:gd name="connsiteY35" fmla="*/ 1493 h 10000"/>
                <a:gd name="connsiteX36" fmla="*/ 4874 w 9998"/>
                <a:gd name="connsiteY36" fmla="*/ 262 h 10000"/>
                <a:gd name="connsiteX37" fmla="*/ 3647 w 9998"/>
                <a:gd name="connsiteY37" fmla="*/ 1 h 10000"/>
                <a:gd name="connsiteX38" fmla="*/ 2986 w 9998"/>
                <a:gd name="connsiteY38" fmla="*/ 136 h 10000"/>
                <a:gd name="connsiteX39" fmla="*/ 2834 w 9998"/>
                <a:gd name="connsiteY39" fmla="*/ 621 h 10000"/>
                <a:gd name="connsiteX40" fmla="*/ 2644 w 9998"/>
                <a:gd name="connsiteY40" fmla="*/ 999 h 10000"/>
                <a:gd name="connsiteX41" fmla="*/ 1756 w 9998"/>
                <a:gd name="connsiteY41" fmla="*/ 703 h 10000"/>
                <a:gd name="connsiteX42" fmla="*/ 606 w 9998"/>
                <a:gd name="connsiteY42" fmla="*/ 307 h 10000"/>
                <a:gd name="connsiteX43" fmla="*/ 37 w 9998"/>
                <a:gd name="connsiteY43" fmla="*/ 280 h 10000"/>
                <a:gd name="connsiteX44" fmla="*/ 37 w 9998"/>
                <a:gd name="connsiteY44" fmla="*/ 280 h 10000"/>
                <a:gd name="connsiteX45" fmla="*/ 489 w 9998"/>
                <a:gd name="connsiteY45" fmla="*/ 432 h 10000"/>
                <a:gd name="connsiteX46" fmla="*/ 0 w 9998"/>
                <a:gd name="connsiteY46" fmla="*/ 603 h 10000"/>
                <a:gd name="connsiteX47" fmla="*/ 0 w 9998"/>
                <a:gd name="connsiteY47" fmla="*/ 603 h 10000"/>
                <a:gd name="connsiteX48" fmla="*/ 621 w 9998"/>
                <a:gd name="connsiteY48" fmla="*/ 586 h 10000"/>
                <a:gd name="connsiteX49" fmla="*/ 1361 w 9998"/>
                <a:gd name="connsiteY49" fmla="*/ 864 h 10000"/>
                <a:gd name="connsiteX50" fmla="*/ 2815 w 9998"/>
                <a:gd name="connsiteY50" fmla="*/ 1233 h 10000"/>
                <a:gd name="connsiteX51" fmla="*/ 3346 w 9998"/>
                <a:gd name="connsiteY51" fmla="*/ 594 h 10000"/>
                <a:gd name="connsiteX52" fmla="*/ 3383 w 9998"/>
                <a:gd name="connsiteY52" fmla="*/ 298 h 10000"/>
                <a:gd name="connsiteX53" fmla="*/ 3686 w 9998"/>
                <a:gd name="connsiteY53" fmla="*/ 253 h 10000"/>
                <a:gd name="connsiteX54" fmla="*/ 4478 w 9998"/>
                <a:gd name="connsiteY54" fmla="*/ 414 h 10000"/>
                <a:gd name="connsiteX55" fmla="*/ 4649 w 9998"/>
                <a:gd name="connsiteY55" fmla="*/ 1421 h 10000"/>
                <a:gd name="connsiteX56" fmla="*/ 4574 w 9998"/>
                <a:gd name="connsiteY56" fmla="*/ 1528 h 10000"/>
                <a:gd name="connsiteX57" fmla="*/ 4327 w 9998"/>
                <a:gd name="connsiteY57" fmla="*/ 1889 h 10000"/>
                <a:gd name="connsiteX58" fmla="*/ 3816 w 9998"/>
                <a:gd name="connsiteY58" fmla="*/ 3109 h 10000"/>
                <a:gd name="connsiteX59" fmla="*/ 4026 w 9998"/>
                <a:gd name="connsiteY59" fmla="*/ 4170 h 10000"/>
                <a:gd name="connsiteX60" fmla="*/ 4423 w 9998"/>
                <a:gd name="connsiteY60" fmla="*/ 5859 h 10000"/>
                <a:gd name="connsiteX61" fmla="*/ 4405 w 9998"/>
                <a:gd name="connsiteY61" fmla="*/ 5930 h 10000"/>
                <a:gd name="connsiteX62" fmla="*/ 4537 w 9998"/>
                <a:gd name="connsiteY62" fmla="*/ 6253 h 10000"/>
                <a:gd name="connsiteX63" fmla="*/ 4365 w 9998"/>
                <a:gd name="connsiteY63" fmla="*/ 8185 h 10000"/>
                <a:gd name="connsiteX64" fmla="*/ 4764 w 9998"/>
                <a:gd name="connsiteY64" fmla="*/ 9946 h 10000"/>
                <a:gd name="connsiteX65" fmla="*/ 5028 w 9998"/>
                <a:gd name="connsiteY65" fmla="*/ 10000 h 10000"/>
                <a:gd name="connsiteX66" fmla="*/ 5235 w 9998"/>
                <a:gd name="connsiteY66" fmla="*/ 9954 h 10000"/>
                <a:gd name="connsiteX67" fmla="*/ 5632 w 9998"/>
                <a:gd name="connsiteY67" fmla="*/ 8293 h 10000"/>
                <a:gd name="connsiteX68" fmla="*/ 5632 w 9998"/>
                <a:gd name="connsiteY68" fmla="*/ 8202 h 10000"/>
                <a:gd name="connsiteX69" fmla="*/ 5690 w 9998"/>
                <a:gd name="connsiteY69" fmla="*/ 6865 h 10000"/>
                <a:gd name="connsiteX70" fmla="*/ 5727 w 9998"/>
                <a:gd name="connsiteY70" fmla="*/ 6308 h 10000"/>
                <a:gd name="connsiteX71" fmla="*/ 5897 w 9998"/>
                <a:gd name="connsiteY71" fmla="*/ 6038 h 10000"/>
                <a:gd name="connsiteX72" fmla="*/ 6633 w 9998"/>
                <a:gd name="connsiteY72" fmla="*/ 4763 h 10000"/>
                <a:gd name="connsiteX73" fmla="*/ 7256 w 9998"/>
                <a:gd name="connsiteY73" fmla="*/ 4474 h 10000"/>
                <a:gd name="connsiteX74" fmla="*/ 6899 w 9998"/>
                <a:gd name="connsiteY74" fmla="*/ 3577 h 10000"/>
                <a:gd name="connsiteX75" fmla="*/ 6407 w 9998"/>
                <a:gd name="connsiteY75" fmla="*/ 3288 h 10000"/>
                <a:gd name="connsiteX76" fmla="*/ 6216 w 9998"/>
                <a:gd name="connsiteY76" fmla="*/ 2940 h 10000"/>
                <a:gd name="connsiteX77" fmla="*/ 6973 w 9998"/>
                <a:gd name="connsiteY77" fmla="*/ 2714 h 10000"/>
                <a:gd name="connsiteX78" fmla="*/ 8428 w 9998"/>
                <a:gd name="connsiteY78" fmla="*/ 2094 h 10000"/>
                <a:gd name="connsiteX79" fmla="*/ 8390 w 9998"/>
                <a:gd name="connsiteY79" fmla="*/ 1501 h 10000"/>
                <a:gd name="connsiteX80" fmla="*/ 8033 w 9998"/>
                <a:gd name="connsiteY80" fmla="*/ 1367 h 10000"/>
                <a:gd name="connsiteX81" fmla="*/ 6879 w 9998"/>
                <a:gd name="connsiteY81" fmla="*/ 1564 h 10000"/>
                <a:gd name="connsiteX82" fmla="*/ 6424 w 9998"/>
                <a:gd name="connsiteY82" fmla="*/ 1691 h 10000"/>
                <a:gd name="connsiteX83" fmla="*/ 6275 w 9998"/>
                <a:gd name="connsiteY83" fmla="*/ 1592 h 10000"/>
                <a:gd name="connsiteX84" fmla="*/ 6861 w 9998"/>
                <a:gd name="connsiteY84" fmla="*/ 1286 h 10000"/>
                <a:gd name="connsiteX85" fmla="*/ 7446 w 9998"/>
                <a:gd name="connsiteY85" fmla="*/ 1079 h 10000"/>
                <a:gd name="connsiteX86" fmla="*/ 7841 w 9998"/>
                <a:gd name="connsiteY86" fmla="*/ 666 h 10000"/>
                <a:gd name="connsiteX87" fmla="*/ 8448 w 9998"/>
                <a:gd name="connsiteY87" fmla="*/ 361 h 10000"/>
                <a:gd name="connsiteX88" fmla="*/ 9130 w 9998"/>
                <a:gd name="connsiteY88" fmla="*/ 460 h 10000"/>
                <a:gd name="connsiteX89" fmla="*/ 9488 w 9998"/>
                <a:gd name="connsiteY89" fmla="*/ 1187 h 10000"/>
                <a:gd name="connsiteX90" fmla="*/ 8654 w 9998"/>
                <a:gd name="connsiteY90" fmla="*/ 2202 h 10000"/>
                <a:gd name="connsiteX0" fmla="*/ 9490 w 10000"/>
                <a:gd name="connsiteY0" fmla="*/ 1187 h 10000"/>
                <a:gd name="connsiteX1" fmla="*/ 10000 w 10000"/>
                <a:gd name="connsiteY1" fmla="*/ 1187 h 10000"/>
                <a:gd name="connsiteX2" fmla="*/ 9490 w 10000"/>
                <a:gd name="connsiteY2" fmla="*/ 280 h 10000"/>
                <a:gd name="connsiteX3" fmla="*/ 8430 w 10000"/>
                <a:gd name="connsiteY3" fmla="*/ 118 h 10000"/>
                <a:gd name="connsiteX4" fmla="*/ 7332 w 10000"/>
                <a:gd name="connsiteY4" fmla="*/ 621 h 10000"/>
                <a:gd name="connsiteX5" fmla="*/ 7086 w 10000"/>
                <a:gd name="connsiteY5" fmla="*/ 908 h 10000"/>
                <a:gd name="connsiteX6" fmla="*/ 6596 w 10000"/>
                <a:gd name="connsiteY6" fmla="*/ 1079 h 10000"/>
                <a:gd name="connsiteX7" fmla="*/ 5804 w 10000"/>
                <a:gd name="connsiteY7" fmla="*/ 1754 h 10000"/>
                <a:gd name="connsiteX8" fmla="*/ 6104 w 10000"/>
                <a:gd name="connsiteY8" fmla="*/ 1933 h 10000"/>
                <a:gd name="connsiteX9" fmla="*/ 7162 w 10000"/>
                <a:gd name="connsiteY9" fmla="*/ 1772 h 10000"/>
                <a:gd name="connsiteX10" fmla="*/ 7750 w 10000"/>
                <a:gd name="connsiteY10" fmla="*/ 1610 h 10000"/>
                <a:gd name="connsiteX11" fmla="*/ 7957 w 10000"/>
                <a:gd name="connsiteY11" fmla="*/ 1626 h 10000"/>
                <a:gd name="connsiteX12" fmla="*/ 7957 w 10000"/>
                <a:gd name="connsiteY12" fmla="*/ 1996 h 10000"/>
                <a:gd name="connsiteX13" fmla="*/ 6823 w 10000"/>
                <a:gd name="connsiteY13" fmla="*/ 2481 h 10000"/>
                <a:gd name="connsiteX14" fmla="*/ 5746 w 10000"/>
                <a:gd name="connsiteY14" fmla="*/ 2858 h 10000"/>
                <a:gd name="connsiteX15" fmla="*/ 5952 w 10000"/>
                <a:gd name="connsiteY15" fmla="*/ 3424 h 10000"/>
                <a:gd name="connsiteX16" fmla="*/ 6521 w 10000"/>
                <a:gd name="connsiteY16" fmla="*/ 3747 h 10000"/>
                <a:gd name="connsiteX17" fmla="*/ 6842 w 10000"/>
                <a:gd name="connsiteY17" fmla="*/ 4340 h 10000"/>
                <a:gd name="connsiteX18" fmla="*/ 6350 w 10000"/>
                <a:gd name="connsiteY18" fmla="*/ 4556 h 10000"/>
                <a:gd name="connsiteX19" fmla="*/ 5388 w 10000"/>
                <a:gd name="connsiteY19" fmla="*/ 6038 h 10000"/>
                <a:gd name="connsiteX20" fmla="*/ 5483 w 10000"/>
                <a:gd name="connsiteY20" fmla="*/ 6298 h 10000"/>
                <a:gd name="connsiteX21" fmla="*/ 5463 w 10000"/>
                <a:gd name="connsiteY21" fmla="*/ 6865 h 10000"/>
                <a:gd name="connsiteX22" fmla="*/ 5408 w 10000"/>
                <a:gd name="connsiteY22" fmla="*/ 8202 h 10000"/>
                <a:gd name="connsiteX23" fmla="*/ 5408 w 10000"/>
                <a:gd name="connsiteY23" fmla="*/ 8293 h 10000"/>
                <a:gd name="connsiteX24" fmla="*/ 5066 w 10000"/>
                <a:gd name="connsiteY24" fmla="*/ 9873 h 10000"/>
                <a:gd name="connsiteX25" fmla="*/ 5029 w 10000"/>
                <a:gd name="connsiteY25" fmla="*/ 9891 h 10000"/>
                <a:gd name="connsiteX26" fmla="*/ 4914 w 10000"/>
                <a:gd name="connsiteY26" fmla="*/ 9864 h 10000"/>
                <a:gd name="connsiteX27" fmla="*/ 4593 w 10000"/>
                <a:gd name="connsiteY27" fmla="*/ 8185 h 10000"/>
                <a:gd name="connsiteX28" fmla="*/ 4765 w 10000"/>
                <a:gd name="connsiteY28" fmla="*/ 6253 h 10000"/>
                <a:gd name="connsiteX29" fmla="*/ 4914 w 10000"/>
                <a:gd name="connsiteY29" fmla="*/ 5957 h 10000"/>
                <a:gd name="connsiteX30" fmla="*/ 4934 w 10000"/>
                <a:gd name="connsiteY30" fmla="*/ 5885 h 10000"/>
                <a:gd name="connsiteX31" fmla="*/ 4519 w 10000"/>
                <a:gd name="connsiteY31" fmla="*/ 4098 h 10000"/>
                <a:gd name="connsiteX32" fmla="*/ 4328 w 10000"/>
                <a:gd name="connsiteY32" fmla="*/ 3073 h 10000"/>
                <a:gd name="connsiteX33" fmla="*/ 4783 w 10000"/>
                <a:gd name="connsiteY33" fmla="*/ 2004 h 10000"/>
                <a:gd name="connsiteX34" fmla="*/ 5066 w 10000"/>
                <a:gd name="connsiteY34" fmla="*/ 1600 h 10000"/>
                <a:gd name="connsiteX35" fmla="*/ 5122 w 10000"/>
                <a:gd name="connsiteY35" fmla="*/ 1493 h 10000"/>
                <a:gd name="connsiteX36" fmla="*/ 4875 w 10000"/>
                <a:gd name="connsiteY36" fmla="*/ 262 h 10000"/>
                <a:gd name="connsiteX37" fmla="*/ 3648 w 10000"/>
                <a:gd name="connsiteY37" fmla="*/ 1 h 10000"/>
                <a:gd name="connsiteX38" fmla="*/ 2987 w 10000"/>
                <a:gd name="connsiteY38" fmla="*/ 136 h 10000"/>
                <a:gd name="connsiteX39" fmla="*/ 2835 w 10000"/>
                <a:gd name="connsiteY39" fmla="*/ 621 h 10000"/>
                <a:gd name="connsiteX40" fmla="*/ 2645 w 10000"/>
                <a:gd name="connsiteY40" fmla="*/ 999 h 10000"/>
                <a:gd name="connsiteX41" fmla="*/ 1756 w 10000"/>
                <a:gd name="connsiteY41" fmla="*/ 703 h 10000"/>
                <a:gd name="connsiteX42" fmla="*/ 606 w 10000"/>
                <a:gd name="connsiteY42" fmla="*/ 307 h 10000"/>
                <a:gd name="connsiteX43" fmla="*/ 37 w 10000"/>
                <a:gd name="connsiteY43" fmla="*/ 280 h 10000"/>
                <a:gd name="connsiteX44" fmla="*/ 37 w 10000"/>
                <a:gd name="connsiteY44" fmla="*/ 280 h 10000"/>
                <a:gd name="connsiteX45" fmla="*/ 489 w 10000"/>
                <a:gd name="connsiteY45" fmla="*/ 432 h 10000"/>
                <a:gd name="connsiteX46" fmla="*/ 0 w 10000"/>
                <a:gd name="connsiteY46" fmla="*/ 603 h 10000"/>
                <a:gd name="connsiteX47" fmla="*/ 0 w 10000"/>
                <a:gd name="connsiteY47" fmla="*/ 603 h 10000"/>
                <a:gd name="connsiteX48" fmla="*/ 621 w 10000"/>
                <a:gd name="connsiteY48" fmla="*/ 586 h 10000"/>
                <a:gd name="connsiteX49" fmla="*/ 1361 w 10000"/>
                <a:gd name="connsiteY49" fmla="*/ 864 h 10000"/>
                <a:gd name="connsiteX50" fmla="*/ 2816 w 10000"/>
                <a:gd name="connsiteY50" fmla="*/ 1233 h 10000"/>
                <a:gd name="connsiteX51" fmla="*/ 3347 w 10000"/>
                <a:gd name="connsiteY51" fmla="*/ 594 h 10000"/>
                <a:gd name="connsiteX52" fmla="*/ 3384 w 10000"/>
                <a:gd name="connsiteY52" fmla="*/ 298 h 10000"/>
                <a:gd name="connsiteX53" fmla="*/ 3687 w 10000"/>
                <a:gd name="connsiteY53" fmla="*/ 253 h 10000"/>
                <a:gd name="connsiteX54" fmla="*/ 4479 w 10000"/>
                <a:gd name="connsiteY54" fmla="*/ 414 h 10000"/>
                <a:gd name="connsiteX55" fmla="*/ 4650 w 10000"/>
                <a:gd name="connsiteY55" fmla="*/ 1421 h 10000"/>
                <a:gd name="connsiteX56" fmla="*/ 4575 w 10000"/>
                <a:gd name="connsiteY56" fmla="*/ 1528 h 10000"/>
                <a:gd name="connsiteX57" fmla="*/ 4328 w 10000"/>
                <a:gd name="connsiteY57" fmla="*/ 1889 h 10000"/>
                <a:gd name="connsiteX58" fmla="*/ 3817 w 10000"/>
                <a:gd name="connsiteY58" fmla="*/ 3109 h 10000"/>
                <a:gd name="connsiteX59" fmla="*/ 4027 w 10000"/>
                <a:gd name="connsiteY59" fmla="*/ 4170 h 10000"/>
                <a:gd name="connsiteX60" fmla="*/ 4424 w 10000"/>
                <a:gd name="connsiteY60" fmla="*/ 5859 h 10000"/>
                <a:gd name="connsiteX61" fmla="*/ 4406 w 10000"/>
                <a:gd name="connsiteY61" fmla="*/ 5930 h 10000"/>
                <a:gd name="connsiteX62" fmla="*/ 4538 w 10000"/>
                <a:gd name="connsiteY62" fmla="*/ 6253 h 10000"/>
                <a:gd name="connsiteX63" fmla="*/ 4366 w 10000"/>
                <a:gd name="connsiteY63" fmla="*/ 8185 h 10000"/>
                <a:gd name="connsiteX64" fmla="*/ 4765 w 10000"/>
                <a:gd name="connsiteY64" fmla="*/ 9946 h 10000"/>
                <a:gd name="connsiteX65" fmla="*/ 5029 w 10000"/>
                <a:gd name="connsiteY65" fmla="*/ 10000 h 10000"/>
                <a:gd name="connsiteX66" fmla="*/ 5236 w 10000"/>
                <a:gd name="connsiteY66" fmla="*/ 9954 h 10000"/>
                <a:gd name="connsiteX67" fmla="*/ 5633 w 10000"/>
                <a:gd name="connsiteY67" fmla="*/ 8293 h 10000"/>
                <a:gd name="connsiteX68" fmla="*/ 5633 w 10000"/>
                <a:gd name="connsiteY68" fmla="*/ 8202 h 10000"/>
                <a:gd name="connsiteX69" fmla="*/ 5691 w 10000"/>
                <a:gd name="connsiteY69" fmla="*/ 6865 h 10000"/>
                <a:gd name="connsiteX70" fmla="*/ 5728 w 10000"/>
                <a:gd name="connsiteY70" fmla="*/ 6308 h 10000"/>
                <a:gd name="connsiteX71" fmla="*/ 5898 w 10000"/>
                <a:gd name="connsiteY71" fmla="*/ 6038 h 10000"/>
                <a:gd name="connsiteX72" fmla="*/ 6634 w 10000"/>
                <a:gd name="connsiteY72" fmla="*/ 4763 h 10000"/>
                <a:gd name="connsiteX73" fmla="*/ 7257 w 10000"/>
                <a:gd name="connsiteY73" fmla="*/ 4474 h 10000"/>
                <a:gd name="connsiteX74" fmla="*/ 6900 w 10000"/>
                <a:gd name="connsiteY74" fmla="*/ 3577 h 10000"/>
                <a:gd name="connsiteX75" fmla="*/ 6408 w 10000"/>
                <a:gd name="connsiteY75" fmla="*/ 3288 h 10000"/>
                <a:gd name="connsiteX76" fmla="*/ 6217 w 10000"/>
                <a:gd name="connsiteY76" fmla="*/ 2940 h 10000"/>
                <a:gd name="connsiteX77" fmla="*/ 6974 w 10000"/>
                <a:gd name="connsiteY77" fmla="*/ 2714 h 10000"/>
                <a:gd name="connsiteX78" fmla="*/ 8430 w 10000"/>
                <a:gd name="connsiteY78" fmla="*/ 2094 h 10000"/>
                <a:gd name="connsiteX79" fmla="*/ 8392 w 10000"/>
                <a:gd name="connsiteY79" fmla="*/ 1501 h 10000"/>
                <a:gd name="connsiteX80" fmla="*/ 8035 w 10000"/>
                <a:gd name="connsiteY80" fmla="*/ 1367 h 10000"/>
                <a:gd name="connsiteX81" fmla="*/ 6880 w 10000"/>
                <a:gd name="connsiteY81" fmla="*/ 1564 h 10000"/>
                <a:gd name="connsiteX82" fmla="*/ 6425 w 10000"/>
                <a:gd name="connsiteY82" fmla="*/ 1691 h 10000"/>
                <a:gd name="connsiteX83" fmla="*/ 6276 w 10000"/>
                <a:gd name="connsiteY83" fmla="*/ 1592 h 10000"/>
                <a:gd name="connsiteX84" fmla="*/ 6862 w 10000"/>
                <a:gd name="connsiteY84" fmla="*/ 1286 h 10000"/>
                <a:gd name="connsiteX85" fmla="*/ 7447 w 10000"/>
                <a:gd name="connsiteY85" fmla="*/ 1079 h 10000"/>
                <a:gd name="connsiteX86" fmla="*/ 7843 w 10000"/>
                <a:gd name="connsiteY86" fmla="*/ 666 h 10000"/>
                <a:gd name="connsiteX87" fmla="*/ 8450 w 10000"/>
                <a:gd name="connsiteY87" fmla="*/ 361 h 10000"/>
                <a:gd name="connsiteX88" fmla="*/ 9132 w 10000"/>
                <a:gd name="connsiteY88" fmla="*/ 460 h 10000"/>
                <a:gd name="connsiteX89" fmla="*/ 9490 w 10000"/>
                <a:gd name="connsiteY89" fmla="*/ 1187 h 10000"/>
                <a:gd name="connsiteX0" fmla="*/ 9490 w 9583"/>
                <a:gd name="connsiteY0" fmla="*/ 1187 h 10000"/>
                <a:gd name="connsiteX1" fmla="*/ 9490 w 9583"/>
                <a:gd name="connsiteY1" fmla="*/ 280 h 10000"/>
                <a:gd name="connsiteX2" fmla="*/ 8430 w 9583"/>
                <a:gd name="connsiteY2" fmla="*/ 118 h 10000"/>
                <a:gd name="connsiteX3" fmla="*/ 7332 w 9583"/>
                <a:gd name="connsiteY3" fmla="*/ 621 h 10000"/>
                <a:gd name="connsiteX4" fmla="*/ 7086 w 9583"/>
                <a:gd name="connsiteY4" fmla="*/ 908 h 10000"/>
                <a:gd name="connsiteX5" fmla="*/ 6596 w 9583"/>
                <a:gd name="connsiteY5" fmla="*/ 1079 h 10000"/>
                <a:gd name="connsiteX6" fmla="*/ 5804 w 9583"/>
                <a:gd name="connsiteY6" fmla="*/ 1754 h 10000"/>
                <a:gd name="connsiteX7" fmla="*/ 6104 w 9583"/>
                <a:gd name="connsiteY7" fmla="*/ 1933 h 10000"/>
                <a:gd name="connsiteX8" fmla="*/ 7162 w 9583"/>
                <a:gd name="connsiteY8" fmla="*/ 1772 h 10000"/>
                <a:gd name="connsiteX9" fmla="*/ 7750 w 9583"/>
                <a:gd name="connsiteY9" fmla="*/ 1610 h 10000"/>
                <a:gd name="connsiteX10" fmla="*/ 7957 w 9583"/>
                <a:gd name="connsiteY10" fmla="*/ 1626 h 10000"/>
                <a:gd name="connsiteX11" fmla="*/ 7957 w 9583"/>
                <a:gd name="connsiteY11" fmla="*/ 1996 h 10000"/>
                <a:gd name="connsiteX12" fmla="*/ 6823 w 9583"/>
                <a:gd name="connsiteY12" fmla="*/ 2481 h 10000"/>
                <a:gd name="connsiteX13" fmla="*/ 5746 w 9583"/>
                <a:gd name="connsiteY13" fmla="*/ 2858 h 10000"/>
                <a:gd name="connsiteX14" fmla="*/ 5952 w 9583"/>
                <a:gd name="connsiteY14" fmla="*/ 3424 h 10000"/>
                <a:gd name="connsiteX15" fmla="*/ 6521 w 9583"/>
                <a:gd name="connsiteY15" fmla="*/ 3747 h 10000"/>
                <a:gd name="connsiteX16" fmla="*/ 6842 w 9583"/>
                <a:gd name="connsiteY16" fmla="*/ 4340 h 10000"/>
                <a:gd name="connsiteX17" fmla="*/ 6350 w 9583"/>
                <a:gd name="connsiteY17" fmla="*/ 4556 h 10000"/>
                <a:gd name="connsiteX18" fmla="*/ 5388 w 9583"/>
                <a:gd name="connsiteY18" fmla="*/ 6038 h 10000"/>
                <a:gd name="connsiteX19" fmla="*/ 5483 w 9583"/>
                <a:gd name="connsiteY19" fmla="*/ 6298 h 10000"/>
                <a:gd name="connsiteX20" fmla="*/ 5463 w 9583"/>
                <a:gd name="connsiteY20" fmla="*/ 6865 h 10000"/>
                <a:gd name="connsiteX21" fmla="*/ 5408 w 9583"/>
                <a:gd name="connsiteY21" fmla="*/ 8202 h 10000"/>
                <a:gd name="connsiteX22" fmla="*/ 5408 w 9583"/>
                <a:gd name="connsiteY22" fmla="*/ 8293 h 10000"/>
                <a:gd name="connsiteX23" fmla="*/ 5066 w 9583"/>
                <a:gd name="connsiteY23" fmla="*/ 9873 h 10000"/>
                <a:gd name="connsiteX24" fmla="*/ 5029 w 9583"/>
                <a:gd name="connsiteY24" fmla="*/ 9891 h 10000"/>
                <a:gd name="connsiteX25" fmla="*/ 4914 w 9583"/>
                <a:gd name="connsiteY25" fmla="*/ 9864 h 10000"/>
                <a:gd name="connsiteX26" fmla="*/ 4593 w 9583"/>
                <a:gd name="connsiteY26" fmla="*/ 8185 h 10000"/>
                <a:gd name="connsiteX27" fmla="*/ 4765 w 9583"/>
                <a:gd name="connsiteY27" fmla="*/ 6253 h 10000"/>
                <a:gd name="connsiteX28" fmla="*/ 4914 w 9583"/>
                <a:gd name="connsiteY28" fmla="*/ 5957 h 10000"/>
                <a:gd name="connsiteX29" fmla="*/ 4934 w 9583"/>
                <a:gd name="connsiteY29" fmla="*/ 5885 h 10000"/>
                <a:gd name="connsiteX30" fmla="*/ 4519 w 9583"/>
                <a:gd name="connsiteY30" fmla="*/ 4098 h 10000"/>
                <a:gd name="connsiteX31" fmla="*/ 4328 w 9583"/>
                <a:gd name="connsiteY31" fmla="*/ 3073 h 10000"/>
                <a:gd name="connsiteX32" fmla="*/ 4783 w 9583"/>
                <a:gd name="connsiteY32" fmla="*/ 2004 h 10000"/>
                <a:gd name="connsiteX33" fmla="*/ 5066 w 9583"/>
                <a:gd name="connsiteY33" fmla="*/ 1600 h 10000"/>
                <a:gd name="connsiteX34" fmla="*/ 5122 w 9583"/>
                <a:gd name="connsiteY34" fmla="*/ 1493 h 10000"/>
                <a:gd name="connsiteX35" fmla="*/ 4875 w 9583"/>
                <a:gd name="connsiteY35" fmla="*/ 262 h 10000"/>
                <a:gd name="connsiteX36" fmla="*/ 3648 w 9583"/>
                <a:gd name="connsiteY36" fmla="*/ 1 h 10000"/>
                <a:gd name="connsiteX37" fmla="*/ 2987 w 9583"/>
                <a:gd name="connsiteY37" fmla="*/ 136 h 10000"/>
                <a:gd name="connsiteX38" fmla="*/ 2835 w 9583"/>
                <a:gd name="connsiteY38" fmla="*/ 621 h 10000"/>
                <a:gd name="connsiteX39" fmla="*/ 2645 w 9583"/>
                <a:gd name="connsiteY39" fmla="*/ 999 h 10000"/>
                <a:gd name="connsiteX40" fmla="*/ 1756 w 9583"/>
                <a:gd name="connsiteY40" fmla="*/ 703 h 10000"/>
                <a:gd name="connsiteX41" fmla="*/ 606 w 9583"/>
                <a:gd name="connsiteY41" fmla="*/ 307 h 10000"/>
                <a:gd name="connsiteX42" fmla="*/ 37 w 9583"/>
                <a:gd name="connsiteY42" fmla="*/ 280 h 10000"/>
                <a:gd name="connsiteX43" fmla="*/ 37 w 9583"/>
                <a:gd name="connsiteY43" fmla="*/ 280 h 10000"/>
                <a:gd name="connsiteX44" fmla="*/ 489 w 9583"/>
                <a:gd name="connsiteY44" fmla="*/ 432 h 10000"/>
                <a:gd name="connsiteX45" fmla="*/ 0 w 9583"/>
                <a:gd name="connsiteY45" fmla="*/ 603 h 10000"/>
                <a:gd name="connsiteX46" fmla="*/ 0 w 9583"/>
                <a:gd name="connsiteY46" fmla="*/ 603 h 10000"/>
                <a:gd name="connsiteX47" fmla="*/ 621 w 9583"/>
                <a:gd name="connsiteY47" fmla="*/ 586 h 10000"/>
                <a:gd name="connsiteX48" fmla="*/ 1361 w 9583"/>
                <a:gd name="connsiteY48" fmla="*/ 864 h 10000"/>
                <a:gd name="connsiteX49" fmla="*/ 2816 w 9583"/>
                <a:gd name="connsiteY49" fmla="*/ 1233 h 10000"/>
                <a:gd name="connsiteX50" fmla="*/ 3347 w 9583"/>
                <a:gd name="connsiteY50" fmla="*/ 594 h 10000"/>
                <a:gd name="connsiteX51" fmla="*/ 3384 w 9583"/>
                <a:gd name="connsiteY51" fmla="*/ 298 h 10000"/>
                <a:gd name="connsiteX52" fmla="*/ 3687 w 9583"/>
                <a:gd name="connsiteY52" fmla="*/ 253 h 10000"/>
                <a:gd name="connsiteX53" fmla="*/ 4479 w 9583"/>
                <a:gd name="connsiteY53" fmla="*/ 414 h 10000"/>
                <a:gd name="connsiteX54" fmla="*/ 4650 w 9583"/>
                <a:gd name="connsiteY54" fmla="*/ 1421 h 10000"/>
                <a:gd name="connsiteX55" fmla="*/ 4575 w 9583"/>
                <a:gd name="connsiteY55" fmla="*/ 1528 h 10000"/>
                <a:gd name="connsiteX56" fmla="*/ 4328 w 9583"/>
                <a:gd name="connsiteY56" fmla="*/ 1889 h 10000"/>
                <a:gd name="connsiteX57" fmla="*/ 3817 w 9583"/>
                <a:gd name="connsiteY57" fmla="*/ 3109 h 10000"/>
                <a:gd name="connsiteX58" fmla="*/ 4027 w 9583"/>
                <a:gd name="connsiteY58" fmla="*/ 4170 h 10000"/>
                <a:gd name="connsiteX59" fmla="*/ 4424 w 9583"/>
                <a:gd name="connsiteY59" fmla="*/ 5859 h 10000"/>
                <a:gd name="connsiteX60" fmla="*/ 4406 w 9583"/>
                <a:gd name="connsiteY60" fmla="*/ 5930 h 10000"/>
                <a:gd name="connsiteX61" fmla="*/ 4538 w 9583"/>
                <a:gd name="connsiteY61" fmla="*/ 6253 h 10000"/>
                <a:gd name="connsiteX62" fmla="*/ 4366 w 9583"/>
                <a:gd name="connsiteY62" fmla="*/ 8185 h 10000"/>
                <a:gd name="connsiteX63" fmla="*/ 4765 w 9583"/>
                <a:gd name="connsiteY63" fmla="*/ 9946 h 10000"/>
                <a:gd name="connsiteX64" fmla="*/ 5029 w 9583"/>
                <a:gd name="connsiteY64" fmla="*/ 10000 h 10000"/>
                <a:gd name="connsiteX65" fmla="*/ 5236 w 9583"/>
                <a:gd name="connsiteY65" fmla="*/ 9954 h 10000"/>
                <a:gd name="connsiteX66" fmla="*/ 5633 w 9583"/>
                <a:gd name="connsiteY66" fmla="*/ 8293 h 10000"/>
                <a:gd name="connsiteX67" fmla="*/ 5633 w 9583"/>
                <a:gd name="connsiteY67" fmla="*/ 8202 h 10000"/>
                <a:gd name="connsiteX68" fmla="*/ 5691 w 9583"/>
                <a:gd name="connsiteY68" fmla="*/ 6865 h 10000"/>
                <a:gd name="connsiteX69" fmla="*/ 5728 w 9583"/>
                <a:gd name="connsiteY69" fmla="*/ 6308 h 10000"/>
                <a:gd name="connsiteX70" fmla="*/ 5898 w 9583"/>
                <a:gd name="connsiteY70" fmla="*/ 6038 h 10000"/>
                <a:gd name="connsiteX71" fmla="*/ 6634 w 9583"/>
                <a:gd name="connsiteY71" fmla="*/ 4763 h 10000"/>
                <a:gd name="connsiteX72" fmla="*/ 7257 w 9583"/>
                <a:gd name="connsiteY72" fmla="*/ 4474 h 10000"/>
                <a:gd name="connsiteX73" fmla="*/ 6900 w 9583"/>
                <a:gd name="connsiteY73" fmla="*/ 3577 h 10000"/>
                <a:gd name="connsiteX74" fmla="*/ 6408 w 9583"/>
                <a:gd name="connsiteY74" fmla="*/ 3288 h 10000"/>
                <a:gd name="connsiteX75" fmla="*/ 6217 w 9583"/>
                <a:gd name="connsiteY75" fmla="*/ 2940 h 10000"/>
                <a:gd name="connsiteX76" fmla="*/ 6974 w 9583"/>
                <a:gd name="connsiteY76" fmla="*/ 2714 h 10000"/>
                <a:gd name="connsiteX77" fmla="*/ 8430 w 9583"/>
                <a:gd name="connsiteY77" fmla="*/ 2094 h 10000"/>
                <a:gd name="connsiteX78" fmla="*/ 8392 w 9583"/>
                <a:gd name="connsiteY78" fmla="*/ 1501 h 10000"/>
                <a:gd name="connsiteX79" fmla="*/ 8035 w 9583"/>
                <a:gd name="connsiteY79" fmla="*/ 1367 h 10000"/>
                <a:gd name="connsiteX80" fmla="*/ 6880 w 9583"/>
                <a:gd name="connsiteY80" fmla="*/ 1564 h 10000"/>
                <a:gd name="connsiteX81" fmla="*/ 6425 w 9583"/>
                <a:gd name="connsiteY81" fmla="*/ 1691 h 10000"/>
                <a:gd name="connsiteX82" fmla="*/ 6276 w 9583"/>
                <a:gd name="connsiteY82" fmla="*/ 1592 h 10000"/>
                <a:gd name="connsiteX83" fmla="*/ 6862 w 9583"/>
                <a:gd name="connsiteY83" fmla="*/ 1286 h 10000"/>
                <a:gd name="connsiteX84" fmla="*/ 7447 w 9583"/>
                <a:gd name="connsiteY84" fmla="*/ 1079 h 10000"/>
                <a:gd name="connsiteX85" fmla="*/ 7843 w 9583"/>
                <a:gd name="connsiteY85" fmla="*/ 666 h 10000"/>
                <a:gd name="connsiteX86" fmla="*/ 8450 w 9583"/>
                <a:gd name="connsiteY86" fmla="*/ 361 h 10000"/>
                <a:gd name="connsiteX87" fmla="*/ 9132 w 9583"/>
                <a:gd name="connsiteY87" fmla="*/ 460 h 10000"/>
                <a:gd name="connsiteX88" fmla="*/ 9490 w 9583"/>
                <a:gd name="connsiteY88" fmla="*/ 1187 h 10000"/>
                <a:gd name="connsiteX0" fmla="*/ 9529 w 9930"/>
                <a:gd name="connsiteY0" fmla="*/ 460 h 10000"/>
                <a:gd name="connsiteX1" fmla="*/ 9903 w 9930"/>
                <a:gd name="connsiteY1" fmla="*/ 280 h 10000"/>
                <a:gd name="connsiteX2" fmla="*/ 8797 w 9930"/>
                <a:gd name="connsiteY2" fmla="*/ 118 h 10000"/>
                <a:gd name="connsiteX3" fmla="*/ 7651 w 9930"/>
                <a:gd name="connsiteY3" fmla="*/ 621 h 10000"/>
                <a:gd name="connsiteX4" fmla="*/ 7394 w 9930"/>
                <a:gd name="connsiteY4" fmla="*/ 908 h 10000"/>
                <a:gd name="connsiteX5" fmla="*/ 6883 w 9930"/>
                <a:gd name="connsiteY5" fmla="*/ 1079 h 10000"/>
                <a:gd name="connsiteX6" fmla="*/ 6057 w 9930"/>
                <a:gd name="connsiteY6" fmla="*/ 1754 h 10000"/>
                <a:gd name="connsiteX7" fmla="*/ 6370 w 9930"/>
                <a:gd name="connsiteY7" fmla="*/ 1933 h 10000"/>
                <a:gd name="connsiteX8" fmla="*/ 7474 w 9930"/>
                <a:gd name="connsiteY8" fmla="*/ 1772 h 10000"/>
                <a:gd name="connsiteX9" fmla="*/ 8087 w 9930"/>
                <a:gd name="connsiteY9" fmla="*/ 1610 h 10000"/>
                <a:gd name="connsiteX10" fmla="*/ 8303 w 9930"/>
                <a:gd name="connsiteY10" fmla="*/ 1626 h 10000"/>
                <a:gd name="connsiteX11" fmla="*/ 8303 w 9930"/>
                <a:gd name="connsiteY11" fmla="*/ 1996 h 10000"/>
                <a:gd name="connsiteX12" fmla="*/ 7120 w 9930"/>
                <a:gd name="connsiteY12" fmla="*/ 2481 h 10000"/>
                <a:gd name="connsiteX13" fmla="*/ 5996 w 9930"/>
                <a:gd name="connsiteY13" fmla="*/ 2858 h 10000"/>
                <a:gd name="connsiteX14" fmla="*/ 6211 w 9930"/>
                <a:gd name="connsiteY14" fmla="*/ 3424 h 10000"/>
                <a:gd name="connsiteX15" fmla="*/ 6805 w 9930"/>
                <a:gd name="connsiteY15" fmla="*/ 3747 h 10000"/>
                <a:gd name="connsiteX16" fmla="*/ 7140 w 9930"/>
                <a:gd name="connsiteY16" fmla="*/ 4340 h 10000"/>
                <a:gd name="connsiteX17" fmla="*/ 6626 w 9930"/>
                <a:gd name="connsiteY17" fmla="*/ 4556 h 10000"/>
                <a:gd name="connsiteX18" fmla="*/ 5622 w 9930"/>
                <a:gd name="connsiteY18" fmla="*/ 6038 h 10000"/>
                <a:gd name="connsiteX19" fmla="*/ 5722 w 9930"/>
                <a:gd name="connsiteY19" fmla="*/ 6298 h 10000"/>
                <a:gd name="connsiteX20" fmla="*/ 5701 w 9930"/>
                <a:gd name="connsiteY20" fmla="*/ 6865 h 10000"/>
                <a:gd name="connsiteX21" fmla="*/ 5643 w 9930"/>
                <a:gd name="connsiteY21" fmla="*/ 8202 h 10000"/>
                <a:gd name="connsiteX22" fmla="*/ 5643 w 9930"/>
                <a:gd name="connsiteY22" fmla="*/ 8293 h 10000"/>
                <a:gd name="connsiteX23" fmla="*/ 5286 w 9930"/>
                <a:gd name="connsiteY23" fmla="*/ 9873 h 10000"/>
                <a:gd name="connsiteX24" fmla="*/ 5248 w 9930"/>
                <a:gd name="connsiteY24" fmla="*/ 9891 h 10000"/>
                <a:gd name="connsiteX25" fmla="*/ 5128 w 9930"/>
                <a:gd name="connsiteY25" fmla="*/ 9864 h 10000"/>
                <a:gd name="connsiteX26" fmla="*/ 4793 w 9930"/>
                <a:gd name="connsiteY26" fmla="*/ 8185 h 10000"/>
                <a:gd name="connsiteX27" fmla="*/ 4972 w 9930"/>
                <a:gd name="connsiteY27" fmla="*/ 6253 h 10000"/>
                <a:gd name="connsiteX28" fmla="*/ 5128 w 9930"/>
                <a:gd name="connsiteY28" fmla="*/ 5957 h 10000"/>
                <a:gd name="connsiteX29" fmla="*/ 5149 w 9930"/>
                <a:gd name="connsiteY29" fmla="*/ 5885 h 10000"/>
                <a:gd name="connsiteX30" fmla="*/ 4716 w 9930"/>
                <a:gd name="connsiteY30" fmla="*/ 4098 h 10000"/>
                <a:gd name="connsiteX31" fmla="*/ 4516 w 9930"/>
                <a:gd name="connsiteY31" fmla="*/ 3073 h 10000"/>
                <a:gd name="connsiteX32" fmla="*/ 4991 w 9930"/>
                <a:gd name="connsiteY32" fmla="*/ 2004 h 10000"/>
                <a:gd name="connsiteX33" fmla="*/ 5286 w 9930"/>
                <a:gd name="connsiteY33" fmla="*/ 1600 h 10000"/>
                <a:gd name="connsiteX34" fmla="*/ 5345 w 9930"/>
                <a:gd name="connsiteY34" fmla="*/ 1493 h 10000"/>
                <a:gd name="connsiteX35" fmla="*/ 5087 w 9930"/>
                <a:gd name="connsiteY35" fmla="*/ 262 h 10000"/>
                <a:gd name="connsiteX36" fmla="*/ 3807 w 9930"/>
                <a:gd name="connsiteY36" fmla="*/ 1 h 10000"/>
                <a:gd name="connsiteX37" fmla="*/ 3117 w 9930"/>
                <a:gd name="connsiteY37" fmla="*/ 136 h 10000"/>
                <a:gd name="connsiteX38" fmla="*/ 2958 w 9930"/>
                <a:gd name="connsiteY38" fmla="*/ 621 h 10000"/>
                <a:gd name="connsiteX39" fmla="*/ 2760 w 9930"/>
                <a:gd name="connsiteY39" fmla="*/ 999 h 10000"/>
                <a:gd name="connsiteX40" fmla="*/ 1832 w 9930"/>
                <a:gd name="connsiteY40" fmla="*/ 703 h 10000"/>
                <a:gd name="connsiteX41" fmla="*/ 632 w 9930"/>
                <a:gd name="connsiteY41" fmla="*/ 307 h 10000"/>
                <a:gd name="connsiteX42" fmla="*/ 39 w 9930"/>
                <a:gd name="connsiteY42" fmla="*/ 280 h 10000"/>
                <a:gd name="connsiteX43" fmla="*/ 39 w 9930"/>
                <a:gd name="connsiteY43" fmla="*/ 280 h 10000"/>
                <a:gd name="connsiteX44" fmla="*/ 510 w 9930"/>
                <a:gd name="connsiteY44" fmla="*/ 432 h 10000"/>
                <a:gd name="connsiteX45" fmla="*/ 0 w 9930"/>
                <a:gd name="connsiteY45" fmla="*/ 603 h 10000"/>
                <a:gd name="connsiteX46" fmla="*/ 0 w 9930"/>
                <a:gd name="connsiteY46" fmla="*/ 603 h 10000"/>
                <a:gd name="connsiteX47" fmla="*/ 648 w 9930"/>
                <a:gd name="connsiteY47" fmla="*/ 586 h 10000"/>
                <a:gd name="connsiteX48" fmla="*/ 1420 w 9930"/>
                <a:gd name="connsiteY48" fmla="*/ 864 h 10000"/>
                <a:gd name="connsiteX49" fmla="*/ 2939 w 9930"/>
                <a:gd name="connsiteY49" fmla="*/ 1233 h 10000"/>
                <a:gd name="connsiteX50" fmla="*/ 3493 w 9930"/>
                <a:gd name="connsiteY50" fmla="*/ 594 h 10000"/>
                <a:gd name="connsiteX51" fmla="*/ 3531 w 9930"/>
                <a:gd name="connsiteY51" fmla="*/ 298 h 10000"/>
                <a:gd name="connsiteX52" fmla="*/ 3847 w 9930"/>
                <a:gd name="connsiteY52" fmla="*/ 253 h 10000"/>
                <a:gd name="connsiteX53" fmla="*/ 4674 w 9930"/>
                <a:gd name="connsiteY53" fmla="*/ 414 h 10000"/>
                <a:gd name="connsiteX54" fmla="*/ 4852 w 9930"/>
                <a:gd name="connsiteY54" fmla="*/ 1421 h 10000"/>
                <a:gd name="connsiteX55" fmla="*/ 4774 w 9930"/>
                <a:gd name="connsiteY55" fmla="*/ 1528 h 10000"/>
                <a:gd name="connsiteX56" fmla="*/ 4516 w 9930"/>
                <a:gd name="connsiteY56" fmla="*/ 1889 h 10000"/>
                <a:gd name="connsiteX57" fmla="*/ 3983 w 9930"/>
                <a:gd name="connsiteY57" fmla="*/ 3109 h 10000"/>
                <a:gd name="connsiteX58" fmla="*/ 4202 w 9930"/>
                <a:gd name="connsiteY58" fmla="*/ 4170 h 10000"/>
                <a:gd name="connsiteX59" fmla="*/ 4617 w 9930"/>
                <a:gd name="connsiteY59" fmla="*/ 5859 h 10000"/>
                <a:gd name="connsiteX60" fmla="*/ 4598 w 9930"/>
                <a:gd name="connsiteY60" fmla="*/ 5930 h 10000"/>
                <a:gd name="connsiteX61" fmla="*/ 4735 w 9930"/>
                <a:gd name="connsiteY61" fmla="*/ 6253 h 10000"/>
                <a:gd name="connsiteX62" fmla="*/ 4556 w 9930"/>
                <a:gd name="connsiteY62" fmla="*/ 8185 h 10000"/>
                <a:gd name="connsiteX63" fmla="*/ 4972 w 9930"/>
                <a:gd name="connsiteY63" fmla="*/ 9946 h 10000"/>
                <a:gd name="connsiteX64" fmla="*/ 5248 w 9930"/>
                <a:gd name="connsiteY64" fmla="*/ 10000 h 10000"/>
                <a:gd name="connsiteX65" fmla="*/ 5464 w 9930"/>
                <a:gd name="connsiteY65" fmla="*/ 9954 h 10000"/>
                <a:gd name="connsiteX66" fmla="*/ 5878 w 9930"/>
                <a:gd name="connsiteY66" fmla="*/ 8293 h 10000"/>
                <a:gd name="connsiteX67" fmla="*/ 5878 w 9930"/>
                <a:gd name="connsiteY67" fmla="*/ 8202 h 10000"/>
                <a:gd name="connsiteX68" fmla="*/ 5939 w 9930"/>
                <a:gd name="connsiteY68" fmla="*/ 6865 h 10000"/>
                <a:gd name="connsiteX69" fmla="*/ 5977 w 9930"/>
                <a:gd name="connsiteY69" fmla="*/ 6308 h 10000"/>
                <a:gd name="connsiteX70" fmla="*/ 6155 w 9930"/>
                <a:gd name="connsiteY70" fmla="*/ 6038 h 10000"/>
                <a:gd name="connsiteX71" fmla="*/ 6923 w 9930"/>
                <a:gd name="connsiteY71" fmla="*/ 4763 h 10000"/>
                <a:gd name="connsiteX72" fmla="*/ 7573 w 9930"/>
                <a:gd name="connsiteY72" fmla="*/ 4474 h 10000"/>
                <a:gd name="connsiteX73" fmla="*/ 7200 w 9930"/>
                <a:gd name="connsiteY73" fmla="*/ 3577 h 10000"/>
                <a:gd name="connsiteX74" fmla="*/ 6687 w 9930"/>
                <a:gd name="connsiteY74" fmla="*/ 3288 h 10000"/>
                <a:gd name="connsiteX75" fmla="*/ 6488 w 9930"/>
                <a:gd name="connsiteY75" fmla="*/ 2940 h 10000"/>
                <a:gd name="connsiteX76" fmla="*/ 7277 w 9930"/>
                <a:gd name="connsiteY76" fmla="*/ 2714 h 10000"/>
                <a:gd name="connsiteX77" fmla="*/ 8797 w 9930"/>
                <a:gd name="connsiteY77" fmla="*/ 2094 h 10000"/>
                <a:gd name="connsiteX78" fmla="*/ 8757 w 9930"/>
                <a:gd name="connsiteY78" fmla="*/ 1501 h 10000"/>
                <a:gd name="connsiteX79" fmla="*/ 8385 w 9930"/>
                <a:gd name="connsiteY79" fmla="*/ 1367 h 10000"/>
                <a:gd name="connsiteX80" fmla="*/ 7179 w 9930"/>
                <a:gd name="connsiteY80" fmla="*/ 1564 h 10000"/>
                <a:gd name="connsiteX81" fmla="*/ 6705 w 9930"/>
                <a:gd name="connsiteY81" fmla="*/ 1691 h 10000"/>
                <a:gd name="connsiteX82" fmla="*/ 6549 w 9930"/>
                <a:gd name="connsiteY82" fmla="*/ 1592 h 10000"/>
                <a:gd name="connsiteX83" fmla="*/ 7161 w 9930"/>
                <a:gd name="connsiteY83" fmla="*/ 1286 h 10000"/>
                <a:gd name="connsiteX84" fmla="*/ 7771 w 9930"/>
                <a:gd name="connsiteY84" fmla="*/ 1079 h 10000"/>
                <a:gd name="connsiteX85" fmla="*/ 8184 w 9930"/>
                <a:gd name="connsiteY85" fmla="*/ 666 h 10000"/>
                <a:gd name="connsiteX86" fmla="*/ 8818 w 9930"/>
                <a:gd name="connsiteY86" fmla="*/ 361 h 10000"/>
                <a:gd name="connsiteX87" fmla="*/ 9529 w 9930"/>
                <a:gd name="connsiteY87" fmla="*/ 460 h 10000"/>
                <a:gd name="connsiteX0" fmla="*/ 9596 w 9596"/>
                <a:gd name="connsiteY0" fmla="*/ 460 h 10000"/>
                <a:gd name="connsiteX1" fmla="*/ 8859 w 9596"/>
                <a:gd name="connsiteY1" fmla="*/ 118 h 10000"/>
                <a:gd name="connsiteX2" fmla="*/ 7705 w 9596"/>
                <a:gd name="connsiteY2" fmla="*/ 621 h 10000"/>
                <a:gd name="connsiteX3" fmla="*/ 7446 w 9596"/>
                <a:gd name="connsiteY3" fmla="*/ 908 h 10000"/>
                <a:gd name="connsiteX4" fmla="*/ 6932 w 9596"/>
                <a:gd name="connsiteY4" fmla="*/ 1079 h 10000"/>
                <a:gd name="connsiteX5" fmla="*/ 6100 w 9596"/>
                <a:gd name="connsiteY5" fmla="*/ 1754 h 10000"/>
                <a:gd name="connsiteX6" fmla="*/ 6415 w 9596"/>
                <a:gd name="connsiteY6" fmla="*/ 1933 h 10000"/>
                <a:gd name="connsiteX7" fmla="*/ 7527 w 9596"/>
                <a:gd name="connsiteY7" fmla="*/ 1772 h 10000"/>
                <a:gd name="connsiteX8" fmla="*/ 8144 w 9596"/>
                <a:gd name="connsiteY8" fmla="*/ 1610 h 10000"/>
                <a:gd name="connsiteX9" fmla="*/ 8362 w 9596"/>
                <a:gd name="connsiteY9" fmla="*/ 1626 h 10000"/>
                <a:gd name="connsiteX10" fmla="*/ 8362 w 9596"/>
                <a:gd name="connsiteY10" fmla="*/ 1996 h 10000"/>
                <a:gd name="connsiteX11" fmla="*/ 7170 w 9596"/>
                <a:gd name="connsiteY11" fmla="*/ 2481 h 10000"/>
                <a:gd name="connsiteX12" fmla="*/ 6038 w 9596"/>
                <a:gd name="connsiteY12" fmla="*/ 2858 h 10000"/>
                <a:gd name="connsiteX13" fmla="*/ 6255 w 9596"/>
                <a:gd name="connsiteY13" fmla="*/ 3424 h 10000"/>
                <a:gd name="connsiteX14" fmla="*/ 6853 w 9596"/>
                <a:gd name="connsiteY14" fmla="*/ 3747 h 10000"/>
                <a:gd name="connsiteX15" fmla="*/ 7190 w 9596"/>
                <a:gd name="connsiteY15" fmla="*/ 4340 h 10000"/>
                <a:gd name="connsiteX16" fmla="*/ 6673 w 9596"/>
                <a:gd name="connsiteY16" fmla="*/ 4556 h 10000"/>
                <a:gd name="connsiteX17" fmla="*/ 5662 w 9596"/>
                <a:gd name="connsiteY17" fmla="*/ 6038 h 10000"/>
                <a:gd name="connsiteX18" fmla="*/ 5762 w 9596"/>
                <a:gd name="connsiteY18" fmla="*/ 6298 h 10000"/>
                <a:gd name="connsiteX19" fmla="*/ 5741 w 9596"/>
                <a:gd name="connsiteY19" fmla="*/ 6865 h 10000"/>
                <a:gd name="connsiteX20" fmla="*/ 5683 w 9596"/>
                <a:gd name="connsiteY20" fmla="*/ 8202 h 10000"/>
                <a:gd name="connsiteX21" fmla="*/ 5683 w 9596"/>
                <a:gd name="connsiteY21" fmla="*/ 8293 h 10000"/>
                <a:gd name="connsiteX22" fmla="*/ 5323 w 9596"/>
                <a:gd name="connsiteY22" fmla="*/ 9873 h 10000"/>
                <a:gd name="connsiteX23" fmla="*/ 5285 w 9596"/>
                <a:gd name="connsiteY23" fmla="*/ 9891 h 10000"/>
                <a:gd name="connsiteX24" fmla="*/ 5164 w 9596"/>
                <a:gd name="connsiteY24" fmla="*/ 9864 h 10000"/>
                <a:gd name="connsiteX25" fmla="*/ 4827 w 9596"/>
                <a:gd name="connsiteY25" fmla="*/ 8185 h 10000"/>
                <a:gd name="connsiteX26" fmla="*/ 5007 w 9596"/>
                <a:gd name="connsiteY26" fmla="*/ 6253 h 10000"/>
                <a:gd name="connsiteX27" fmla="*/ 5164 w 9596"/>
                <a:gd name="connsiteY27" fmla="*/ 5957 h 10000"/>
                <a:gd name="connsiteX28" fmla="*/ 5185 w 9596"/>
                <a:gd name="connsiteY28" fmla="*/ 5885 h 10000"/>
                <a:gd name="connsiteX29" fmla="*/ 4749 w 9596"/>
                <a:gd name="connsiteY29" fmla="*/ 4098 h 10000"/>
                <a:gd name="connsiteX30" fmla="*/ 4548 w 9596"/>
                <a:gd name="connsiteY30" fmla="*/ 3073 h 10000"/>
                <a:gd name="connsiteX31" fmla="*/ 5026 w 9596"/>
                <a:gd name="connsiteY31" fmla="*/ 2004 h 10000"/>
                <a:gd name="connsiteX32" fmla="*/ 5323 w 9596"/>
                <a:gd name="connsiteY32" fmla="*/ 1600 h 10000"/>
                <a:gd name="connsiteX33" fmla="*/ 5383 w 9596"/>
                <a:gd name="connsiteY33" fmla="*/ 1493 h 10000"/>
                <a:gd name="connsiteX34" fmla="*/ 5123 w 9596"/>
                <a:gd name="connsiteY34" fmla="*/ 262 h 10000"/>
                <a:gd name="connsiteX35" fmla="*/ 3834 w 9596"/>
                <a:gd name="connsiteY35" fmla="*/ 1 h 10000"/>
                <a:gd name="connsiteX36" fmla="*/ 3139 w 9596"/>
                <a:gd name="connsiteY36" fmla="*/ 136 h 10000"/>
                <a:gd name="connsiteX37" fmla="*/ 2979 w 9596"/>
                <a:gd name="connsiteY37" fmla="*/ 621 h 10000"/>
                <a:gd name="connsiteX38" fmla="*/ 2779 w 9596"/>
                <a:gd name="connsiteY38" fmla="*/ 999 h 10000"/>
                <a:gd name="connsiteX39" fmla="*/ 1845 w 9596"/>
                <a:gd name="connsiteY39" fmla="*/ 703 h 10000"/>
                <a:gd name="connsiteX40" fmla="*/ 636 w 9596"/>
                <a:gd name="connsiteY40" fmla="*/ 307 h 10000"/>
                <a:gd name="connsiteX41" fmla="*/ 39 w 9596"/>
                <a:gd name="connsiteY41" fmla="*/ 280 h 10000"/>
                <a:gd name="connsiteX42" fmla="*/ 39 w 9596"/>
                <a:gd name="connsiteY42" fmla="*/ 280 h 10000"/>
                <a:gd name="connsiteX43" fmla="*/ 514 w 9596"/>
                <a:gd name="connsiteY43" fmla="*/ 432 h 10000"/>
                <a:gd name="connsiteX44" fmla="*/ 0 w 9596"/>
                <a:gd name="connsiteY44" fmla="*/ 603 h 10000"/>
                <a:gd name="connsiteX45" fmla="*/ 0 w 9596"/>
                <a:gd name="connsiteY45" fmla="*/ 603 h 10000"/>
                <a:gd name="connsiteX46" fmla="*/ 653 w 9596"/>
                <a:gd name="connsiteY46" fmla="*/ 586 h 10000"/>
                <a:gd name="connsiteX47" fmla="*/ 1430 w 9596"/>
                <a:gd name="connsiteY47" fmla="*/ 864 h 10000"/>
                <a:gd name="connsiteX48" fmla="*/ 2960 w 9596"/>
                <a:gd name="connsiteY48" fmla="*/ 1233 h 10000"/>
                <a:gd name="connsiteX49" fmla="*/ 3518 w 9596"/>
                <a:gd name="connsiteY49" fmla="*/ 594 h 10000"/>
                <a:gd name="connsiteX50" fmla="*/ 3556 w 9596"/>
                <a:gd name="connsiteY50" fmla="*/ 298 h 10000"/>
                <a:gd name="connsiteX51" fmla="*/ 3874 w 9596"/>
                <a:gd name="connsiteY51" fmla="*/ 253 h 10000"/>
                <a:gd name="connsiteX52" fmla="*/ 4707 w 9596"/>
                <a:gd name="connsiteY52" fmla="*/ 414 h 10000"/>
                <a:gd name="connsiteX53" fmla="*/ 4886 w 9596"/>
                <a:gd name="connsiteY53" fmla="*/ 1421 h 10000"/>
                <a:gd name="connsiteX54" fmla="*/ 4808 w 9596"/>
                <a:gd name="connsiteY54" fmla="*/ 1528 h 10000"/>
                <a:gd name="connsiteX55" fmla="*/ 4548 w 9596"/>
                <a:gd name="connsiteY55" fmla="*/ 1889 h 10000"/>
                <a:gd name="connsiteX56" fmla="*/ 4011 w 9596"/>
                <a:gd name="connsiteY56" fmla="*/ 3109 h 10000"/>
                <a:gd name="connsiteX57" fmla="*/ 4232 w 9596"/>
                <a:gd name="connsiteY57" fmla="*/ 4170 h 10000"/>
                <a:gd name="connsiteX58" fmla="*/ 4650 w 9596"/>
                <a:gd name="connsiteY58" fmla="*/ 5859 h 10000"/>
                <a:gd name="connsiteX59" fmla="*/ 4630 w 9596"/>
                <a:gd name="connsiteY59" fmla="*/ 5930 h 10000"/>
                <a:gd name="connsiteX60" fmla="*/ 4768 w 9596"/>
                <a:gd name="connsiteY60" fmla="*/ 6253 h 10000"/>
                <a:gd name="connsiteX61" fmla="*/ 4588 w 9596"/>
                <a:gd name="connsiteY61" fmla="*/ 8185 h 10000"/>
                <a:gd name="connsiteX62" fmla="*/ 5007 w 9596"/>
                <a:gd name="connsiteY62" fmla="*/ 9946 h 10000"/>
                <a:gd name="connsiteX63" fmla="*/ 5285 w 9596"/>
                <a:gd name="connsiteY63" fmla="*/ 10000 h 10000"/>
                <a:gd name="connsiteX64" fmla="*/ 5503 w 9596"/>
                <a:gd name="connsiteY64" fmla="*/ 9954 h 10000"/>
                <a:gd name="connsiteX65" fmla="*/ 5919 w 9596"/>
                <a:gd name="connsiteY65" fmla="*/ 8293 h 10000"/>
                <a:gd name="connsiteX66" fmla="*/ 5919 w 9596"/>
                <a:gd name="connsiteY66" fmla="*/ 8202 h 10000"/>
                <a:gd name="connsiteX67" fmla="*/ 5981 w 9596"/>
                <a:gd name="connsiteY67" fmla="*/ 6865 h 10000"/>
                <a:gd name="connsiteX68" fmla="*/ 6019 w 9596"/>
                <a:gd name="connsiteY68" fmla="*/ 6308 h 10000"/>
                <a:gd name="connsiteX69" fmla="*/ 6198 w 9596"/>
                <a:gd name="connsiteY69" fmla="*/ 6038 h 10000"/>
                <a:gd name="connsiteX70" fmla="*/ 6972 w 9596"/>
                <a:gd name="connsiteY70" fmla="*/ 4763 h 10000"/>
                <a:gd name="connsiteX71" fmla="*/ 7626 w 9596"/>
                <a:gd name="connsiteY71" fmla="*/ 4474 h 10000"/>
                <a:gd name="connsiteX72" fmla="*/ 7251 w 9596"/>
                <a:gd name="connsiteY72" fmla="*/ 3577 h 10000"/>
                <a:gd name="connsiteX73" fmla="*/ 6734 w 9596"/>
                <a:gd name="connsiteY73" fmla="*/ 3288 h 10000"/>
                <a:gd name="connsiteX74" fmla="*/ 6534 w 9596"/>
                <a:gd name="connsiteY74" fmla="*/ 2940 h 10000"/>
                <a:gd name="connsiteX75" fmla="*/ 7328 w 9596"/>
                <a:gd name="connsiteY75" fmla="*/ 2714 h 10000"/>
                <a:gd name="connsiteX76" fmla="*/ 8859 w 9596"/>
                <a:gd name="connsiteY76" fmla="*/ 2094 h 10000"/>
                <a:gd name="connsiteX77" fmla="*/ 8819 w 9596"/>
                <a:gd name="connsiteY77" fmla="*/ 1501 h 10000"/>
                <a:gd name="connsiteX78" fmla="*/ 8444 w 9596"/>
                <a:gd name="connsiteY78" fmla="*/ 1367 h 10000"/>
                <a:gd name="connsiteX79" fmla="*/ 7230 w 9596"/>
                <a:gd name="connsiteY79" fmla="*/ 1564 h 10000"/>
                <a:gd name="connsiteX80" fmla="*/ 6752 w 9596"/>
                <a:gd name="connsiteY80" fmla="*/ 1691 h 10000"/>
                <a:gd name="connsiteX81" fmla="*/ 6595 w 9596"/>
                <a:gd name="connsiteY81" fmla="*/ 1592 h 10000"/>
                <a:gd name="connsiteX82" fmla="*/ 7211 w 9596"/>
                <a:gd name="connsiteY82" fmla="*/ 1286 h 10000"/>
                <a:gd name="connsiteX83" fmla="*/ 7826 w 9596"/>
                <a:gd name="connsiteY83" fmla="*/ 1079 h 10000"/>
                <a:gd name="connsiteX84" fmla="*/ 8242 w 9596"/>
                <a:gd name="connsiteY84" fmla="*/ 666 h 10000"/>
                <a:gd name="connsiteX85" fmla="*/ 8880 w 9596"/>
                <a:gd name="connsiteY85" fmla="*/ 361 h 10000"/>
                <a:gd name="connsiteX86" fmla="*/ 9596 w 9596"/>
                <a:gd name="connsiteY86" fmla="*/ 460 h 10000"/>
                <a:gd name="connsiteX0" fmla="*/ 9254 w 9376"/>
                <a:gd name="connsiteY0" fmla="*/ 361 h 10000"/>
                <a:gd name="connsiteX1" fmla="*/ 9232 w 9376"/>
                <a:gd name="connsiteY1" fmla="*/ 118 h 10000"/>
                <a:gd name="connsiteX2" fmla="*/ 8029 w 9376"/>
                <a:gd name="connsiteY2" fmla="*/ 621 h 10000"/>
                <a:gd name="connsiteX3" fmla="*/ 7759 w 9376"/>
                <a:gd name="connsiteY3" fmla="*/ 908 h 10000"/>
                <a:gd name="connsiteX4" fmla="*/ 7224 w 9376"/>
                <a:gd name="connsiteY4" fmla="*/ 1079 h 10000"/>
                <a:gd name="connsiteX5" fmla="*/ 6357 w 9376"/>
                <a:gd name="connsiteY5" fmla="*/ 1754 h 10000"/>
                <a:gd name="connsiteX6" fmla="*/ 6685 w 9376"/>
                <a:gd name="connsiteY6" fmla="*/ 1933 h 10000"/>
                <a:gd name="connsiteX7" fmla="*/ 7844 w 9376"/>
                <a:gd name="connsiteY7" fmla="*/ 1772 h 10000"/>
                <a:gd name="connsiteX8" fmla="*/ 8487 w 9376"/>
                <a:gd name="connsiteY8" fmla="*/ 1610 h 10000"/>
                <a:gd name="connsiteX9" fmla="*/ 8714 w 9376"/>
                <a:gd name="connsiteY9" fmla="*/ 1626 h 10000"/>
                <a:gd name="connsiteX10" fmla="*/ 8714 w 9376"/>
                <a:gd name="connsiteY10" fmla="*/ 1996 h 10000"/>
                <a:gd name="connsiteX11" fmla="*/ 7472 w 9376"/>
                <a:gd name="connsiteY11" fmla="*/ 2481 h 10000"/>
                <a:gd name="connsiteX12" fmla="*/ 6292 w 9376"/>
                <a:gd name="connsiteY12" fmla="*/ 2858 h 10000"/>
                <a:gd name="connsiteX13" fmla="*/ 6518 w 9376"/>
                <a:gd name="connsiteY13" fmla="*/ 3424 h 10000"/>
                <a:gd name="connsiteX14" fmla="*/ 7142 w 9376"/>
                <a:gd name="connsiteY14" fmla="*/ 3747 h 10000"/>
                <a:gd name="connsiteX15" fmla="*/ 7493 w 9376"/>
                <a:gd name="connsiteY15" fmla="*/ 4340 h 10000"/>
                <a:gd name="connsiteX16" fmla="*/ 6954 w 9376"/>
                <a:gd name="connsiteY16" fmla="*/ 4556 h 10000"/>
                <a:gd name="connsiteX17" fmla="*/ 5900 w 9376"/>
                <a:gd name="connsiteY17" fmla="*/ 6038 h 10000"/>
                <a:gd name="connsiteX18" fmla="*/ 6005 w 9376"/>
                <a:gd name="connsiteY18" fmla="*/ 6298 h 10000"/>
                <a:gd name="connsiteX19" fmla="*/ 5983 w 9376"/>
                <a:gd name="connsiteY19" fmla="*/ 6865 h 10000"/>
                <a:gd name="connsiteX20" fmla="*/ 5922 w 9376"/>
                <a:gd name="connsiteY20" fmla="*/ 8202 h 10000"/>
                <a:gd name="connsiteX21" fmla="*/ 5922 w 9376"/>
                <a:gd name="connsiteY21" fmla="*/ 8293 h 10000"/>
                <a:gd name="connsiteX22" fmla="*/ 5547 w 9376"/>
                <a:gd name="connsiteY22" fmla="*/ 9873 h 10000"/>
                <a:gd name="connsiteX23" fmla="*/ 5508 w 9376"/>
                <a:gd name="connsiteY23" fmla="*/ 9891 h 10000"/>
                <a:gd name="connsiteX24" fmla="*/ 5381 w 9376"/>
                <a:gd name="connsiteY24" fmla="*/ 9864 h 10000"/>
                <a:gd name="connsiteX25" fmla="*/ 5030 w 9376"/>
                <a:gd name="connsiteY25" fmla="*/ 8185 h 10000"/>
                <a:gd name="connsiteX26" fmla="*/ 5218 w 9376"/>
                <a:gd name="connsiteY26" fmla="*/ 6253 h 10000"/>
                <a:gd name="connsiteX27" fmla="*/ 5381 w 9376"/>
                <a:gd name="connsiteY27" fmla="*/ 5957 h 10000"/>
                <a:gd name="connsiteX28" fmla="*/ 5403 w 9376"/>
                <a:gd name="connsiteY28" fmla="*/ 5885 h 10000"/>
                <a:gd name="connsiteX29" fmla="*/ 4949 w 9376"/>
                <a:gd name="connsiteY29" fmla="*/ 4098 h 10000"/>
                <a:gd name="connsiteX30" fmla="*/ 4739 w 9376"/>
                <a:gd name="connsiteY30" fmla="*/ 3073 h 10000"/>
                <a:gd name="connsiteX31" fmla="*/ 5238 w 9376"/>
                <a:gd name="connsiteY31" fmla="*/ 2004 h 10000"/>
                <a:gd name="connsiteX32" fmla="*/ 5547 w 9376"/>
                <a:gd name="connsiteY32" fmla="*/ 1600 h 10000"/>
                <a:gd name="connsiteX33" fmla="*/ 5610 w 9376"/>
                <a:gd name="connsiteY33" fmla="*/ 1493 h 10000"/>
                <a:gd name="connsiteX34" fmla="*/ 5339 w 9376"/>
                <a:gd name="connsiteY34" fmla="*/ 262 h 10000"/>
                <a:gd name="connsiteX35" fmla="*/ 3995 w 9376"/>
                <a:gd name="connsiteY35" fmla="*/ 1 h 10000"/>
                <a:gd name="connsiteX36" fmla="*/ 3271 w 9376"/>
                <a:gd name="connsiteY36" fmla="*/ 136 h 10000"/>
                <a:gd name="connsiteX37" fmla="*/ 3104 w 9376"/>
                <a:gd name="connsiteY37" fmla="*/ 621 h 10000"/>
                <a:gd name="connsiteX38" fmla="*/ 2896 w 9376"/>
                <a:gd name="connsiteY38" fmla="*/ 999 h 10000"/>
                <a:gd name="connsiteX39" fmla="*/ 1923 w 9376"/>
                <a:gd name="connsiteY39" fmla="*/ 703 h 10000"/>
                <a:gd name="connsiteX40" fmla="*/ 663 w 9376"/>
                <a:gd name="connsiteY40" fmla="*/ 307 h 10000"/>
                <a:gd name="connsiteX41" fmla="*/ 41 w 9376"/>
                <a:gd name="connsiteY41" fmla="*/ 280 h 10000"/>
                <a:gd name="connsiteX42" fmla="*/ 41 w 9376"/>
                <a:gd name="connsiteY42" fmla="*/ 280 h 10000"/>
                <a:gd name="connsiteX43" fmla="*/ 536 w 9376"/>
                <a:gd name="connsiteY43" fmla="*/ 432 h 10000"/>
                <a:gd name="connsiteX44" fmla="*/ 0 w 9376"/>
                <a:gd name="connsiteY44" fmla="*/ 603 h 10000"/>
                <a:gd name="connsiteX45" fmla="*/ 0 w 9376"/>
                <a:gd name="connsiteY45" fmla="*/ 603 h 10000"/>
                <a:gd name="connsiteX46" fmla="*/ 680 w 9376"/>
                <a:gd name="connsiteY46" fmla="*/ 586 h 10000"/>
                <a:gd name="connsiteX47" fmla="*/ 1490 w 9376"/>
                <a:gd name="connsiteY47" fmla="*/ 864 h 10000"/>
                <a:gd name="connsiteX48" fmla="*/ 3085 w 9376"/>
                <a:gd name="connsiteY48" fmla="*/ 1233 h 10000"/>
                <a:gd name="connsiteX49" fmla="*/ 3666 w 9376"/>
                <a:gd name="connsiteY49" fmla="*/ 594 h 10000"/>
                <a:gd name="connsiteX50" fmla="*/ 3706 w 9376"/>
                <a:gd name="connsiteY50" fmla="*/ 298 h 10000"/>
                <a:gd name="connsiteX51" fmla="*/ 4037 w 9376"/>
                <a:gd name="connsiteY51" fmla="*/ 253 h 10000"/>
                <a:gd name="connsiteX52" fmla="*/ 4905 w 9376"/>
                <a:gd name="connsiteY52" fmla="*/ 414 h 10000"/>
                <a:gd name="connsiteX53" fmla="*/ 5092 w 9376"/>
                <a:gd name="connsiteY53" fmla="*/ 1421 h 10000"/>
                <a:gd name="connsiteX54" fmla="*/ 5010 w 9376"/>
                <a:gd name="connsiteY54" fmla="*/ 1528 h 10000"/>
                <a:gd name="connsiteX55" fmla="*/ 4739 w 9376"/>
                <a:gd name="connsiteY55" fmla="*/ 1889 h 10000"/>
                <a:gd name="connsiteX56" fmla="*/ 4180 w 9376"/>
                <a:gd name="connsiteY56" fmla="*/ 3109 h 10000"/>
                <a:gd name="connsiteX57" fmla="*/ 4410 w 9376"/>
                <a:gd name="connsiteY57" fmla="*/ 4170 h 10000"/>
                <a:gd name="connsiteX58" fmla="*/ 4846 w 9376"/>
                <a:gd name="connsiteY58" fmla="*/ 5859 h 10000"/>
                <a:gd name="connsiteX59" fmla="*/ 4825 w 9376"/>
                <a:gd name="connsiteY59" fmla="*/ 5930 h 10000"/>
                <a:gd name="connsiteX60" fmla="*/ 4969 w 9376"/>
                <a:gd name="connsiteY60" fmla="*/ 6253 h 10000"/>
                <a:gd name="connsiteX61" fmla="*/ 4781 w 9376"/>
                <a:gd name="connsiteY61" fmla="*/ 8185 h 10000"/>
                <a:gd name="connsiteX62" fmla="*/ 5218 w 9376"/>
                <a:gd name="connsiteY62" fmla="*/ 9946 h 10000"/>
                <a:gd name="connsiteX63" fmla="*/ 5508 w 9376"/>
                <a:gd name="connsiteY63" fmla="*/ 10000 h 10000"/>
                <a:gd name="connsiteX64" fmla="*/ 5735 w 9376"/>
                <a:gd name="connsiteY64" fmla="*/ 9954 h 10000"/>
                <a:gd name="connsiteX65" fmla="*/ 6168 w 9376"/>
                <a:gd name="connsiteY65" fmla="*/ 8293 h 10000"/>
                <a:gd name="connsiteX66" fmla="*/ 6168 w 9376"/>
                <a:gd name="connsiteY66" fmla="*/ 8202 h 10000"/>
                <a:gd name="connsiteX67" fmla="*/ 6233 w 9376"/>
                <a:gd name="connsiteY67" fmla="*/ 6865 h 10000"/>
                <a:gd name="connsiteX68" fmla="*/ 6272 w 9376"/>
                <a:gd name="connsiteY68" fmla="*/ 6308 h 10000"/>
                <a:gd name="connsiteX69" fmla="*/ 6459 w 9376"/>
                <a:gd name="connsiteY69" fmla="*/ 6038 h 10000"/>
                <a:gd name="connsiteX70" fmla="*/ 7266 w 9376"/>
                <a:gd name="connsiteY70" fmla="*/ 4763 h 10000"/>
                <a:gd name="connsiteX71" fmla="*/ 7947 w 9376"/>
                <a:gd name="connsiteY71" fmla="*/ 4474 h 10000"/>
                <a:gd name="connsiteX72" fmla="*/ 7556 w 9376"/>
                <a:gd name="connsiteY72" fmla="*/ 3577 h 10000"/>
                <a:gd name="connsiteX73" fmla="*/ 7018 w 9376"/>
                <a:gd name="connsiteY73" fmla="*/ 3288 h 10000"/>
                <a:gd name="connsiteX74" fmla="*/ 6809 w 9376"/>
                <a:gd name="connsiteY74" fmla="*/ 2940 h 10000"/>
                <a:gd name="connsiteX75" fmla="*/ 7637 w 9376"/>
                <a:gd name="connsiteY75" fmla="*/ 2714 h 10000"/>
                <a:gd name="connsiteX76" fmla="*/ 9232 w 9376"/>
                <a:gd name="connsiteY76" fmla="*/ 2094 h 10000"/>
                <a:gd name="connsiteX77" fmla="*/ 9190 w 9376"/>
                <a:gd name="connsiteY77" fmla="*/ 1501 h 10000"/>
                <a:gd name="connsiteX78" fmla="*/ 8799 w 9376"/>
                <a:gd name="connsiteY78" fmla="*/ 1367 h 10000"/>
                <a:gd name="connsiteX79" fmla="*/ 7534 w 9376"/>
                <a:gd name="connsiteY79" fmla="*/ 1564 h 10000"/>
                <a:gd name="connsiteX80" fmla="*/ 7036 w 9376"/>
                <a:gd name="connsiteY80" fmla="*/ 1691 h 10000"/>
                <a:gd name="connsiteX81" fmla="*/ 6873 w 9376"/>
                <a:gd name="connsiteY81" fmla="*/ 1592 h 10000"/>
                <a:gd name="connsiteX82" fmla="*/ 7515 w 9376"/>
                <a:gd name="connsiteY82" fmla="*/ 1286 h 10000"/>
                <a:gd name="connsiteX83" fmla="*/ 8155 w 9376"/>
                <a:gd name="connsiteY83" fmla="*/ 1079 h 10000"/>
                <a:gd name="connsiteX84" fmla="*/ 8589 w 9376"/>
                <a:gd name="connsiteY84" fmla="*/ 666 h 10000"/>
                <a:gd name="connsiteX85" fmla="*/ 9254 w 9376"/>
                <a:gd name="connsiteY85" fmla="*/ 361 h 10000"/>
                <a:gd name="connsiteX0" fmla="*/ 9870 w 9999"/>
                <a:gd name="connsiteY0" fmla="*/ 361 h 10000"/>
                <a:gd name="connsiteX1" fmla="*/ 8563 w 9999"/>
                <a:gd name="connsiteY1" fmla="*/ 621 h 10000"/>
                <a:gd name="connsiteX2" fmla="*/ 8275 w 9999"/>
                <a:gd name="connsiteY2" fmla="*/ 908 h 10000"/>
                <a:gd name="connsiteX3" fmla="*/ 7705 w 9999"/>
                <a:gd name="connsiteY3" fmla="*/ 1079 h 10000"/>
                <a:gd name="connsiteX4" fmla="*/ 6780 w 9999"/>
                <a:gd name="connsiteY4" fmla="*/ 1754 h 10000"/>
                <a:gd name="connsiteX5" fmla="*/ 7130 w 9999"/>
                <a:gd name="connsiteY5" fmla="*/ 1933 h 10000"/>
                <a:gd name="connsiteX6" fmla="*/ 8366 w 9999"/>
                <a:gd name="connsiteY6" fmla="*/ 1772 h 10000"/>
                <a:gd name="connsiteX7" fmla="*/ 9052 w 9999"/>
                <a:gd name="connsiteY7" fmla="*/ 1610 h 10000"/>
                <a:gd name="connsiteX8" fmla="*/ 9294 w 9999"/>
                <a:gd name="connsiteY8" fmla="*/ 1626 h 10000"/>
                <a:gd name="connsiteX9" fmla="*/ 9294 w 9999"/>
                <a:gd name="connsiteY9" fmla="*/ 1996 h 10000"/>
                <a:gd name="connsiteX10" fmla="*/ 7969 w 9999"/>
                <a:gd name="connsiteY10" fmla="*/ 2481 h 10000"/>
                <a:gd name="connsiteX11" fmla="*/ 6711 w 9999"/>
                <a:gd name="connsiteY11" fmla="*/ 2858 h 10000"/>
                <a:gd name="connsiteX12" fmla="*/ 6952 w 9999"/>
                <a:gd name="connsiteY12" fmla="*/ 3424 h 10000"/>
                <a:gd name="connsiteX13" fmla="*/ 7617 w 9999"/>
                <a:gd name="connsiteY13" fmla="*/ 3747 h 10000"/>
                <a:gd name="connsiteX14" fmla="*/ 7992 w 9999"/>
                <a:gd name="connsiteY14" fmla="*/ 4340 h 10000"/>
                <a:gd name="connsiteX15" fmla="*/ 7417 w 9999"/>
                <a:gd name="connsiteY15" fmla="*/ 4556 h 10000"/>
                <a:gd name="connsiteX16" fmla="*/ 6293 w 9999"/>
                <a:gd name="connsiteY16" fmla="*/ 6038 h 10000"/>
                <a:gd name="connsiteX17" fmla="*/ 6405 w 9999"/>
                <a:gd name="connsiteY17" fmla="*/ 6298 h 10000"/>
                <a:gd name="connsiteX18" fmla="*/ 6381 w 9999"/>
                <a:gd name="connsiteY18" fmla="*/ 6865 h 10000"/>
                <a:gd name="connsiteX19" fmla="*/ 6316 w 9999"/>
                <a:gd name="connsiteY19" fmla="*/ 8202 h 10000"/>
                <a:gd name="connsiteX20" fmla="*/ 6316 w 9999"/>
                <a:gd name="connsiteY20" fmla="*/ 8293 h 10000"/>
                <a:gd name="connsiteX21" fmla="*/ 5916 w 9999"/>
                <a:gd name="connsiteY21" fmla="*/ 9873 h 10000"/>
                <a:gd name="connsiteX22" fmla="*/ 5875 w 9999"/>
                <a:gd name="connsiteY22" fmla="*/ 9891 h 10000"/>
                <a:gd name="connsiteX23" fmla="*/ 5739 w 9999"/>
                <a:gd name="connsiteY23" fmla="*/ 9864 h 10000"/>
                <a:gd name="connsiteX24" fmla="*/ 5365 w 9999"/>
                <a:gd name="connsiteY24" fmla="*/ 8185 h 10000"/>
                <a:gd name="connsiteX25" fmla="*/ 5565 w 9999"/>
                <a:gd name="connsiteY25" fmla="*/ 6253 h 10000"/>
                <a:gd name="connsiteX26" fmla="*/ 5739 w 9999"/>
                <a:gd name="connsiteY26" fmla="*/ 5957 h 10000"/>
                <a:gd name="connsiteX27" fmla="*/ 5763 w 9999"/>
                <a:gd name="connsiteY27" fmla="*/ 5885 h 10000"/>
                <a:gd name="connsiteX28" fmla="*/ 5278 w 9999"/>
                <a:gd name="connsiteY28" fmla="*/ 4098 h 10000"/>
                <a:gd name="connsiteX29" fmla="*/ 5054 w 9999"/>
                <a:gd name="connsiteY29" fmla="*/ 3073 h 10000"/>
                <a:gd name="connsiteX30" fmla="*/ 5587 w 9999"/>
                <a:gd name="connsiteY30" fmla="*/ 2004 h 10000"/>
                <a:gd name="connsiteX31" fmla="*/ 5916 w 9999"/>
                <a:gd name="connsiteY31" fmla="*/ 1600 h 10000"/>
                <a:gd name="connsiteX32" fmla="*/ 5983 w 9999"/>
                <a:gd name="connsiteY32" fmla="*/ 1493 h 10000"/>
                <a:gd name="connsiteX33" fmla="*/ 5694 w 9999"/>
                <a:gd name="connsiteY33" fmla="*/ 262 h 10000"/>
                <a:gd name="connsiteX34" fmla="*/ 4261 w 9999"/>
                <a:gd name="connsiteY34" fmla="*/ 1 h 10000"/>
                <a:gd name="connsiteX35" fmla="*/ 3489 w 9999"/>
                <a:gd name="connsiteY35" fmla="*/ 136 h 10000"/>
                <a:gd name="connsiteX36" fmla="*/ 3311 w 9999"/>
                <a:gd name="connsiteY36" fmla="*/ 621 h 10000"/>
                <a:gd name="connsiteX37" fmla="*/ 3089 w 9999"/>
                <a:gd name="connsiteY37" fmla="*/ 999 h 10000"/>
                <a:gd name="connsiteX38" fmla="*/ 2051 w 9999"/>
                <a:gd name="connsiteY38" fmla="*/ 703 h 10000"/>
                <a:gd name="connsiteX39" fmla="*/ 707 w 9999"/>
                <a:gd name="connsiteY39" fmla="*/ 307 h 10000"/>
                <a:gd name="connsiteX40" fmla="*/ 44 w 9999"/>
                <a:gd name="connsiteY40" fmla="*/ 280 h 10000"/>
                <a:gd name="connsiteX41" fmla="*/ 44 w 9999"/>
                <a:gd name="connsiteY41" fmla="*/ 280 h 10000"/>
                <a:gd name="connsiteX42" fmla="*/ 572 w 9999"/>
                <a:gd name="connsiteY42" fmla="*/ 432 h 10000"/>
                <a:gd name="connsiteX43" fmla="*/ 0 w 9999"/>
                <a:gd name="connsiteY43" fmla="*/ 603 h 10000"/>
                <a:gd name="connsiteX44" fmla="*/ 0 w 9999"/>
                <a:gd name="connsiteY44" fmla="*/ 603 h 10000"/>
                <a:gd name="connsiteX45" fmla="*/ 725 w 9999"/>
                <a:gd name="connsiteY45" fmla="*/ 586 h 10000"/>
                <a:gd name="connsiteX46" fmla="*/ 1589 w 9999"/>
                <a:gd name="connsiteY46" fmla="*/ 864 h 10000"/>
                <a:gd name="connsiteX47" fmla="*/ 3290 w 9999"/>
                <a:gd name="connsiteY47" fmla="*/ 1233 h 10000"/>
                <a:gd name="connsiteX48" fmla="*/ 3910 w 9999"/>
                <a:gd name="connsiteY48" fmla="*/ 594 h 10000"/>
                <a:gd name="connsiteX49" fmla="*/ 3953 w 9999"/>
                <a:gd name="connsiteY49" fmla="*/ 298 h 10000"/>
                <a:gd name="connsiteX50" fmla="*/ 4306 w 9999"/>
                <a:gd name="connsiteY50" fmla="*/ 253 h 10000"/>
                <a:gd name="connsiteX51" fmla="*/ 5231 w 9999"/>
                <a:gd name="connsiteY51" fmla="*/ 414 h 10000"/>
                <a:gd name="connsiteX52" fmla="*/ 5431 w 9999"/>
                <a:gd name="connsiteY52" fmla="*/ 1421 h 10000"/>
                <a:gd name="connsiteX53" fmla="*/ 5343 w 9999"/>
                <a:gd name="connsiteY53" fmla="*/ 1528 h 10000"/>
                <a:gd name="connsiteX54" fmla="*/ 5054 w 9999"/>
                <a:gd name="connsiteY54" fmla="*/ 1889 h 10000"/>
                <a:gd name="connsiteX55" fmla="*/ 4458 w 9999"/>
                <a:gd name="connsiteY55" fmla="*/ 3109 h 10000"/>
                <a:gd name="connsiteX56" fmla="*/ 4703 w 9999"/>
                <a:gd name="connsiteY56" fmla="*/ 4170 h 10000"/>
                <a:gd name="connsiteX57" fmla="*/ 5169 w 9999"/>
                <a:gd name="connsiteY57" fmla="*/ 5859 h 10000"/>
                <a:gd name="connsiteX58" fmla="*/ 5146 w 9999"/>
                <a:gd name="connsiteY58" fmla="*/ 5930 h 10000"/>
                <a:gd name="connsiteX59" fmla="*/ 5300 w 9999"/>
                <a:gd name="connsiteY59" fmla="*/ 6253 h 10000"/>
                <a:gd name="connsiteX60" fmla="*/ 5099 w 9999"/>
                <a:gd name="connsiteY60" fmla="*/ 8185 h 10000"/>
                <a:gd name="connsiteX61" fmla="*/ 5565 w 9999"/>
                <a:gd name="connsiteY61" fmla="*/ 9946 h 10000"/>
                <a:gd name="connsiteX62" fmla="*/ 5875 w 9999"/>
                <a:gd name="connsiteY62" fmla="*/ 10000 h 10000"/>
                <a:gd name="connsiteX63" fmla="*/ 6117 w 9999"/>
                <a:gd name="connsiteY63" fmla="*/ 9954 h 10000"/>
                <a:gd name="connsiteX64" fmla="*/ 6578 w 9999"/>
                <a:gd name="connsiteY64" fmla="*/ 8293 h 10000"/>
                <a:gd name="connsiteX65" fmla="*/ 6578 w 9999"/>
                <a:gd name="connsiteY65" fmla="*/ 8202 h 10000"/>
                <a:gd name="connsiteX66" fmla="*/ 6648 w 9999"/>
                <a:gd name="connsiteY66" fmla="*/ 6865 h 10000"/>
                <a:gd name="connsiteX67" fmla="*/ 6689 w 9999"/>
                <a:gd name="connsiteY67" fmla="*/ 6308 h 10000"/>
                <a:gd name="connsiteX68" fmla="*/ 6889 w 9999"/>
                <a:gd name="connsiteY68" fmla="*/ 6038 h 10000"/>
                <a:gd name="connsiteX69" fmla="*/ 7750 w 9999"/>
                <a:gd name="connsiteY69" fmla="*/ 4763 h 10000"/>
                <a:gd name="connsiteX70" fmla="*/ 8476 w 9999"/>
                <a:gd name="connsiteY70" fmla="*/ 4474 h 10000"/>
                <a:gd name="connsiteX71" fmla="*/ 8059 w 9999"/>
                <a:gd name="connsiteY71" fmla="*/ 3577 h 10000"/>
                <a:gd name="connsiteX72" fmla="*/ 7485 w 9999"/>
                <a:gd name="connsiteY72" fmla="*/ 3288 h 10000"/>
                <a:gd name="connsiteX73" fmla="*/ 7262 w 9999"/>
                <a:gd name="connsiteY73" fmla="*/ 2940 h 10000"/>
                <a:gd name="connsiteX74" fmla="*/ 8145 w 9999"/>
                <a:gd name="connsiteY74" fmla="*/ 2714 h 10000"/>
                <a:gd name="connsiteX75" fmla="*/ 9846 w 9999"/>
                <a:gd name="connsiteY75" fmla="*/ 2094 h 10000"/>
                <a:gd name="connsiteX76" fmla="*/ 9802 w 9999"/>
                <a:gd name="connsiteY76" fmla="*/ 1501 h 10000"/>
                <a:gd name="connsiteX77" fmla="*/ 9385 w 9999"/>
                <a:gd name="connsiteY77" fmla="*/ 1367 h 10000"/>
                <a:gd name="connsiteX78" fmla="*/ 8035 w 9999"/>
                <a:gd name="connsiteY78" fmla="*/ 1564 h 10000"/>
                <a:gd name="connsiteX79" fmla="*/ 7504 w 9999"/>
                <a:gd name="connsiteY79" fmla="*/ 1691 h 10000"/>
                <a:gd name="connsiteX80" fmla="*/ 7330 w 9999"/>
                <a:gd name="connsiteY80" fmla="*/ 1592 h 10000"/>
                <a:gd name="connsiteX81" fmla="*/ 8015 w 9999"/>
                <a:gd name="connsiteY81" fmla="*/ 1286 h 10000"/>
                <a:gd name="connsiteX82" fmla="*/ 8698 w 9999"/>
                <a:gd name="connsiteY82" fmla="*/ 1079 h 10000"/>
                <a:gd name="connsiteX83" fmla="*/ 9161 w 9999"/>
                <a:gd name="connsiteY83" fmla="*/ 666 h 10000"/>
                <a:gd name="connsiteX84" fmla="*/ 9870 w 9999"/>
                <a:gd name="connsiteY84" fmla="*/ 361 h 10000"/>
                <a:gd name="connsiteX0" fmla="*/ 9162 w 10000"/>
                <a:gd name="connsiteY0" fmla="*/ 666 h 10000"/>
                <a:gd name="connsiteX1" fmla="*/ 8564 w 10000"/>
                <a:gd name="connsiteY1" fmla="*/ 621 h 10000"/>
                <a:gd name="connsiteX2" fmla="*/ 8276 w 10000"/>
                <a:gd name="connsiteY2" fmla="*/ 908 h 10000"/>
                <a:gd name="connsiteX3" fmla="*/ 7706 w 10000"/>
                <a:gd name="connsiteY3" fmla="*/ 1079 h 10000"/>
                <a:gd name="connsiteX4" fmla="*/ 6781 w 10000"/>
                <a:gd name="connsiteY4" fmla="*/ 1754 h 10000"/>
                <a:gd name="connsiteX5" fmla="*/ 7131 w 10000"/>
                <a:gd name="connsiteY5" fmla="*/ 1933 h 10000"/>
                <a:gd name="connsiteX6" fmla="*/ 8367 w 10000"/>
                <a:gd name="connsiteY6" fmla="*/ 1772 h 10000"/>
                <a:gd name="connsiteX7" fmla="*/ 9053 w 10000"/>
                <a:gd name="connsiteY7" fmla="*/ 1610 h 10000"/>
                <a:gd name="connsiteX8" fmla="*/ 9295 w 10000"/>
                <a:gd name="connsiteY8" fmla="*/ 1626 h 10000"/>
                <a:gd name="connsiteX9" fmla="*/ 9295 w 10000"/>
                <a:gd name="connsiteY9" fmla="*/ 1996 h 10000"/>
                <a:gd name="connsiteX10" fmla="*/ 7970 w 10000"/>
                <a:gd name="connsiteY10" fmla="*/ 2481 h 10000"/>
                <a:gd name="connsiteX11" fmla="*/ 6712 w 10000"/>
                <a:gd name="connsiteY11" fmla="*/ 2858 h 10000"/>
                <a:gd name="connsiteX12" fmla="*/ 6953 w 10000"/>
                <a:gd name="connsiteY12" fmla="*/ 3424 h 10000"/>
                <a:gd name="connsiteX13" fmla="*/ 7618 w 10000"/>
                <a:gd name="connsiteY13" fmla="*/ 3747 h 10000"/>
                <a:gd name="connsiteX14" fmla="*/ 7993 w 10000"/>
                <a:gd name="connsiteY14" fmla="*/ 4340 h 10000"/>
                <a:gd name="connsiteX15" fmla="*/ 7418 w 10000"/>
                <a:gd name="connsiteY15" fmla="*/ 4556 h 10000"/>
                <a:gd name="connsiteX16" fmla="*/ 6294 w 10000"/>
                <a:gd name="connsiteY16" fmla="*/ 6038 h 10000"/>
                <a:gd name="connsiteX17" fmla="*/ 6406 w 10000"/>
                <a:gd name="connsiteY17" fmla="*/ 6298 h 10000"/>
                <a:gd name="connsiteX18" fmla="*/ 6382 w 10000"/>
                <a:gd name="connsiteY18" fmla="*/ 6865 h 10000"/>
                <a:gd name="connsiteX19" fmla="*/ 6317 w 10000"/>
                <a:gd name="connsiteY19" fmla="*/ 8202 h 10000"/>
                <a:gd name="connsiteX20" fmla="*/ 6317 w 10000"/>
                <a:gd name="connsiteY20" fmla="*/ 8293 h 10000"/>
                <a:gd name="connsiteX21" fmla="*/ 5917 w 10000"/>
                <a:gd name="connsiteY21" fmla="*/ 9873 h 10000"/>
                <a:gd name="connsiteX22" fmla="*/ 5876 w 10000"/>
                <a:gd name="connsiteY22" fmla="*/ 9891 h 10000"/>
                <a:gd name="connsiteX23" fmla="*/ 5740 w 10000"/>
                <a:gd name="connsiteY23" fmla="*/ 9864 h 10000"/>
                <a:gd name="connsiteX24" fmla="*/ 5366 w 10000"/>
                <a:gd name="connsiteY24" fmla="*/ 8185 h 10000"/>
                <a:gd name="connsiteX25" fmla="*/ 5566 w 10000"/>
                <a:gd name="connsiteY25" fmla="*/ 6253 h 10000"/>
                <a:gd name="connsiteX26" fmla="*/ 5740 w 10000"/>
                <a:gd name="connsiteY26" fmla="*/ 5957 h 10000"/>
                <a:gd name="connsiteX27" fmla="*/ 5764 w 10000"/>
                <a:gd name="connsiteY27" fmla="*/ 5885 h 10000"/>
                <a:gd name="connsiteX28" fmla="*/ 5279 w 10000"/>
                <a:gd name="connsiteY28" fmla="*/ 4098 h 10000"/>
                <a:gd name="connsiteX29" fmla="*/ 5055 w 10000"/>
                <a:gd name="connsiteY29" fmla="*/ 3073 h 10000"/>
                <a:gd name="connsiteX30" fmla="*/ 5588 w 10000"/>
                <a:gd name="connsiteY30" fmla="*/ 2004 h 10000"/>
                <a:gd name="connsiteX31" fmla="*/ 5917 w 10000"/>
                <a:gd name="connsiteY31" fmla="*/ 1600 h 10000"/>
                <a:gd name="connsiteX32" fmla="*/ 5984 w 10000"/>
                <a:gd name="connsiteY32" fmla="*/ 1493 h 10000"/>
                <a:gd name="connsiteX33" fmla="*/ 5695 w 10000"/>
                <a:gd name="connsiteY33" fmla="*/ 262 h 10000"/>
                <a:gd name="connsiteX34" fmla="*/ 4261 w 10000"/>
                <a:gd name="connsiteY34" fmla="*/ 1 h 10000"/>
                <a:gd name="connsiteX35" fmla="*/ 3489 w 10000"/>
                <a:gd name="connsiteY35" fmla="*/ 136 h 10000"/>
                <a:gd name="connsiteX36" fmla="*/ 3311 w 10000"/>
                <a:gd name="connsiteY36" fmla="*/ 621 h 10000"/>
                <a:gd name="connsiteX37" fmla="*/ 3089 w 10000"/>
                <a:gd name="connsiteY37" fmla="*/ 999 h 10000"/>
                <a:gd name="connsiteX38" fmla="*/ 2051 w 10000"/>
                <a:gd name="connsiteY38" fmla="*/ 703 h 10000"/>
                <a:gd name="connsiteX39" fmla="*/ 707 w 10000"/>
                <a:gd name="connsiteY39" fmla="*/ 307 h 10000"/>
                <a:gd name="connsiteX40" fmla="*/ 44 w 10000"/>
                <a:gd name="connsiteY40" fmla="*/ 280 h 10000"/>
                <a:gd name="connsiteX41" fmla="*/ 44 w 10000"/>
                <a:gd name="connsiteY41" fmla="*/ 280 h 10000"/>
                <a:gd name="connsiteX42" fmla="*/ 572 w 10000"/>
                <a:gd name="connsiteY42" fmla="*/ 432 h 10000"/>
                <a:gd name="connsiteX43" fmla="*/ 0 w 10000"/>
                <a:gd name="connsiteY43" fmla="*/ 603 h 10000"/>
                <a:gd name="connsiteX44" fmla="*/ 0 w 10000"/>
                <a:gd name="connsiteY44" fmla="*/ 603 h 10000"/>
                <a:gd name="connsiteX45" fmla="*/ 725 w 10000"/>
                <a:gd name="connsiteY45" fmla="*/ 586 h 10000"/>
                <a:gd name="connsiteX46" fmla="*/ 1589 w 10000"/>
                <a:gd name="connsiteY46" fmla="*/ 864 h 10000"/>
                <a:gd name="connsiteX47" fmla="*/ 3290 w 10000"/>
                <a:gd name="connsiteY47" fmla="*/ 1233 h 10000"/>
                <a:gd name="connsiteX48" fmla="*/ 3910 w 10000"/>
                <a:gd name="connsiteY48" fmla="*/ 594 h 10000"/>
                <a:gd name="connsiteX49" fmla="*/ 3953 w 10000"/>
                <a:gd name="connsiteY49" fmla="*/ 298 h 10000"/>
                <a:gd name="connsiteX50" fmla="*/ 4306 w 10000"/>
                <a:gd name="connsiteY50" fmla="*/ 253 h 10000"/>
                <a:gd name="connsiteX51" fmla="*/ 5232 w 10000"/>
                <a:gd name="connsiteY51" fmla="*/ 414 h 10000"/>
                <a:gd name="connsiteX52" fmla="*/ 5432 w 10000"/>
                <a:gd name="connsiteY52" fmla="*/ 1421 h 10000"/>
                <a:gd name="connsiteX53" fmla="*/ 5344 w 10000"/>
                <a:gd name="connsiteY53" fmla="*/ 1528 h 10000"/>
                <a:gd name="connsiteX54" fmla="*/ 5055 w 10000"/>
                <a:gd name="connsiteY54" fmla="*/ 1889 h 10000"/>
                <a:gd name="connsiteX55" fmla="*/ 4458 w 10000"/>
                <a:gd name="connsiteY55" fmla="*/ 3109 h 10000"/>
                <a:gd name="connsiteX56" fmla="*/ 4703 w 10000"/>
                <a:gd name="connsiteY56" fmla="*/ 4170 h 10000"/>
                <a:gd name="connsiteX57" fmla="*/ 5170 w 10000"/>
                <a:gd name="connsiteY57" fmla="*/ 5859 h 10000"/>
                <a:gd name="connsiteX58" fmla="*/ 5147 w 10000"/>
                <a:gd name="connsiteY58" fmla="*/ 5930 h 10000"/>
                <a:gd name="connsiteX59" fmla="*/ 5301 w 10000"/>
                <a:gd name="connsiteY59" fmla="*/ 6253 h 10000"/>
                <a:gd name="connsiteX60" fmla="*/ 5100 w 10000"/>
                <a:gd name="connsiteY60" fmla="*/ 8185 h 10000"/>
                <a:gd name="connsiteX61" fmla="*/ 5566 w 10000"/>
                <a:gd name="connsiteY61" fmla="*/ 9946 h 10000"/>
                <a:gd name="connsiteX62" fmla="*/ 5876 w 10000"/>
                <a:gd name="connsiteY62" fmla="*/ 10000 h 10000"/>
                <a:gd name="connsiteX63" fmla="*/ 6118 w 10000"/>
                <a:gd name="connsiteY63" fmla="*/ 9954 h 10000"/>
                <a:gd name="connsiteX64" fmla="*/ 6579 w 10000"/>
                <a:gd name="connsiteY64" fmla="*/ 8293 h 10000"/>
                <a:gd name="connsiteX65" fmla="*/ 6579 w 10000"/>
                <a:gd name="connsiteY65" fmla="*/ 8202 h 10000"/>
                <a:gd name="connsiteX66" fmla="*/ 6649 w 10000"/>
                <a:gd name="connsiteY66" fmla="*/ 6865 h 10000"/>
                <a:gd name="connsiteX67" fmla="*/ 6690 w 10000"/>
                <a:gd name="connsiteY67" fmla="*/ 6308 h 10000"/>
                <a:gd name="connsiteX68" fmla="*/ 6890 w 10000"/>
                <a:gd name="connsiteY68" fmla="*/ 6038 h 10000"/>
                <a:gd name="connsiteX69" fmla="*/ 7751 w 10000"/>
                <a:gd name="connsiteY69" fmla="*/ 4763 h 10000"/>
                <a:gd name="connsiteX70" fmla="*/ 8477 w 10000"/>
                <a:gd name="connsiteY70" fmla="*/ 4474 h 10000"/>
                <a:gd name="connsiteX71" fmla="*/ 8060 w 10000"/>
                <a:gd name="connsiteY71" fmla="*/ 3577 h 10000"/>
                <a:gd name="connsiteX72" fmla="*/ 7486 w 10000"/>
                <a:gd name="connsiteY72" fmla="*/ 3288 h 10000"/>
                <a:gd name="connsiteX73" fmla="*/ 7263 w 10000"/>
                <a:gd name="connsiteY73" fmla="*/ 2940 h 10000"/>
                <a:gd name="connsiteX74" fmla="*/ 8146 w 10000"/>
                <a:gd name="connsiteY74" fmla="*/ 2714 h 10000"/>
                <a:gd name="connsiteX75" fmla="*/ 9847 w 10000"/>
                <a:gd name="connsiteY75" fmla="*/ 2094 h 10000"/>
                <a:gd name="connsiteX76" fmla="*/ 9803 w 10000"/>
                <a:gd name="connsiteY76" fmla="*/ 1501 h 10000"/>
                <a:gd name="connsiteX77" fmla="*/ 9386 w 10000"/>
                <a:gd name="connsiteY77" fmla="*/ 1367 h 10000"/>
                <a:gd name="connsiteX78" fmla="*/ 8036 w 10000"/>
                <a:gd name="connsiteY78" fmla="*/ 1564 h 10000"/>
                <a:gd name="connsiteX79" fmla="*/ 7505 w 10000"/>
                <a:gd name="connsiteY79" fmla="*/ 1691 h 10000"/>
                <a:gd name="connsiteX80" fmla="*/ 7331 w 10000"/>
                <a:gd name="connsiteY80" fmla="*/ 1592 h 10000"/>
                <a:gd name="connsiteX81" fmla="*/ 8016 w 10000"/>
                <a:gd name="connsiteY81" fmla="*/ 1286 h 10000"/>
                <a:gd name="connsiteX82" fmla="*/ 8699 w 10000"/>
                <a:gd name="connsiteY82" fmla="*/ 1079 h 10000"/>
                <a:gd name="connsiteX83" fmla="*/ 9162 w 10000"/>
                <a:gd name="connsiteY83" fmla="*/ 666 h 10000"/>
                <a:gd name="connsiteX0" fmla="*/ 8699 w 10000"/>
                <a:gd name="connsiteY0" fmla="*/ 1079 h 10000"/>
                <a:gd name="connsiteX1" fmla="*/ 8564 w 10000"/>
                <a:gd name="connsiteY1" fmla="*/ 621 h 10000"/>
                <a:gd name="connsiteX2" fmla="*/ 8276 w 10000"/>
                <a:gd name="connsiteY2" fmla="*/ 908 h 10000"/>
                <a:gd name="connsiteX3" fmla="*/ 7706 w 10000"/>
                <a:gd name="connsiteY3" fmla="*/ 1079 h 10000"/>
                <a:gd name="connsiteX4" fmla="*/ 6781 w 10000"/>
                <a:gd name="connsiteY4" fmla="*/ 1754 h 10000"/>
                <a:gd name="connsiteX5" fmla="*/ 7131 w 10000"/>
                <a:gd name="connsiteY5" fmla="*/ 1933 h 10000"/>
                <a:gd name="connsiteX6" fmla="*/ 8367 w 10000"/>
                <a:gd name="connsiteY6" fmla="*/ 1772 h 10000"/>
                <a:gd name="connsiteX7" fmla="*/ 9053 w 10000"/>
                <a:gd name="connsiteY7" fmla="*/ 1610 h 10000"/>
                <a:gd name="connsiteX8" fmla="*/ 9295 w 10000"/>
                <a:gd name="connsiteY8" fmla="*/ 1626 h 10000"/>
                <a:gd name="connsiteX9" fmla="*/ 9295 w 10000"/>
                <a:gd name="connsiteY9" fmla="*/ 1996 h 10000"/>
                <a:gd name="connsiteX10" fmla="*/ 7970 w 10000"/>
                <a:gd name="connsiteY10" fmla="*/ 2481 h 10000"/>
                <a:gd name="connsiteX11" fmla="*/ 6712 w 10000"/>
                <a:gd name="connsiteY11" fmla="*/ 2858 h 10000"/>
                <a:gd name="connsiteX12" fmla="*/ 6953 w 10000"/>
                <a:gd name="connsiteY12" fmla="*/ 3424 h 10000"/>
                <a:gd name="connsiteX13" fmla="*/ 7618 w 10000"/>
                <a:gd name="connsiteY13" fmla="*/ 3747 h 10000"/>
                <a:gd name="connsiteX14" fmla="*/ 7993 w 10000"/>
                <a:gd name="connsiteY14" fmla="*/ 4340 h 10000"/>
                <a:gd name="connsiteX15" fmla="*/ 7418 w 10000"/>
                <a:gd name="connsiteY15" fmla="*/ 4556 h 10000"/>
                <a:gd name="connsiteX16" fmla="*/ 6294 w 10000"/>
                <a:gd name="connsiteY16" fmla="*/ 6038 h 10000"/>
                <a:gd name="connsiteX17" fmla="*/ 6406 w 10000"/>
                <a:gd name="connsiteY17" fmla="*/ 6298 h 10000"/>
                <a:gd name="connsiteX18" fmla="*/ 6382 w 10000"/>
                <a:gd name="connsiteY18" fmla="*/ 6865 h 10000"/>
                <a:gd name="connsiteX19" fmla="*/ 6317 w 10000"/>
                <a:gd name="connsiteY19" fmla="*/ 8202 h 10000"/>
                <a:gd name="connsiteX20" fmla="*/ 6317 w 10000"/>
                <a:gd name="connsiteY20" fmla="*/ 8293 h 10000"/>
                <a:gd name="connsiteX21" fmla="*/ 5917 w 10000"/>
                <a:gd name="connsiteY21" fmla="*/ 9873 h 10000"/>
                <a:gd name="connsiteX22" fmla="*/ 5876 w 10000"/>
                <a:gd name="connsiteY22" fmla="*/ 9891 h 10000"/>
                <a:gd name="connsiteX23" fmla="*/ 5740 w 10000"/>
                <a:gd name="connsiteY23" fmla="*/ 9864 h 10000"/>
                <a:gd name="connsiteX24" fmla="*/ 5366 w 10000"/>
                <a:gd name="connsiteY24" fmla="*/ 8185 h 10000"/>
                <a:gd name="connsiteX25" fmla="*/ 5566 w 10000"/>
                <a:gd name="connsiteY25" fmla="*/ 6253 h 10000"/>
                <a:gd name="connsiteX26" fmla="*/ 5740 w 10000"/>
                <a:gd name="connsiteY26" fmla="*/ 5957 h 10000"/>
                <a:gd name="connsiteX27" fmla="*/ 5764 w 10000"/>
                <a:gd name="connsiteY27" fmla="*/ 5885 h 10000"/>
                <a:gd name="connsiteX28" fmla="*/ 5279 w 10000"/>
                <a:gd name="connsiteY28" fmla="*/ 4098 h 10000"/>
                <a:gd name="connsiteX29" fmla="*/ 5055 w 10000"/>
                <a:gd name="connsiteY29" fmla="*/ 3073 h 10000"/>
                <a:gd name="connsiteX30" fmla="*/ 5588 w 10000"/>
                <a:gd name="connsiteY30" fmla="*/ 2004 h 10000"/>
                <a:gd name="connsiteX31" fmla="*/ 5917 w 10000"/>
                <a:gd name="connsiteY31" fmla="*/ 1600 h 10000"/>
                <a:gd name="connsiteX32" fmla="*/ 5984 w 10000"/>
                <a:gd name="connsiteY32" fmla="*/ 1493 h 10000"/>
                <a:gd name="connsiteX33" fmla="*/ 5695 w 10000"/>
                <a:gd name="connsiteY33" fmla="*/ 262 h 10000"/>
                <a:gd name="connsiteX34" fmla="*/ 4261 w 10000"/>
                <a:gd name="connsiteY34" fmla="*/ 1 h 10000"/>
                <a:gd name="connsiteX35" fmla="*/ 3489 w 10000"/>
                <a:gd name="connsiteY35" fmla="*/ 136 h 10000"/>
                <a:gd name="connsiteX36" fmla="*/ 3311 w 10000"/>
                <a:gd name="connsiteY36" fmla="*/ 621 h 10000"/>
                <a:gd name="connsiteX37" fmla="*/ 3089 w 10000"/>
                <a:gd name="connsiteY37" fmla="*/ 999 h 10000"/>
                <a:gd name="connsiteX38" fmla="*/ 2051 w 10000"/>
                <a:gd name="connsiteY38" fmla="*/ 703 h 10000"/>
                <a:gd name="connsiteX39" fmla="*/ 707 w 10000"/>
                <a:gd name="connsiteY39" fmla="*/ 307 h 10000"/>
                <a:gd name="connsiteX40" fmla="*/ 44 w 10000"/>
                <a:gd name="connsiteY40" fmla="*/ 280 h 10000"/>
                <a:gd name="connsiteX41" fmla="*/ 44 w 10000"/>
                <a:gd name="connsiteY41" fmla="*/ 280 h 10000"/>
                <a:gd name="connsiteX42" fmla="*/ 572 w 10000"/>
                <a:gd name="connsiteY42" fmla="*/ 432 h 10000"/>
                <a:gd name="connsiteX43" fmla="*/ 0 w 10000"/>
                <a:gd name="connsiteY43" fmla="*/ 603 h 10000"/>
                <a:gd name="connsiteX44" fmla="*/ 0 w 10000"/>
                <a:gd name="connsiteY44" fmla="*/ 603 h 10000"/>
                <a:gd name="connsiteX45" fmla="*/ 725 w 10000"/>
                <a:gd name="connsiteY45" fmla="*/ 586 h 10000"/>
                <a:gd name="connsiteX46" fmla="*/ 1589 w 10000"/>
                <a:gd name="connsiteY46" fmla="*/ 864 h 10000"/>
                <a:gd name="connsiteX47" fmla="*/ 3290 w 10000"/>
                <a:gd name="connsiteY47" fmla="*/ 1233 h 10000"/>
                <a:gd name="connsiteX48" fmla="*/ 3910 w 10000"/>
                <a:gd name="connsiteY48" fmla="*/ 594 h 10000"/>
                <a:gd name="connsiteX49" fmla="*/ 3953 w 10000"/>
                <a:gd name="connsiteY49" fmla="*/ 298 h 10000"/>
                <a:gd name="connsiteX50" fmla="*/ 4306 w 10000"/>
                <a:gd name="connsiteY50" fmla="*/ 253 h 10000"/>
                <a:gd name="connsiteX51" fmla="*/ 5232 w 10000"/>
                <a:gd name="connsiteY51" fmla="*/ 414 h 10000"/>
                <a:gd name="connsiteX52" fmla="*/ 5432 w 10000"/>
                <a:gd name="connsiteY52" fmla="*/ 1421 h 10000"/>
                <a:gd name="connsiteX53" fmla="*/ 5344 w 10000"/>
                <a:gd name="connsiteY53" fmla="*/ 1528 h 10000"/>
                <a:gd name="connsiteX54" fmla="*/ 5055 w 10000"/>
                <a:gd name="connsiteY54" fmla="*/ 1889 h 10000"/>
                <a:gd name="connsiteX55" fmla="*/ 4458 w 10000"/>
                <a:gd name="connsiteY55" fmla="*/ 3109 h 10000"/>
                <a:gd name="connsiteX56" fmla="*/ 4703 w 10000"/>
                <a:gd name="connsiteY56" fmla="*/ 4170 h 10000"/>
                <a:gd name="connsiteX57" fmla="*/ 5170 w 10000"/>
                <a:gd name="connsiteY57" fmla="*/ 5859 h 10000"/>
                <a:gd name="connsiteX58" fmla="*/ 5147 w 10000"/>
                <a:gd name="connsiteY58" fmla="*/ 5930 h 10000"/>
                <a:gd name="connsiteX59" fmla="*/ 5301 w 10000"/>
                <a:gd name="connsiteY59" fmla="*/ 6253 h 10000"/>
                <a:gd name="connsiteX60" fmla="*/ 5100 w 10000"/>
                <a:gd name="connsiteY60" fmla="*/ 8185 h 10000"/>
                <a:gd name="connsiteX61" fmla="*/ 5566 w 10000"/>
                <a:gd name="connsiteY61" fmla="*/ 9946 h 10000"/>
                <a:gd name="connsiteX62" fmla="*/ 5876 w 10000"/>
                <a:gd name="connsiteY62" fmla="*/ 10000 h 10000"/>
                <a:gd name="connsiteX63" fmla="*/ 6118 w 10000"/>
                <a:gd name="connsiteY63" fmla="*/ 9954 h 10000"/>
                <a:gd name="connsiteX64" fmla="*/ 6579 w 10000"/>
                <a:gd name="connsiteY64" fmla="*/ 8293 h 10000"/>
                <a:gd name="connsiteX65" fmla="*/ 6579 w 10000"/>
                <a:gd name="connsiteY65" fmla="*/ 8202 h 10000"/>
                <a:gd name="connsiteX66" fmla="*/ 6649 w 10000"/>
                <a:gd name="connsiteY66" fmla="*/ 6865 h 10000"/>
                <a:gd name="connsiteX67" fmla="*/ 6690 w 10000"/>
                <a:gd name="connsiteY67" fmla="*/ 6308 h 10000"/>
                <a:gd name="connsiteX68" fmla="*/ 6890 w 10000"/>
                <a:gd name="connsiteY68" fmla="*/ 6038 h 10000"/>
                <a:gd name="connsiteX69" fmla="*/ 7751 w 10000"/>
                <a:gd name="connsiteY69" fmla="*/ 4763 h 10000"/>
                <a:gd name="connsiteX70" fmla="*/ 8477 w 10000"/>
                <a:gd name="connsiteY70" fmla="*/ 4474 h 10000"/>
                <a:gd name="connsiteX71" fmla="*/ 8060 w 10000"/>
                <a:gd name="connsiteY71" fmla="*/ 3577 h 10000"/>
                <a:gd name="connsiteX72" fmla="*/ 7486 w 10000"/>
                <a:gd name="connsiteY72" fmla="*/ 3288 h 10000"/>
                <a:gd name="connsiteX73" fmla="*/ 7263 w 10000"/>
                <a:gd name="connsiteY73" fmla="*/ 2940 h 10000"/>
                <a:gd name="connsiteX74" fmla="*/ 8146 w 10000"/>
                <a:gd name="connsiteY74" fmla="*/ 2714 h 10000"/>
                <a:gd name="connsiteX75" fmla="*/ 9847 w 10000"/>
                <a:gd name="connsiteY75" fmla="*/ 2094 h 10000"/>
                <a:gd name="connsiteX76" fmla="*/ 9803 w 10000"/>
                <a:gd name="connsiteY76" fmla="*/ 1501 h 10000"/>
                <a:gd name="connsiteX77" fmla="*/ 9386 w 10000"/>
                <a:gd name="connsiteY77" fmla="*/ 1367 h 10000"/>
                <a:gd name="connsiteX78" fmla="*/ 8036 w 10000"/>
                <a:gd name="connsiteY78" fmla="*/ 1564 h 10000"/>
                <a:gd name="connsiteX79" fmla="*/ 7505 w 10000"/>
                <a:gd name="connsiteY79" fmla="*/ 1691 h 10000"/>
                <a:gd name="connsiteX80" fmla="*/ 7331 w 10000"/>
                <a:gd name="connsiteY80" fmla="*/ 1592 h 10000"/>
                <a:gd name="connsiteX81" fmla="*/ 8016 w 10000"/>
                <a:gd name="connsiteY81" fmla="*/ 1286 h 10000"/>
                <a:gd name="connsiteX82" fmla="*/ 8699 w 10000"/>
                <a:gd name="connsiteY82" fmla="*/ 1079 h 10000"/>
                <a:gd name="connsiteX0" fmla="*/ 8699 w 10000"/>
                <a:gd name="connsiteY0" fmla="*/ 1079 h 10000"/>
                <a:gd name="connsiteX1" fmla="*/ 8276 w 10000"/>
                <a:gd name="connsiteY1" fmla="*/ 908 h 10000"/>
                <a:gd name="connsiteX2" fmla="*/ 7706 w 10000"/>
                <a:gd name="connsiteY2" fmla="*/ 1079 h 10000"/>
                <a:gd name="connsiteX3" fmla="*/ 6781 w 10000"/>
                <a:gd name="connsiteY3" fmla="*/ 1754 h 10000"/>
                <a:gd name="connsiteX4" fmla="*/ 7131 w 10000"/>
                <a:gd name="connsiteY4" fmla="*/ 1933 h 10000"/>
                <a:gd name="connsiteX5" fmla="*/ 8367 w 10000"/>
                <a:gd name="connsiteY5" fmla="*/ 1772 h 10000"/>
                <a:gd name="connsiteX6" fmla="*/ 9053 w 10000"/>
                <a:gd name="connsiteY6" fmla="*/ 1610 h 10000"/>
                <a:gd name="connsiteX7" fmla="*/ 9295 w 10000"/>
                <a:gd name="connsiteY7" fmla="*/ 1626 h 10000"/>
                <a:gd name="connsiteX8" fmla="*/ 9295 w 10000"/>
                <a:gd name="connsiteY8" fmla="*/ 1996 h 10000"/>
                <a:gd name="connsiteX9" fmla="*/ 7970 w 10000"/>
                <a:gd name="connsiteY9" fmla="*/ 2481 h 10000"/>
                <a:gd name="connsiteX10" fmla="*/ 6712 w 10000"/>
                <a:gd name="connsiteY10" fmla="*/ 2858 h 10000"/>
                <a:gd name="connsiteX11" fmla="*/ 6953 w 10000"/>
                <a:gd name="connsiteY11" fmla="*/ 3424 h 10000"/>
                <a:gd name="connsiteX12" fmla="*/ 7618 w 10000"/>
                <a:gd name="connsiteY12" fmla="*/ 3747 h 10000"/>
                <a:gd name="connsiteX13" fmla="*/ 7993 w 10000"/>
                <a:gd name="connsiteY13" fmla="*/ 4340 h 10000"/>
                <a:gd name="connsiteX14" fmla="*/ 7418 w 10000"/>
                <a:gd name="connsiteY14" fmla="*/ 4556 h 10000"/>
                <a:gd name="connsiteX15" fmla="*/ 6294 w 10000"/>
                <a:gd name="connsiteY15" fmla="*/ 6038 h 10000"/>
                <a:gd name="connsiteX16" fmla="*/ 6406 w 10000"/>
                <a:gd name="connsiteY16" fmla="*/ 6298 h 10000"/>
                <a:gd name="connsiteX17" fmla="*/ 6382 w 10000"/>
                <a:gd name="connsiteY17" fmla="*/ 6865 h 10000"/>
                <a:gd name="connsiteX18" fmla="*/ 6317 w 10000"/>
                <a:gd name="connsiteY18" fmla="*/ 8202 h 10000"/>
                <a:gd name="connsiteX19" fmla="*/ 6317 w 10000"/>
                <a:gd name="connsiteY19" fmla="*/ 8293 h 10000"/>
                <a:gd name="connsiteX20" fmla="*/ 5917 w 10000"/>
                <a:gd name="connsiteY20" fmla="*/ 9873 h 10000"/>
                <a:gd name="connsiteX21" fmla="*/ 5876 w 10000"/>
                <a:gd name="connsiteY21" fmla="*/ 9891 h 10000"/>
                <a:gd name="connsiteX22" fmla="*/ 5740 w 10000"/>
                <a:gd name="connsiteY22" fmla="*/ 9864 h 10000"/>
                <a:gd name="connsiteX23" fmla="*/ 5366 w 10000"/>
                <a:gd name="connsiteY23" fmla="*/ 8185 h 10000"/>
                <a:gd name="connsiteX24" fmla="*/ 5566 w 10000"/>
                <a:gd name="connsiteY24" fmla="*/ 6253 h 10000"/>
                <a:gd name="connsiteX25" fmla="*/ 5740 w 10000"/>
                <a:gd name="connsiteY25" fmla="*/ 5957 h 10000"/>
                <a:gd name="connsiteX26" fmla="*/ 5764 w 10000"/>
                <a:gd name="connsiteY26" fmla="*/ 5885 h 10000"/>
                <a:gd name="connsiteX27" fmla="*/ 5279 w 10000"/>
                <a:gd name="connsiteY27" fmla="*/ 4098 h 10000"/>
                <a:gd name="connsiteX28" fmla="*/ 5055 w 10000"/>
                <a:gd name="connsiteY28" fmla="*/ 3073 h 10000"/>
                <a:gd name="connsiteX29" fmla="*/ 5588 w 10000"/>
                <a:gd name="connsiteY29" fmla="*/ 2004 h 10000"/>
                <a:gd name="connsiteX30" fmla="*/ 5917 w 10000"/>
                <a:gd name="connsiteY30" fmla="*/ 1600 h 10000"/>
                <a:gd name="connsiteX31" fmla="*/ 5984 w 10000"/>
                <a:gd name="connsiteY31" fmla="*/ 1493 h 10000"/>
                <a:gd name="connsiteX32" fmla="*/ 5695 w 10000"/>
                <a:gd name="connsiteY32" fmla="*/ 262 h 10000"/>
                <a:gd name="connsiteX33" fmla="*/ 4261 w 10000"/>
                <a:gd name="connsiteY33" fmla="*/ 1 h 10000"/>
                <a:gd name="connsiteX34" fmla="*/ 3489 w 10000"/>
                <a:gd name="connsiteY34" fmla="*/ 136 h 10000"/>
                <a:gd name="connsiteX35" fmla="*/ 3311 w 10000"/>
                <a:gd name="connsiteY35" fmla="*/ 621 h 10000"/>
                <a:gd name="connsiteX36" fmla="*/ 3089 w 10000"/>
                <a:gd name="connsiteY36" fmla="*/ 999 h 10000"/>
                <a:gd name="connsiteX37" fmla="*/ 2051 w 10000"/>
                <a:gd name="connsiteY37" fmla="*/ 703 h 10000"/>
                <a:gd name="connsiteX38" fmla="*/ 707 w 10000"/>
                <a:gd name="connsiteY38" fmla="*/ 307 h 10000"/>
                <a:gd name="connsiteX39" fmla="*/ 44 w 10000"/>
                <a:gd name="connsiteY39" fmla="*/ 280 h 10000"/>
                <a:gd name="connsiteX40" fmla="*/ 44 w 10000"/>
                <a:gd name="connsiteY40" fmla="*/ 280 h 10000"/>
                <a:gd name="connsiteX41" fmla="*/ 572 w 10000"/>
                <a:gd name="connsiteY41" fmla="*/ 432 h 10000"/>
                <a:gd name="connsiteX42" fmla="*/ 0 w 10000"/>
                <a:gd name="connsiteY42" fmla="*/ 603 h 10000"/>
                <a:gd name="connsiteX43" fmla="*/ 0 w 10000"/>
                <a:gd name="connsiteY43" fmla="*/ 603 h 10000"/>
                <a:gd name="connsiteX44" fmla="*/ 725 w 10000"/>
                <a:gd name="connsiteY44" fmla="*/ 586 h 10000"/>
                <a:gd name="connsiteX45" fmla="*/ 1589 w 10000"/>
                <a:gd name="connsiteY45" fmla="*/ 864 h 10000"/>
                <a:gd name="connsiteX46" fmla="*/ 3290 w 10000"/>
                <a:gd name="connsiteY46" fmla="*/ 1233 h 10000"/>
                <a:gd name="connsiteX47" fmla="*/ 3910 w 10000"/>
                <a:gd name="connsiteY47" fmla="*/ 594 h 10000"/>
                <a:gd name="connsiteX48" fmla="*/ 3953 w 10000"/>
                <a:gd name="connsiteY48" fmla="*/ 298 h 10000"/>
                <a:gd name="connsiteX49" fmla="*/ 4306 w 10000"/>
                <a:gd name="connsiteY49" fmla="*/ 253 h 10000"/>
                <a:gd name="connsiteX50" fmla="*/ 5232 w 10000"/>
                <a:gd name="connsiteY50" fmla="*/ 414 h 10000"/>
                <a:gd name="connsiteX51" fmla="*/ 5432 w 10000"/>
                <a:gd name="connsiteY51" fmla="*/ 1421 h 10000"/>
                <a:gd name="connsiteX52" fmla="*/ 5344 w 10000"/>
                <a:gd name="connsiteY52" fmla="*/ 1528 h 10000"/>
                <a:gd name="connsiteX53" fmla="*/ 5055 w 10000"/>
                <a:gd name="connsiteY53" fmla="*/ 1889 h 10000"/>
                <a:gd name="connsiteX54" fmla="*/ 4458 w 10000"/>
                <a:gd name="connsiteY54" fmla="*/ 3109 h 10000"/>
                <a:gd name="connsiteX55" fmla="*/ 4703 w 10000"/>
                <a:gd name="connsiteY55" fmla="*/ 4170 h 10000"/>
                <a:gd name="connsiteX56" fmla="*/ 5170 w 10000"/>
                <a:gd name="connsiteY56" fmla="*/ 5859 h 10000"/>
                <a:gd name="connsiteX57" fmla="*/ 5147 w 10000"/>
                <a:gd name="connsiteY57" fmla="*/ 5930 h 10000"/>
                <a:gd name="connsiteX58" fmla="*/ 5301 w 10000"/>
                <a:gd name="connsiteY58" fmla="*/ 6253 h 10000"/>
                <a:gd name="connsiteX59" fmla="*/ 5100 w 10000"/>
                <a:gd name="connsiteY59" fmla="*/ 8185 h 10000"/>
                <a:gd name="connsiteX60" fmla="*/ 5566 w 10000"/>
                <a:gd name="connsiteY60" fmla="*/ 9946 h 10000"/>
                <a:gd name="connsiteX61" fmla="*/ 5876 w 10000"/>
                <a:gd name="connsiteY61" fmla="*/ 10000 h 10000"/>
                <a:gd name="connsiteX62" fmla="*/ 6118 w 10000"/>
                <a:gd name="connsiteY62" fmla="*/ 9954 h 10000"/>
                <a:gd name="connsiteX63" fmla="*/ 6579 w 10000"/>
                <a:gd name="connsiteY63" fmla="*/ 8293 h 10000"/>
                <a:gd name="connsiteX64" fmla="*/ 6579 w 10000"/>
                <a:gd name="connsiteY64" fmla="*/ 8202 h 10000"/>
                <a:gd name="connsiteX65" fmla="*/ 6649 w 10000"/>
                <a:gd name="connsiteY65" fmla="*/ 6865 h 10000"/>
                <a:gd name="connsiteX66" fmla="*/ 6690 w 10000"/>
                <a:gd name="connsiteY66" fmla="*/ 6308 h 10000"/>
                <a:gd name="connsiteX67" fmla="*/ 6890 w 10000"/>
                <a:gd name="connsiteY67" fmla="*/ 6038 h 10000"/>
                <a:gd name="connsiteX68" fmla="*/ 7751 w 10000"/>
                <a:gd name="connsiteY68" fmla="*/ 4763 h 10000"/>
                <a:gd name="connsiteX69" fmla="*/ 8477 w 10000"/>
                <a:gd name="connsiteY69" fmla="*/ 4474 h 10000"/>
                <a:gd name="connsiteX70" fmla="*/ 8060 w 10000"/>
                <a:gd name="connsiteY70" fmla="*/ 3577 h 10000"/>
                <a:gd name="connsiteX71" fmla="*/ 7486 w 10000"/>
                <a:gd name="connsiteY71" fmla="*/ 3288 h 10000"/>
                <a:gd name="connsiteX72" fmla="*/ 7263 w 10000"/>
                <a:gd name="connsiteY72" fmla="*/ 2940 h 10000"/>
                <a:gd name="connsiteX73" fmla="*/ 8146 w 10000"/>
                <a:gd name="connsiteY73" fmla="*/ 2714 h 10000"/>
                <a:gd name="connsiteX74" fmla="*/ 9847 w 10000"/>
                <a:gd name="connsiteY74" fmla="*/ 2094 h 10000"/>
                <a:gd name="connsiteX75" fmla="*/ 9803 w 10000"/>
                <a:gd name="connsiteY75" fmla="*/ 1501 h 10000"/>
                <a:gd name="connsiteX76" fmla="*/ 9386 w 10000"/>
                <a:gd name="connsiteY76" fmla="*/ 1367 h 10000"/>
                <a:gd name="connsiteX77" fmla="*/ 8036 w 10000"/>
                <a:gd name="connsiteY77" fmla="*/ 1564 h 10000"/>
                <a:gd name="connsiteX78" fmla="*/ 7505 w 10000"/>
                <a:gd name="connsiteY78" fmla="*/ 1691 h 10000"/>
                <a:gd name="connsiteX79" fmla="*/ 7331 w 10000"/>
                <a:gd name="connsiteY79" fmla="*/ 1592 h 10000"/>
                <a:gd name="connsiteX80" fmla="*/ 8016 w 10000"/>
                <a:gd name="connsiteY80" fmla="*/ 1286 h 10000"/>
                <a:gd name="connsiteX81" fmla="*/ 8699 w 10000"/>
                <a:gd name="connsiteY81" fmla="*/ 1079 h 10000"/>
                <a:gd name="connsiteX0" fmla="*/ 8016 w 10000"/>
                <a:gd name="connsiteY0" fmla="*/ 1286 h 10000"/>
                <a:gd name="connsiteX1" fmla="*/ 8276 w 10000"/>
                <a:gd name="connsiteY1" fmla="*/ 908 h 10000"/>
                <a:gd name="connsiteX2" fmla="*/ 7706 w 10000"/>
                <a:gd name="connsiteY2" fmla="*/ 1079 h 10000"/>
                <a:gd name="connsiteX3" fmla="*/ 6781 w 10000"/>
                <a:gd name="connsiteY3" fmla="*/ 1754 h 10000"/>
                <a:gd name="connsiteX4" fmla="*/ 7131 w 10000"/>
                <a:gd name="connsiteY4" fmla="*/ 1933 h 10000"/>
                <a:gd name="connsiteX5" fmla="*/ 8367 w 10000"/>
                <a:gd name="connsiteY5" fmla="*/ 1772 h 10000"/>
                <a:gd name="connsiteX6" fmla="*/ 9053 w 10000"/>
                <a:gd name="connsiteY6" fmla="*/ 1610 h 10000"/>
                <a:gd name="connsiteX7" fmla="*/ 9295 w 10000"/>
                <a:gd name="connsiteY7" fmla="*/ 1626 h 10000"/>
                <a:gd name="connsiteX8" fmla="*/ 9295 w 10000"/>
                <a:gd name="connsiteY8" fmla="*/ 1996 h 10000"/>
                <a:gd name="connsiteX9" fmla="*/ 7970 w 10000"/>
                <a:gd name="connsiteY9" fmla="*/ 2481 h 10000"/>
                <a:gd name="connsiteX10" fmla="*/ 6712 w 10000"/>
                <a:gd name="connsiteY10" fmla="*/ 2858 h 10000"/>
                <a:gd name="connsiteX11" fmla="*/ 6953 w 10000"/>
                <a:gd name="connsiteY11" fmla="*/ 3424 h 10000"/>
                <a:gd name="connsiteX12" fmla="*/ 7618 w 10000"/>
                <a:gd name="connsiteY12" fmla="*/ 3747 h 10000"/>
                <a:gd name="connsiteX13" fmla="*/ 7993 w 10000"/>
                <a:gd name="connsiteY13" fmla="*/ 4340 h 10000"/>
                <a:gd name="connsiteX14" fmla="*/ 7418 w 10000"/>
                <a:gd name="connsiteY14" fmla="*/ 4556 h 10000"/>
                <a:gd name="connsiteX15" fmla="*/ 6294 w 10000"/>
                <a:gd name="connsiteY15" fmla="*/ 6038 h 10000"/>
                <a:gd name="connsiteX16" fmla="*/ 6406 w 10000"/>
                <a:gd name="connsiteY16" fmla="*/ 6298 h 10000"/>
                <a:gd name="connsiteX17" fmla="*/ 6382 w 10000"/>
                <a:gd name="connsiteY17" fmla="*/ 6865 h 10000"/>
                <a:gd name="connsiteX18" fmla="*/ 6317 w 10000"/>
                <a:gd name="connsiteY18" fmla="*/ 8202 h 10000"/>
                <a:gd name="connsiteX19" fmla="*/ 6317 w 10000"/>
                <a:gd name="connsiteY19" fmla="*/ 8293 h 10000"/>
                <a:gd name="connsiteX20" fmla="*/ 5917 w 10000"/>
                <a:gd name="connsiteY20" fmla="*/ 9873 h 10000"/>
                <a:gd name="connsiteX21" fmla="*/ 5876 w 10000"/>
                <a:gd name="connsiteY21" fmla="*/ 9891 h 10000"/>
                <a:gd name="connsiteX22" fmla="*/ 5740 w 10000"/>
                <a:gd name="connsiteY22" fmla="*/ 9864 h 10000"/>
                <a:gd name="connsiteX23" fmla="*/ 5366 w 10000"/>
                <a:gd name="connsiteY23" fmla="*/ 8185 h 10000"/>
                <a:gd name="connsiteX24" fmla="*/ 5566 w 10000"/>
                <a:gd name="connsiteY24" fmla="*/ 6253 h 10000"/>
                <a:gd name="connsiteX25" fmla="*/ 5740 w 10000"/>
                <a:gd name="connsiteY25" fmla="*/ 5957 h 10000"/>
                <a:gd name="connsiteX26" fmla="*/ 5764 w 10000"/>
                <a:gd name="connsiteY26" fmla="*/ 5885 h 10000"/>
                <a:gd name="connsiteX27" fmla="*/ 5279 w 10000"/>
                <a:gd name="connsiteY27" fmla="*/ 4098 h 10000"/>
                <a:gd name="connsiteX28" fmla="*/ 5055 w 10000"/>
                <a:gd name="connsiteY28" fmla="*/ 3073 h 10000"/>
                <a:gd name="connsiteX29" fmla="*/ 5588 w 10000"/>
                <a:gd name="connsiteY29" fmla="*/ 2004 h 10000"/>
                <a:gd name="connsiteX30" fmla="*/ 5917 w 10000"/>
                <a:gd name="connsiteY30" fmla="*/ 1600 h 10000"/>
                <a:gd name="connsiteX31" fmla="*/ 5984 w 10000"/>
                <a:gd name="connsiteY31" fmla="*/ 1493 h 10000"/>
                <a:gd name="connsiteX32" fmla="*/ 5695 w 10000"/>
                <a:gd name="connsiteY32" fmla="*/ 262 h 10000"/>
                <a:gd name="connsiteX33" fmla="*/ 4261 w 10000"/>
                <a:gd name="connsiteY33" fmla="*/ 1 h 10000"/>
                <a:gd name="connsiteX34" fmla="*/ 3489 w 10000"/>
                <a:gd name="connsiteY34" fmla="*/ 136 h 10000"/>
                <a:gd name="connsiteX35" fmla="*/ 3311 w 10000"/>
                <a:gd name="connsiteY35" fmla="*/ 621 h 10000"/>
                <a:gd name="connsiteX36" fmla="*/ 3089 w 10000"/>
                <a:gd name="connsiteY36" fmla="*/ 999 h 10000"/>
                <a:gd name="connsiteX37" fmla="*/ 2051 w 10000"/>
                <a:gd name="connsiteY37" fmla="*/ 703 h 10000"/>
                <a:gd name="connsiteX38" fmla="*/ 707 w 10000"/>
                <a:gd name="connsiteY38" fmla="*/ 307 h 10000"/>
                <a:gd name="connsiteX39" fmla="*/ 44 w 10000"/>
                <a:gd name="connsiteY39" fmla="*/ 280 h 10000"/>
                <a:gd name="connsiteX40" fmla="*/ 44 w 10000"/>
                <a:gd name="connsiteY40" fmla="*/ 280 h 10000"/>
                <a:gd name="connsiteX41" fmla="*/ 572 w 10000"/>
                <a:gd name="connsiteY41" fmla="*/ 432 h 10000"/>
                <a:gd name="connsiteX42" fmla="*/ 0 w 10000"/>
                <a:gd name="connsiteY42" fmla="*/ 603 h 10000"/>
                <a:gd name="connsiteX43" fmla="*/ 0 w 10000"/>
                <a:gd name="connsiteY43" fmla="*/ 603 h 10000"/>
                <a:gd name="connsiteX44" fmla="*/ 725 w 10000"/>
                <a:gd name="connsiteY44" fmla="*/ 586 h 10000"/>
                <a:gd name="connsiteX45" fmla="*/ 1589 w 10000"/>
                <a:gd name="connsiteY45" fmla="*/ 864 h 10000"/>
                <a:gd name="connsiteX46" fmla="*/ 3290 w 10000"/>
                <a:gd name="connsiteY46" fmla="*/ 1233 h 10000"/>
                <a:gd name="connsiteX47" fmla="*/ 3910 w 10000"/>
                <a:gd name="connsiteY47" fmla="*/ 594 h 10000"/>
                <a:gd name="connsiteX48" fmla="*/ 3953 w 10000"/>
                <a:gd name="connsiteY48" fmla="*/ 298 h 10000"/>
                <a:gd name="connsiteX49" fmla="*/ 4306 w 10000"/>
                <a:gd name="connsiteY49" fmla="*/ 253 h 10000"/>
                <a:gd name="connsiteX50" fmla="*/ 5232 w 10000"/>
                <a:gd name="connsiteY50" fmla="*/ 414 h 10000"/>
                <a:gd name="connsiteX51" fmla="*/ 5432 w 10000"/>
                <a:gd name="connsiteY51" fmla="*/ 1421 h 10000"/>
                <a:gd name="connsiteX52" fmla="*/ 5344 w 10000"/>
                <a:gd name="connsiteY52" fmla="*/ 1528 h 10000"/>
                <a:gd name="connsiteX53" fmla="*/ 5055 w 10000"/>
                <a:gd name="connsiteY53" fmla="*/ 1889 h 10000"/>
                <a:gd name="connsiteX54" fmla="*/ 4458 w 10000"/>
                <a:gd name="connsiteY54" fmla="*/ 3109 h 10000"/>
                <a:gd name="connsiteX55" fmla="*/ 4703 w 10000"/>
                <a:gd name="connsiteY55" fmla="*/ 4170 h 10000"/>
                <a:gd name="connsiteX56" fmla="*/ 5170 w 10000"/>
                <a:gd name="connsiteY56" fmla="*/ 5859 h 10000"/>
                <a:gd name="connsiteX57" fmla="*/ 5147 w 10000"/>
                <a:gd name="connsiteY57" fmla="*/ 5930 h 10000"/>
                <a:gd name="connsiteX58" fmla="*/ 5301 w 10000"/>
                <a:gd name="connsiteY58" fmla="*/ 6253 h 10000"/>
                <a:gd name="connsiteX59" fmla="*/ 5100 w 10000"/>
                <a:gd name="connsiteY59" fmla="*/ 8185 h 10000"/>
                <a:gd name="connsiteX60" fmla="*/ 5566 w 10000"/>
                <a:gd name="connsiteY60" fmla="*/ 9946 h 10000"/>
                <a:gd name="connsiteX61" fmla="*/ 5876 w 10000"/>
                <a:gd name="connsiteY61" fmla="*/ 10000 h 10000"/>
                <a:gd name="connsiteX62" fmla="*/ 6118 w 10000"/>
                <a:gd name="connsiteY62" fmla="*/ 9954 h 10000"/>
                <a:gd name="connsiteX63" fmla="*/ 6579 w 10000"/>
                <a:gd name="connsiteY63" fmla="*/ 8293 h 10000"/>
                <a:gd name="connsiteX64" fmla="*/ 6579 w 10000"/>
                <a:gd name="connsiteY64" fmla="*/ 8202 h 10000"/>
                <a:gd name="connsiteX65" fmla="*/ 6649 w 10000"/>
                <a:gd name="connsiteY65" fmla="*/ 6865 h 10000"/>
                <a:gd name="connsiteX66" fmla="*/ 6690 w 10000"/>
                <a:gd name="connsiteY66" fmla="*/ 6308 h 10000"/>
                <a:gd name="connsiteX67" fmla="*/ 6890 w 10000"/>
                <a:gd name="connsiteY67" fmla="*/ 6038 h 10000"/>
                <a:gd name="connsiteX68" fmla="*/ 7751 w 10000"/>
                <a:gd name="connsiteY68" fmla="*/ 4763 h 10000"/>
                <a:gd name="connsiteX69" fmla="*/ 8477 w 10000"/>
                <a:gd name="connsiteY69" fmla="*/ 4474 h 10000"/>
                <a:gd name="connsiteX70" fmla="*/ 8060 w 10000"/>
                <a:gd name="connsiteY70" fmla="*/ 3577 h 10000"/>
                <a:gd name="connsiteX71" fmla="*/ 7486 w 10000"/>
                <a:gd name="connsiteY71" fmla="*/ 3288 h 10000"/>
                <a:gd name="connsiteX72" fmla="*/ 7263 w 10000"/>
                <a:gd name="connsiteY72" fmla="*/ 2940 h 10000"/>
                <a:gd name="connsiteX73" fmla="*/ 8146 w 10000"/>
                <a:gd name="connsiteY73" fmla="*/ 2714 h 10000"/>
                <a:gd name="connsiteX74" fmla="*/ 9847 w 10000"/>
                <a:gd name="connsiteY74" fmla="*/ 2094 h 10000"/>
                <a:gd name="connsiteX75" fmla="*/ 9803 w 10000"/>
                <a:gd name="connsiteY75" fmla="*/ 1501 h 10000"/>
                <a:gd name="connsiteX76" fmla="*/ 9386 w 10000"/>
                <a:gd name="connsiteY76" fmla="*/ 1367 h 10000"/>
                <a:gd name="connsiteX77" fmla="*/ 8036 w 10000"/>
                <a:gd name="connsiteY77" fmla="*/ 1564 h 10000"/>
                <a:gd name="connsiteX78" fmla="*/ 7505 w 10000"/>
                <a:gd name="connsiteY78" fmla="*/ 1691 h 10000"/>
                <a:gd name="connsiteX79" fmla="*/ 7331 w 10000"/>
                <a:gd name="connsiteY79" fmla="*/ 1592 h 10000"/>
                <a:gd name="connsiteX80" fmla="*/ 8016 w 10000"/>
                <a:gd name="connsiteY80" fmla="*/ 1286 h 10000"/>
                <a:gd name="connsiteX0" fmla="*/ 8016 w 10000"/>
                <a:gd name="connsiteY0" fmla="*/ 1286 h 10000"/>
                <a:gd name="connsiteX1" fmla="*/ 7706 w 10000"/>
                <a:gd name="connsiteY1" fmla="*/ 1079 h 10000"/>
                <a:gd name="connsiteX2" fmla="*/ 6781 w 10000"/>
                <a:gd name="connsiteY2" fmla="*/ 1754 h 10000"/>
                <a:gd name="connsiteX3" fmla="*/ 7131 w 10000"/>
                <a:gd name="connsiteY3" fmla="*/ 1933 h 10000"/>
                <a:gd name="connsiteX4" fmla="*/ 8367 w 10000"/>
                <a:gd name="connsiteY4" fmla="*/ 1772 h 10000"/>
                <a:gd name="connsiteX5" fmla="*/ 9053 w 10000"/>
                <a:gd name="connsiteY5" fmla="*/ 1610 h 10000"/>
                <a:gd name="connsiteX6" fmla="*/ 9295 w 10000"/>
                <a:gd name="connsiteY6" fmla="*/ 1626 h 10000"/>
                <a:gd name="connsiteX7" fmla="*/ 9295 w 10000"/>
                <a:gd name="connsiteY7" fmla="*/ 1996 h 10000"/>
                <a:gd name="connsiteX8" fmla="*/ 7970 w 10000"/>
                <a:gd name="connsiteY8" fmla="*/ 2481 h 10000"/>
                <a:gd name="connsiteX9" fmla="*/ 6712 w 10000"/>
                <a:gd name="connsiteY9" fmla="*/ 2858 h 10000"/>
                <a:gd name="connsiteX10" fmla="*/ 6953 w 10000"/>
                <a:gd name="connsiteY10" fmla="*/ 3424 h 10000"/>
                <a:gd name="connsiteX11" fmla="*/ 7618 w 10000"/>
                <a:gd name="connsiteY11" fmla="*/ 3747 h 10000"/>
                <a:gd name="connsiteX12" fmla="*/ 7993 w 10000"/>
                <a:gd name="connsiteY12" fmla="*/ 4340 h 10000"/>
                <a:gd name="connsiteX13" fmla="*/ 7418 w 10000"/>
                <a:gd name="connsiteY13" fmla="*/ 4556 h 10000"/>
                <a:gd name="connsiteX14" fmla="*/ 6294 w 10000"/>
                <a:gd name="connsiteY14" fmla="*/ 6038 h 10000"/>
                <a:gd name="connsiteX15" fmla="*/ 6406 w 10000"/>
                <a:gd name="connsiteY15" fmla="*/ 6298 h 10000"/>
                <a:gd name="connsiteX16" fmla="*/ 6382 w 10000"/>
                <a:gd name="connsiteY16" fmla="*/ 6865 h 10000"/>
                <a:gd name="connsiteX17" fmla="*/ 6317 w 10000"/>
                <a:gd name="connsiteY17" fmla="*/ 8202 h 10000"/>
                <a:gd name="connsiteX18" fmla="*/ 6317 w 10000"/>
                <a:gd name="connsiteY18" fmla="*/ 8293 h 10000"/>
                <a:gd name="connsiteX19" fmla="*/ 5917 w 10000"/>
                <a:gd name="connsiteY19" fmla="*/ 9873 h 10000"/>
                <a:gd name="connsiteX20" fmla="*/ 5876 w 10000"/>
                <a:gd name="connsiteY20" fmla="*/ 9891 h 10000"/>
                <a:gd name="connsiteX21" fmla="*/ 5740 w 10000"/>
                <a:gd name="connsiteY21" fmla="*/ 9864 h 10000"/>
                <a:gd name="connsiteX22" fmla="*/ 5366 w 10000"/>
                <a:gd name="connsiteY22" fmla="*/ 8185 h 10000"/>
                <a:gd name="connsiteX23" fmla="*/ 5566 w 10000"/>
                <a:gd name="connsiteY23" fmla="*/ 6253 h 10000"/>
                <a:gd name="connsiteX24" fmla="*/ 5740 w 10000"/>
                <a:gd name="connsiteY24" fmla="*/ 5957 h 10000"/>
                <a:gd name="connsiteX25" fmla="*/ 5764 w 10000"/>
                <a:gd name="connsiteY25" fmla="*/ 5885 h 10000"/>
                <a:gd name="connsiteX26" fmla="*/ 5279 w 10000"/>
                <a:gd name="connsiteY26" fmla="*/ 4098 h 10000"/>
                <a:gd name="connsiteX27" fmla="*/ 5055 w 10000"/>
                <a:gd name="connsiteY27" fmla="*/ 3073 h 10000"/>
                <a:gd name="connsiteX28" fmla="*/ 5588 w 10000"/>
                <a:gd name="connsiteY28" fmla="*/ 2004 h 10000"/>
                <a:gd name="connsiteX29" fmla="*/ 5917 w 10000"/>
                <a:gd name="connsiteY29" fmla="*/ 1600 h 10000"/>
                <a:gd name="connsiteX30" fmla="*/ 5984 w 10000"/>
                <a:gd name="connsiteY30" fmla="*/ 1493 h 10000"/>
                <a:gd name="connsiteX31" fmla="*/ 5695 w 10000"/>
                <a:gd name="connsiteY31" fmla="*/ 262 h 10000"/>
                <a:gd name="connsiteX32" fmla="*/ 4261 w 10000"/>
                <a:gd name="connsiteY32" fmla="*/ 1 h 10000"/>
                <a:gd name="connsiteX33" fmla="*/ 3489 w 10000"/>
                <a:gd name="connsiteY33" fmla="*/ 136 h 10000"/>
                <a:gd name="connsiteX34" fmla="*/ 3311 w 10000"/>
                <a:gd name="connsiteY34" fmla="*/ 621 h 10000"/>
                <a:gd name="connsiteX35" fmla="*/ 3089 w 10000"/>
                <a:gd name="connsiteY35" fmla="*/ 999 h 10000"/>
                <a:gd name="connsiteX36" fmla="*/ 2051 w 10000"/>
                <a:gd name="connsiteY36" fmla="*/ 703 h 10000"/>
                <a:gd name="connsiteX37" fmla="*/ 707 w 10000"/>
                <a:gd name="connsiteY37" fmla="*/ 307 h 10000"/>
                <a:gd name="connsiteX38" fmla="*/ 44 w 10000"/>
                <a:gd name="connsiteY38" fmla="*/ 280 h 10000"/>
                <a:gd name="connsiteX39" fmla="*/ 44 w 10000"/>
                <a:gd name="connsiteY39" fmla="*/ 280 h 10000"/>
                <a:gd name="connsiteX40" fmla="*/ 572 w 10000"/>
                <a:gd name="connsiteY40" fmla="*/ 432 h 10000"/>
                <a:gd name="connsiteX41" fmla="*/ 0 w 10000"/>
                <a:gd name="connsiteY41" fmla="*/ 603 h 10000"/>
                <a:gd name="connsiteX42" fmla="*/ 0 w 10000"/>
                <a:gd name="connsiteY42" fmla="*/ 603 h 10000"/>
                <a:gd name="connsiteX43" fmla="*/ 725 w 10000"/>
                <a:gd name="connsiteY43" fmla="*/ 586 h 10000"/>
                <a:gd name="connsiteX44" fmla="*/ 1589 w 10000"/>
                <a:gd name="connsiteY44" fmla="*/ 864 h 10000"/>
                <a:gd name="connsiteX45" fmla="*/ 3290 w 10000"/>
                <a:gd name="connsiteY45" fmla="*/ 1233 h 10000"/>
                <a:gd name="connsiteX46" fmla="*/ 3910 w 10000"/>
                <a:gd name="connsiteY46" fmla="*/ 594 h 10000"/>
                <a:gd name="connsiteX47" fmla="*/ 3953 w 10000"/>
                <a:gd name="connsiteY47" fmla="*/ 298 h 10000"/>
                <a:gd name="connsiteX48" fmla="*/ 4306 w 10000"/>
                <a:gd name="connsiteY48" fmla="*/ 253 h 10000"/>
                <a:gd name="connsiteX49" fmla="*/ 5232 w 10000"/>
                <a:gd name="connsiteY49" fmla="*/ 414 h 10000"/>
                <a:gd name="connsiteX50" fmla="*/ 5432 w 10000"/>
                <a:gd name="connsiteY50" fmla="*/ 1421 h 10000"/>
                <a:gd name="connsiteX51" fmla="*/ 5344 w 10000"/>
                <a:gd name="connsiteY51" fmla="*/ 1528 h 10000"/>
                <a:gd name="connsiteX52" fmla="*/ 5055 w 10000"/>
                <a:gd name="connsiteY52" fmla="*/ 1889 h 10000"/>
                <a:gd name="connsiteX53" fmla="*/ 4458 w 10000"/>
                <a:gd name="connsiteY53" fmla="*/ 3109 h 10000"/>
                <a:gd name="connsiteX54" fmla="*/ 4703 w 10000"/>
                <a:gd name="connsiteY54" fmla="*/ 4170 h 10000"/>
                <a:gd name="connsiteX55" fmla="*/ 5170 w 10000"/>
                <a:gd name="connsiteY55" fmla="*/ 5859 h 10000"/>
                <a:gd name="connsiteX56" fmla="*/ 5147 w 10000"/>
                <a:gd name="connsiteY56" fmla="*/ 5930 h 10000"/>
                <a:gd name="connsiteX57" fmla="*/ 5301 w 10000"/>
                <a:gd name="connsiteY57" fmla="*/ 6253 h 10000"/>
                <a:gd name="connsiteX58" fmla="*/ 5100 w 10000"/>
                <a:gd name="connsiteY58" fmla="*/ 8185 h 10000"/>
                <a:gd name="connsiteX59" fmla="*/ 5566 w 10000"/>
                <a:gd name="connsiteY59" fmla="*/ 9946 h 10000"/>
                <a:gd name="connsiteX60" fmla="*/ 5876 w 10000"/>
                <a:gd name="connsiteY60" fmla="*/ 10000 h 10000"/>
                <a:gd name="connsiteX61" fmla="*/ 6118 w 10000"/>
                <a:gd name="connsiteY61" fmla="*/ 9954 h 10000"/>
                <a:gd name="connsiteX62" fmla="*/ 6579 w 10000"/>
                <a:gd name="connsiteY62" fmla="*/ 8293 h 10000"/>
                <a:gd name="connsiteX63" fmla="*/ 6579 w 10000"/>
                <a:gd name="connsiteY63" fmla="*/ 8202 h 10000"/>
                <a:gd name="connsiteX64" fmla="*/ 6649 w 10000"/>
                <a:gd name="connsiteY64" fmla="*/ 6865 h 10000"/>
                <a:gd name="connsiteX65" fmla="*/ 6690 w 10000"/>
                <a:gd name="connsiteY65" fmla="*/ 6308 h 10000"/>
                <a:gd name="connsiteX66" fmla="*/ 6890 w 10000"/>
                <a:gd name="connsiteY66" fmla="*/ 6038 h 10000"/>
                <a:gd name="connsiteX67" fmla="*/ 7751 w 10000"/>
                <a:gd name="connsiteY67" fmla="*/ 4763 h 10000"/>
                <a:gd name="connsiteX68" fmla="*/ 8477 w 10000"/>
                <a:gd name="connsiteY68" fmla="*/ 4474 h 10000"/>
                <a:gd name="connsiteX69" fmla="*/ 8060 w 10000"/>
                <a:gd name="connsiteY69" fmla="*/ 3577 h 10000"/>
                <a:gd name="connsiteX70" fmla="*/ 7486 w 10000"/>
                <a:gd name="connsiteY70" fmla="*/ 3288 h 10000"/>
                <a:gd name="connsiteX71" fmla="*/ 7263 w 10000"/>
                <a:gd name="connsiteY71" fmla="*/ 2940 h 10000"/>
                <a:gd name="connsiteX72" fmla="*/ 8146 w 10000"/>
                <a:gd name="connsiteY72" fmla="*/ 2714 h 10000"/>
                <a:gd name="connsiteX73" fmla="*/ 9847 w 10000"/>
                <a:gd name="connsiteY73" fmla="*/ 2094 h 10000"/>
                <a:gd name="connsiteX74" fmla="*/ 9803 w 10000"/>
                <a:gd name="connsiteY74" fmla="*/ 1501 h 10000"/>
                <a:gd name="connsiteX75" fmla="*/ 9386 w 10000"/>
                <a:gd name="connsiteY75" fmla="*/ 1367 h 10000"/>
                <a:gd name="connsiteX76" fmla="*/ 8036 w 10000"/>
                <a:gd name="connsiteY76" fmla="*/ 1564 h 10000"/>
                <a:gd name="connsiteX77" fmla="*/ 7505 w 10000"/>
                <a:gd name="connsiteY77" fmla="*/ 1691 h 10000"/>
                <a:gd name="connsiteX78" fmla="*/ 7331 w 10000"/>
                <a:gd name="connsiteY78" fmla="*/ 1592 h 10000"/>
                <a:gd name="connsiteX79" fmla="*/ 8016 w 10000"/>
                <a:gd name="connsiteY79" fmla="*/ 1286 h 10000"/>
                <a:gd name="connsiteX0" fmla="*/ 8016 w 10000"/>
                <a:gd name="connsiteY0" fmla="*/ 1286 h 10000"/>
                <a:gd name="connsiteX1" fmla="*/ 6781 w 10000"/>
                <a:gd name="connsiteY1" fmla="*/ 1754 h 10000"/>
                <a:gd name="connsiteX2" fmla="*/ 7131 w 10000"/>
                <a:gd name="connsiteY2" fmla="*/ 1933 h 10000"/>
                <a:gd name="connsiteX3" fmla="*/ 8367 w 10000"/>
                <a:gd name="connsiteY3" fmla="*/ 1772 h 10000"/>
                <a:gd name="connsiteX4" fmla="*/ 9053 w 10000"/>
                <a:gd name="connsiteY4" fmla="*/ 1610 h 10000"/>
                <a:gd name="connsiteX5" fmla="*/ 9295 w 10000"/>
                <a:gd name="connsiteY5" fmla="*/ 1626 h 10000"/>
                <a:gd name="connsiteX6" fmla="*/ 9295 w 10000"/>
                <a:gd name="connsiteY6" fmla="*/ 1996 h 10000"/>
                <a:gd name="connsiteX7" fmla="*/ 7970 w 10000"/>
                <a:gd name="connsiteY7" fmla="*/ 2481 h 10000"/>
                <a:gd name="connsiteX8" fmla="*/ 6712 w 10000"/>
                <a:gd name="connsiteY8" fmla="*/ 2858 h 10000"/>
                <a:gd name="connsiteX9" fmla="*/ 6953 w 10000"/>
                <a:gd name="connsiteY9" fmla="*/ 3424 h 10000"/>
                <a:gd name="connsiteX10" fmla="*/ 7618 w 10000"/>
                <a:gd name="connsiteY10" fmla="*/ 3747 h 10000"/>
                <a:gd name="connsiteX11" fmla="*/ 7993 w 10000"/>
                <a:gd name="connsiteY11" fmla="*/ 4340 h 10000"/>
                <a:gd name="connsiteX12" fmla="*/ 7418 w 10000"/>
                <a:gd name="connsiteY12" fmla="*/ 4556 h 10000"/>
                <a:gd name="connsiteX13" fmla="*/ 6294 w 10000"/>
                <a:gd name="connsiteY13" fmla="*/ 6038 h 10000"/>
                <a:gd name="connsiteX14" fmla="*/ 6406 w 10000"/>
                <a:gd name="connsiteY14" fmla="*/ 6298 h 10000"/>
                <a:gd name="connsiteX15" fmla="*/ 6382 w 10000"/>
                <a:gd name="connsiteY15" fmla="*/ 6865 h 10000"/>
                <a:gd name="connsiteX16" fmla="*/ 6317 w 10000"/>
                <a:gd name="connsiteY16" fmla="*/ 8202 h 10000"/>
                <a:gd name="connsiteX17" fmla="*/ 6317 w 10000"/>
                <a:gd name="connsiteY17" fmla="*/ 8293 h 10000"/>
                <a:gd name="connsiteX18" fmla="*/ 5917 w 10000"/>
                <a:gd name="connsiteY18" fmla="*/ 9873 h 10000"/>
                <a:gd name="connsiteX19" fmla="*/ 5876 w 10000"/>
                <a:gd name="connsiteY19" fmla="*/ 9891 h 10000"/>
                <a:gd name="connsiteX20" fmla="*/ 5740 w 10000"/>
                <a:gd name="connsiteY20" fmla="*/ 9864 h 10000"/>
                <a:gd name="connsiteX21" fmla="*/ 5366 w 10000"/>
                <a:gd name="connsiteY21" fmla="*/ 8185 h 10000"/>
                <a:gd name="connsiteX22" fmla="*/ 5566 w 10000"/>
                <a:gd name="connsiteY22" fmla="*/ 6253 h 10000"/>
                <a:gd name="connsiteX23" fmla="*/ 5740 w 10000"/>
                <a:gd name="connsiteY23" fmla="*/ 5957 h 10000"/>
                <a:gd name="connsiteX24" fmla="*/ 5764 w 10000"/>
                <a:gd name="connsiteY24" fmla="*/ 5885 h 10000"/>
                <a:gd name="connsiteX25" fmla="*/ 5279 w 10000"/>
                <a:gd name="connsiteY25" fmla="*/ 4098 h 10000"/>
                <a:gd name="connsiteX26" fmla="*/ 5055 w 10000"/>
                <a:gd name="connsiteY26" fmla="*/ 3073 h 10000"/>
                <a:gd name="connsiteX27" fmla="*/ 5588 w 10000"/>
                <a:gd name="connsiteY27" fmla="*/ 2004 h 10000"/>
                <a:gd name="connsiteX28" fmla="*/ 5917 w 10000"/>
                <a:gd name="connsiteY28" fmla="*/ 1600 h 10000"/>
                <a:gd name="connsiteX29" fmla="*/ 5984 w 10000"/>
                <a:gd name="connsiteY29" fmla="*/ 1493 h 10000"/>
                <a:gd name="connsiteX30" fmla="*/ 5695 w 10000"/>
                <a:gd name="connsiteY30" fmla="*/ 262 h 10000"/>
                <a:gd name="connsiteX31" fmla="*/ 4261 w 10000"/>
                <a:gd name="connsiteY31" fmla="*/ 1 h 10000"/>
                <a:gd name="connsiteX32" fmla="*/ 3489 w 10000"/>
                <a:gd name="connsiteY32" fmla="*/ 136 h 10000"/>
                <a:gd name="connsiteX33" fmla="*/ 3311 w 10000"/>
                <a:gd name="connsiteY33" fmla="*/ 621 h 10000"/>
                <a:gd name="connsiteX34" fmla="*/ 3089 w 10000"/>
                <a:gd name="connsiteY34" fmla="*/ 999 h 10000"/>
                <a:gd name="connsiteX35" fmla="*/ 2051 w 10000"/>
                <a:gd name="connsiteY35" fmla="*/ 703 h 10000"/>
                <a:gd name="connsiteX36" fmla="*/ 707 w 10000"/>
                <a:gd name="connsiteY36" fmla="*/ 307 h 10000"/>
                <a:gd name="connsiteX37" fmla="*/ 44 w 10000"/>
                <a:gd name="connsiteY37" fmla="*/ 280 h 10000"/>
                <a:gd name="connsiteX38" fmla="*/ 44 w 10000"/>
                <a:gd name="connsiteY38" fmla="*/ 280 h 10000"/>
                <a:gd name="connsiteX39" fmla="*/ 572 w 10000"/>
                <a:gd name="connsiteY39" fmla="*/ 432 h 10000"/>
                <a:gd name="connsiteX40" fmla="*/ 0 w 10000"/>
                <a:gd name="connsiteY40" fmla="*/ 603 h 10000"/>
                <a:gd name="connsiteX41" fmla="*/ 0 w 10000"/>
                <a:gd name="connsiteY41" fmla="*/ 603 h 10000"/>
                <a:gd name="connsiteX42" fmla="*/ 725 w 10000"/>
                <a:gd name="connsiteY42" fmla="*/ 586 h 10000"/>
                <a:gd name="connsiteX43" fmla="*/ 1589 w 10000"/>
                <a:gd name="connsiteY43" fmla="*/ 864 h 10000"/>
                <a:gd name="connsiteX44" fmla="*/ 3290 w 10000"/>
                <a:gd name="connsiteY44" fmla="*/ 1233 h 10000"/>
                <a:gd name="connsiteX45" fmla="*/ 3910 w 10000"/>
                <a:gd name="connsiteY45" fmla="*/ 594 h 10000"/>
                <a:gd name="connsiteX46" fmla="*/ 3953 w 10000"/>
                <a:gd name="connsiteY46" fmla="*/ 298 h 10000"/>
                <a:gd name="connsiteX47" fmla="*/ 4306 w 10000"/>
                <a:gd name="connsiteY47" fmla="*/ 253 h 10000"/>
                <a:gd name="connsiteX48" fmla="*/ 5232 w 10000"/>
                <a:gd name="connsiteY48" fmla="*/ 414 h 10000"/>
                <a:gd name="connsiteX49" fmla="*/ 5432 w 10000"/>
                <a:gd name="connsiteY49" fmla="*/ 1421 h 10000"/>
                <a:gd name="connsiteX50" fmla="*/ 5344 w 10000"/>
                <a:gd name="connsiteY50" fmla="*/ 1528 h 10000"/>
                <a:gd name="connsiteX51" fmla="*/ 5055 w 10000"/>
                <a:gd name="connsiteY51" fmla="*/ 1889 h 10000"/>
                <a:gd name="connsiteX52" fmla="*/ 4458 w 10000"/>
                <a:gd name="connsiteY52" fmla="*/ 3109 h 10000"/>
                <a:gd name="connsiteX53" fmla="*/ 4703 w 10000"/>
                <a:gd name="connsiteY53" fmla="*/ 4170 h 10000"/>
                <a:gd name="connsiteX54" fmla="*/ 5170 w 10000"/>
                <a:gd name="connsiteY54" fmla="*/ 5859 h 10000"/>
                <a:gd name="connsiteX55" fmla="*/ 5147 w 10000"/>
                <a:gd name="connsiteY55" fmla="*/ 5930 h 10000"/>
                <a:gd name="connsiteX56" fmla="*/ 5301 w 10000"/>
                <a:gd name="connsiteY56" fmla="*/ 6253 h 10000"/>
                <a:gd name="connsiteX57" fmla="*/ 5100 w 10000"/>
                <a:gd name="connsiteY57" fmla="*/ 8185 h 10000"/>
                <a:gd name="connsiteX58" fmla="*/ 5566 w 10000"/>
                <a:gd name="connsiteY58" fmla="*/ 9946 h 10000"/>
                <a:gd name="connsiteX59" fmla="*/ 5876 w 10000"/>
                <a:gd name="connsiteY59" fmla="*/ 10000 h 10000"/>
                <a:gd name="connsiteX60" fmla="*/ 6118 w 10000"/>
                <a:gd name="connsiteY60" fmla="*/ 9954 h 10000"/>
                <a:gd name="connsiteX61" fmla="*/ 6579 w 10000"/>
                <a:gd name="connsiteY61" fmla="*/ 8293 h 10000"/>
                <a:gd name="connsiteX62" fmla="*/ 6579 w 10000"/>
                <a:gd name="connsiteY62" fmla="*/ 8202 h 10000"/>
                <a:gd name="connsiteX63" fmla="*/ 6649 w 10000"/>
                <a:gd name="connsiteY63" fmla="*/ 6865 h 10000"/>
                <a:gd name="connsiteX64" fmla="*/ 6690 w 10000"/>
                <a:gd name="connsiteY64" fmla="*/ 6308 h 10000"/>
                <a:gd name="connsiteX65" fmla="*/ 6890 w 10000"/>
                <a:gd name="connsiteY65" fmla="*/ 6038 h 10000"/>
                <a:gd name="connsiteX66" fmla="*/ 7751 w 10000"/>
                <a:gd name="connsiteY66" fmla="*/ 4763 h 10000"/>
                <a:gd name="connsiteX67" fmla="*/ 8477 w 10000"/>
                <a:gd name="connsiteY67" fmla="*/ 4474 h 10000"/>
                <a:gd name="connsiteX68" fmla="*/ 8060 w 10000"/>
                <a:gd name="connsiteY68" fmla="*/ 3577 h 10000"/>
                <a:gd name="connsiteX69" fmla="*/ 7486 w 10000"/>
                <a:gd name="connsiteY69" fmla="*/ 3288 h 10000"/>
                <a:gd name="connsiteX70" fmla="*/ 7263 w 10000"/>
                <a:gd name="connsiteY70" fmla="*/ 2940 h 10000"/>
                <a:gd name="connsiteX71" fmla="*/ 8146 w 10000"/>
                <a:gd name="connsiteY71" fmla="*/ 2714 h 10000"/>
                <a:gd name="connsiteX72" fmla="*/ 9847 w 10000"/>
                <a:gd name="connsiteY72" fmla="*/ 2094 h 10000"/>
                <a:gd name="connsiteX73" fmla="*/ 9803 w 10000"/>
                <a:gd name="connsiteY73" fmla="*/ 1501 h 10000"/>
                <a:gd name="connsiteX74" fmla="*/ 9386 w 10000"/>
                <a:gd name="connsiteY74" fmla="*/ 1367 h 10000"/>
                <a:gd name="connsiteX75" fmla="*/ 8036 w 10000"/>
                <a:gd name="connsiteY75" fmla="*/ 1564 h 10000"/>
                <a:gd name="connsiteX76" fmla="*/ 7505 w 10000"/>
                <a:gd name="connsiteY76" fmla="*/ 1691 h 10000"/>
                <a:gd name="connsiteX77" fmla="*/ 7331 w 10000"/>
                <a:gd name="connsiteY77" fmla="*/ 1592 h 10000"/>
                <a:gd name="connsiteX78" fmla="*/ 8016 w 10000"/>
                <a:gd name="connsiteY78" fmla="*/ 1286 h 10000"/>
                <a:gd name="connsiteX0" fmla="*/ 7331 w 10000"/>
                <a:gd name="connsiteY0" fmla="*/ 1592 h 10000"/>
                <a:gd name="connsiteX1" fmla="*/ 6781 w 10000"/>
                <a:gd name="connsiteY1" fmla="*/ 1754 h 10000"/>
                <a:gd name="connsiteX2" fmla="*/ 7131 w 10000"/>
                <a:gd name="connsiteY2" fmla="*/ 1933 h 10000"/>
                <a:gd name="connsiteX3" fmla="*/ 8367 w 10000"/>
                <a:gd name="connsiteY3" fmla="*/ 1772 h 10000"/>
                <a:gd name="connsiteX4" fmla="*/ 9053 w 10000"/>
                <a:gd name="connsiteY4" fmla="*/ 1610 h 10000"/>
                <a:gd name="connsiteX5" fmla="*/ 9295 w 10000"/>
                <a:gd name="connsiteY5" fmla="*/ 1626 h 10000"/>
                <a:gd name="connsiteX6" fmla="*/ 9295 w 10000"/>
                <a:gd name="connsiteY6" fmla="*/ 1996 h 10000"/>
                <a:gd name="connsiteX7" fmla="*/ 7970 w 10000"/>
                <a:gd name="connsiteY7" fmla="*/ 2481 h 10000"/>
                <a:gd name="connsiteX8" fmla="*/ 6712 w 10000"/>
                <a:gd name="connsiteY8" fmla="*/ 2858 h 10000"/>
                <a:gd name="connsiteX9" fmla="*/ 6953 w 10000"/>
                <a:gd name="connsiteY9" fmla="*/ 3424 h 10000"/>
                <a:gd name="connsiteX10" fmla="*/ 7618 w 10000"/>
                <a:gd name="connsiteY10" fmla="*/ 3747 h 10000"/>
                <a:gd name="connsiteX11" fmla="*/ 7993 w 10000"/>
                <a:gd name="connsiteY11" fmla="*/ 4340 h 10000"/>
                <a:gd name="connsiteX12" fmla="*/ 7418 w 10000"/>
                <a:gd name="connsiteY12" fmla="*/ 4556 h 10000"/>
                <a:gd name="connsiteX13" fmla="*/ 6294 w 10000"/>
                <a:gd name="connsiteY13" fmla="*/ 6038 h 10000"/>
                <a:gd name="connsiteX14" fmla="*/ 6406 w 10000"/>
                <a:gd name="connsiteY14" fmla="*/ 6298 h 10000"/>
                <a:gd name="connsiteX15" fmla="*/ 6382 w 10000"/>
                <a:gd name="connsiteY15" fmla="*/ 6865 h 10000"/>
                <a:gd name="connsiteX16" fmla="*/ 6317 w 10000"/>
                <a:gd name="connsiteY16" fmla="*/ 8202 h 10000"/>
                <a:gd name="connsiteX17" fmla="*/ 6317 w 10000"/>
                <a:gd name="connsiteY17" fmla="*/ 8293 h 10000"/>
                <a:gd name="connsiteX18" fmla="*/ 5917 w 10000"/>
                <a:gd name="connsiteY18" fmla="*/ 9873 h 10000"/>
                <a:gd name="connsiteX19" fmla="*/ 5876 w 10000"/>
                <a:gd name="connsiteY19" fmla="*/ 9891 h 10000"/>
                <a:gd name="connsiteX20" fmla="*/ 5740 w 10000"/>
                <a:gd name="connsiteY20" fmla="*/ 9864 h 10000"/>
                <a:gd name="connsiteX21" fmla="*/ 5366 w 10000"/>
                <a:gd name="connsiteY21" fmla="*/ 8185 h 10000"/>
                <a:gd name="connsiteX22" fmla="*/ 5566 w 10000"/>
                <a:gd name="connsiteY22" fmla="*/ 6253 h 10000"/>
                <a:gd name="connsiteX23" fmla="*/ 5740 w 10000"/>
                <a:gd name="connsiteY23" fmla="*/ 5957 h 10000"/>
                <a:gd name="connsiteX24" fmla="*/ 5764 w 10000"/>
                <a:gd name="connsiteY24" fmla="*/ 5885 h 10000"/>
                <a:gd name="connsiteX25" fmla="*/ 5279 w 10000"/>
                <a:gd name="connsiteY25" fmla="*/ 4098 h 10000"/>
                <a:gd name="connsiteX26" fmla="*/ 5055 w 10000"/>
                <a:gd name="connsiteY26" fmla="*/ 3073 h 10000"/>
                <a:gd name="connsiteX27" fmla="*/ 5588 w 10000"/>
                <a:gd name="connsiteY27" fmla="*/ 2004 h 10000"/>
                <a:gd name="connsiteX28" fmla="*/ 5917 w 10000"/>
                <a:gd name="connsiteY28" fmla="*/ 1600 h 10000"/>
                <a:gd name="connsiteX29" fmla="*/ 5984 w 10000"/>
                <a:gd name="connsiteY29" fmla="*/ 1493 h 10000"/>
                <a:gd name="connsiteX30" fmla="*/ 5695 w 10000"/>
                <a:gd name="connsiteY30" fmla="*/ 262 h 10000"/>
                <a:gd name="connsiteX31" fmla="*/ 4261 w 10000"/>
                <a:gd name="connsiteY31" fmla="*/ 1 h 10000"/>
                <a:gd name="connsiteX32" fmla="*/ 3489 w 10000"/>
                <a:gd name="connsiteY32" fmla="*/ 136 h 10000"/>
                <a:gd name="connsiteX33" fmla="*/ 3311 w 10000"/>
                <a:gd name="connsiteY33" fmla="*/ 621 h 10000"/>
                <a:gd name="connsiteX34" fmla="*/ 3089 w 10000"/>
                <a:gd name="connsiteY34" fmla="*/ 999 h 10000"/>
                <a:gd name="connsiteX35" fmla="*/ 2051 w 10000"/>
                <a:gd name="connsiteY35" fmla="*/ 703 h 10000"/>
                <a:gd name="connsiteX36" fmla="*/ 707 w 10000"/>
                <a:gd name="connsiteY36" fmla="*/ 307 h 10000"/>
                <a:gd name="connsiteX37" fmla="*/ 44 w 10000"/>
                <a:gd name="connsiteY37" fmla="*/ 280 h 10000"/>
                <a:gd name="connsiteX38" fmla="*/ 44 w 10000"/>
                <a:gd name="connsiteY38" fmla="*/ 280 h 10000"/>
                <a:gd name="connsiteX39" fmla="*/ 572 w 10000"/>
                <a:gd name="connsiteY39" fmla="*/ 432 h 10000"/>
                <a:gd name="connsiteX40" fmla="*/ 0 w 10000"/>
                <a:gd name="connsiteY40" fmla="*/ 603 h 10000"/>
                <a:gd name="connsiteX41" fmla="*/ 0 w 10000"/>
                <a:gd name="connsiteY41" fmla="*/ 603 h 10000"/>
                <a:gd name="connsiteX42" fmla="*/ 725 w 10000"/>
                <a:gd name="connsiteY42" fmla="*/ 586 h 10000"/>
                <a:gd name="connsiteX43" fmla="*/ 1589 w 10000"/>
                <a:gd name="connsiteY43" fmla="*/ 864 h 10000"/>
                <a:gd name="connsiteX44" fmla="*/ 3290 w 10000"/>
                <a:gd name="connsiteY44" fmla="*/ 1233 h 10000"/>
                <a:gd name="connsiteX45" fmla="*/ 3910 w 10000"/>
                <a:gd name="connsiteY45" fmla="*/ 594 h 10000"/>
                <a:gd name="connsiteX46" fmla="*/ 3953 w 10000"/>
                <a:gd name="connsiteY46" fmla="*/ 298 h 10000"/>
                <a:gd name="connsiteX47" fmla="*/ 4306 w 10000"/>
                <a:gd name="connsiteY47" fmla="*/ 253 h 10000"/>
                <a:gd name="connsiteX48" fmla="*/ 5232 w 10000"/>
                <a:gd name="connsiteY48" fmla="*/ 414 h 10000"/>
                <a:gd name="connsiteX49" fmla="*/ 5432 w 10000"/>
                <a:gd name="connsiteY49" fmla="*/ 1421 h 10000"/>
                <a:gd name="connsiteX50" fmla="*/ 5344 w 10000"/>
                <a:gd name="connsiteY50" fmla="*/ 1528 h 10000"/>
                <a:gd name="connsiteX51" fmla="*/ 5055 w 10000"/>
                <a:gd name="connsiteY51" fmla="*/ 1889 h 10000"/>
                <a:gd name="connsiteX52" fmla="*/ 4458 w 10000"/>
                <a:gd name="connsiteY52" fmla="*/ 3109 h 10000"/>
                <a:gd name="connsiteX53" fmla="*/ 4703 w 10000"/>
                <a:gd name="connsiteY53" fmla="*/ 4170 h 10000"/>
                <a:gd name="connsiteX54" fmla="*/ 5170 w 10000"/>
                <a:gd name="connsiteY54" fmla="*/ 5859 h 10000"/>
                <a:gd name="connsiteX55" fmla="*/ 5147 w 10000"/>
                <a:gd name="connsiteY55" fmla="*/ 5930 h 10000"/>
                <a:gd name="connsiteX56" fmla="*/ 5301 w 10000"/>
                <a:gd name="connsiteY56" fmla="*/ 6253 h 10000"/>
                <a:gd name="connsiteX57" fmla="*/ 5100 w 10000"/>
                <a:gd name="connsiteY57" fmla="*/ 8185 h 10000"/>
                <a:gd name="connsiteX58" fmla="*/ 5566 w 10000"/>
                <a:gd name="connsiteY58" fmla="*/ 9946 h 10000"/>
                <a:gd name="connsiteX59" fmla="*/ 5876 w 10000"/>
                <a:gd name="connsiteY59" fmla="*/ 10000 h 10000"/>
                <a:gd name="connsiteX60" fmla="*/ 6118 w 10000"/>
                <a:gd name="connsiteY60" fmla="*/ 9954 h 10000"/>
                <a:gd name="connsiteX61" fmla="*/ 6579 w 10000"/>
                <a:gd name="connsiteY61" fmla="*/ 8293 h 10000"/>
                <a:gd name="connsiteX62" fmla="*/ 6579 w 10000"/>
                <a:gd name="connsiteY62" fmla="*/ 8202 h 10000"/>
                <a:gd name="connsiteX63" fmla="*/ 6649 w 10000"/>
                <a:gd name="connsiteY63" fmla="*/ 6865 h 10000"/>
                <a:gd name="connsiteX64" fmla="*/ 6690 w 10000"/>
                <a:gd name="connsiteY64" fmla="*/ 6308 h 10000"/>
                <a:gd name="connsiteX65" fmla="*/ 6890 w 10000"/>
                <a:gd name="connsiteY65" fmla="*/ 6038 h 10000"/>
                <a:gd name="connsiteX66" fmla="*/ 7751 w 10000"/>
                <a:gd name="connsiteY66" fmla="*/ 4763 h 10000"/>
                <a:gd name="connsiteX67" fmla="*/ 8477 w 10000"/>
                <a:gd name="connsiteY67" fmla="*/ 4474 h 10000"/>
                <a:gd name="connsiteX68" fmla="*/ 8060 w 10000"/>
                <a:gd name="connsiteY68" fmla="*/ 3577 h 10000"/>
                <a:gd name="connsiteX69" fmla="*/ 7486 w 10000"/>
                <a:gd name="connsiteY69" fmla="*/ 3288 h 10000"/>
                <a:gd name="connsiteX70" fmla="*/ 7263 w 10000"/>
                <a:gd name="connsiteY70" fmla="*/ 2940 h 10000"/>
                <a:gd name="connsiteX71" fmla="*/ 8146 w 10000"/>
                <a:gd name="connsiteY71" fmla="*/ 2714 h 10000"/>
                <a:gd name="connsiteX72" fmla="*/ 9847 w 10000"/>
                <a:gd name="connsiteY72" fmla="*/ 2094 h 10000"/>
                <a:gd name="connsiteX73" fmla="*/ 9803 w 10000"/>
                <a:gd name="connsiteY73" fmla="*/ 1501 h 10000"/>
                <a:gd name="connsiteX74" fmla="*/ 9386 w 10000"/>
                <a:gd name="connsiteY74" fmla="*/ 1367 h 10000"/>
                <a:gd name="connsiteX75" fmla="*/ 8036 w 10000"/>
                <a:gd name="connsiteY75" fmla="*/ 1564 h 10000"/>
                <a:gd name="connsiteX76" fmla="*/ 7505 w 10000"/>
                <a:gd name="connsiteY76" fmla="*/ 1691 h 10000"/>
                <a:gd name="connsiteX77" fmla="*/ 7331 w 10000"/>
                <a:gd name="connsiteY77" fmla="*/ 1592 h 10000"/>
                <a:gd name="connsiteX0" fmla="*/ 7505 w 10000"/>
                <a:gd name="connsiteY0" fmla="*/ 1691 h 10000"/>
                <a:gd name="connsiteX1" fmla="*/ 6781 w 10000"/>
                <a:gd name="connsiteY1" fmla="*/ 1754 h 10000"/>
                <a:gd name="connsiteX2" fmla="*/ 7131 w 10000"/>
                <a:gd name="connsiteY2" fmla="*/ 1933 h 10000"/>
                <a:gd name="connsiteX3" fmla="*/ 8367 w 10000"/>
                <a:gd name="connsiteY3" fmla="*/ 1772 h 10000"/>
                <a:gd name="connsiteX4" fmla="*/ 9053 w 10000"/>
                <a:gd name="connsiteY4" fmla="*/ 1610 h 10000"/>
                <a:gd name="connsiteX5" fmla="*/ 9295 w 10000"/>
                <a:gd name="connsiteY5" fmla="*/ 1626 h 10000"/>
                <a:gd name="connsiteX6" fmla="*/ 9295 w 10000"/>
                <a:gd name="connsiteY6" fmla="*/ 1996 h 10000"/>
                <a:gd name="connsiteX7" fmla="*/ 7970 w 10000"/>
                <a:gd name="connsiteY7" fmla="*/ 2481 h 10000"/>
                <a:gd name="connsiteX8" fmla="*/ 6712 w 10000"/>
                <a:gd name="connsiteY8" fmla="*/ 2858 h 10000"/>
                <a:gd name="connsiteX9" fmla="*/ 6953 w 10000"/>
                <a:gd name="connsiteY9" fmla="*/ 3424 h 10000"/>
                <a:gd name="connsiteX10" fmla="*/ 7618 w 10000"/>
                <a:gd name="connsiteY10" fmla="*/ 3747 h 10000"/>
                <a:gd name="connsiteX11" fmla="*/ 7993 w 10000"/>
                <a:gd name="connsiteY11" fmla="*/ 4340 h 10000"/>
                <a:gd name="connsiteX12" fmla="*/ 7418 w 10000"/>
                <a:gd name="connsiteY12" fmla="*/ 4556 h 10000"/>
                <a:gd name="connsiteX13" fmla="*/ 6294 w 10000"/>
                <a:gd name="connsiteY13" fmla="*/ 6038 h 10000"/>
                <a:gd name="connsiteX14" fmla="*/ 6406 w 10000"/>
                <a:gd name="connsiteY14" fmla="*/ 6298 h 10000"/>
                <a:gd name="connsiteX15" fmla="*/ 6382 w 10000"/>
                <a:gd name="connsiteY15" fmla="*/ 6865 h 10000"/>
                <a:gd name="connsiteX16" fmla="*/ 6317 w 10000"/>
                <a:gd name="connsiteY16" fmla="*/ 8202 h 10000"/>
                <a:gd name="connsiteX17" fmla="*/ 6317 w 10000"/>
                <a:gd name="connsiteY17" fmla="*/ 8293 h 10000"/>
                <a:gd name="connsiteX18" fmla="*/ 5917 w 10000"/>
                <a:gd name="connsiteY18" fmla="*/ 9873 h 10000"/>
                <a:gd name="connsiteX19" fmla="*/ 5876 w 10000"/>
                <a:gd name="connsiteY19" fmla="*/ 9891 h 10000"/>
                <a:gd name="connsiteX20" fmla="*/ 5740 w 10000"/>
                <a:gd name="connsiteY20" fmla="*/ 9864 h 10000"/>
                <a:gd name="connsiteX21" fmla="*/ 5366 w 10000"/>
                <a:gd name="connsiteY21" fmla="*/ 8185 h 10000"/>
                <a:gd name="connsiteX22" fmla="*/ 5566 w 10000"/>
                <a:gd name="connsiteY22" fmla="*/ 6253 h 10000"/>
                <a:gd name="connsiteX23" fmla="*/ 5740 w 10000"/>
                <a:gd name="connsiteY23" fmla="*/ 5957 h 10000"/>
                <a:gd name="connsiteX24" fmla="*/ 5764 w 10000"/>
                <a:gd name="connsiteY24" fmla="*/ 5885 h 10000"/>
                <a:gd name="connsiteX25" fmla="*/ 5279 w 10000"/>
                <a:gd name="connsiteY25" fmla="*/ 4098 h 10000"/>
                <a:gd name="connsiteX26" fmla="*/ 5055 w 10000"/>
                <a:gd name="connsiteY26" fmla="*/ 3073 h 10000"/>
                <a:gd name="connsiteX27" fmla="*/ 5588 w 10000"/>
                <a:gd name="connsiteY27" fmla="*/ 2004 h 10000"/>
                <a:gd name="connsiteX28" fmla="*/ 5917 w 10000"/>
                <a:gd name="connsiteY28" fmla="*/ 1600 h 10000"/>
                <a:gd name="connsiteX29" fmla="*/ 5984 w 10000"/>
                <a:gd name="connsiteY29" fmla="*/ 1493 h 10000"/>
                <a:gd name="connsiteX30" fmla="*/ 5695 w 10000"/>
                <a:gd name="connsiteY30" fmla="*/ 262 h 10000"/>
                <a:gd name="connsiteX31" fmla="*/ 4261 w 10000"/>
                <a:gd name="connsiteY31" fmla="*/ 1 h 10000"/>
                <a:gd name="connsiteX32" fmla="*/ 3489 w 10000"/>
                <a:gd name="connsiteY32" fmla="*/ 136 h 10000"/>
                <a:gd name="connsiteX33" fmla="*/ 3311 w 10000"/>
                <a:gd name="connsiteY33" fmla="*/ 621 h 10000"/>
                <a:gd name="connsiteX34" fmla="*/ 3089 w 10000"/>
                <a:gd name="connsiteY34" fmla="*/ 999 h 10000"/>
                <a:gd name="connsiteX35" fmla="*/ 2051 w 10000"/>
                <a:gd name="connsiteY35" fmla="*/ 703 h 10000"/>
                <a:gd name="connsiteX36" fmla="*/ 707 w 10000"/>
                <a:gd name="connsiteY36" fmla="*/ 307 h 10000"/>
                <a:gd name="connsiteX37" fmla="*/ 44 w 10000"/>
                <a:gd name="connsiteY37" fmla="*/ 280 h 10000"/>
                <a:gd name="connsiteX38" fmla="*/ 44 w 10000"/>
                <a:gd name="connsiteY38" fmla="*/ 280 h 10000"/>
                <a:gd name="connsiteX39" fmla="*/ 572 w 10000"/>
                <a:gd name="connsiteY39" fmla="*/ 432 h 10000"/>
                <a:gd name="connsiteX40" fmla="*/ 0 w 10000"/>
                <a:gd name="connsiteY40" fmla="*/ 603 h 10000"/>
                <a:gd name="connsiteX41" fmla="*/ 0 w 10000"/>
                <a:gd name="connsiteY41" fmla="*/ 603 h 10000"/>
                <a:gd name="connsiteX42" fmla="*/ 725 w 10000"/>
                <a:gd name="connsiteY42" fmla="*/ 586 h 10000"/>
                <a:gd name="connsiteX43" fmla="*/ 1589 w 10000"/>
                <a:gd name="connsiteY43" fmla="*/ 864 h 10000"/>
                <a:gd name="connsiteX44" fmla="*/ 3290 w 10000"/>
                <a:gd name="connsiteY44" fmla="*/ 1233 h 10000"/>
                <a:gd name="connsiteX45" fmla="*/ 3910 w 10000"/>
                <a:gd name="connsiteY45" fmla="*/ 594 h 10000"/>
                <a:gd name="connsiteX46" fmla="*/ 3953 w 10000"/>
                <a:gd name="connsiteY46" fmla="*/ 298 h 10000"/>
                <a:gd name="connsiteX47" fmla="*/ 4306 w 10000"/>
                <a:gd name="connsiteY47" fmla="*/ 253 h 10000"/>
                <a:gd name="connsiteX48" fmla="*/ 5232 w 10000"/>
                <a:gd name="connsiteY48" fmla="*/ 414 h 10000"/>
                <a:gd name="connsiteX49" fmla="*/ 5432 w 10000"/>
                <a:gd name="connsiteY49" fmla="*/ 1421 h 10000"/>
                <a:gd name="connsiteX50" fmla="*/ 5344 w 10000"/>
                <a:gd name="connsiteY50" fmla="*/ 1528 h 10000"/>
                <a:gd name="connsiteX51" fmla="*/ 5055 w 10000"/>
                <a:gd name="connsiteY51" fmla="*/ 1889 h 10000"/>
                <a:gd name="connsiteX52" fmla="*/ 4458 w 10000"/>
                <a:gd name="connsiteY52" fmla="*/ 3109 h 10000"/>
                <a:gd name="connsiteX53" fmla="*/ 4703 w 10000"/>
                <a:gd name="connsiteY53" fmla="*/ 4170 h 10000"/>
                <a:gd name="connsiteX54" fmla="*/ 5170 w 10000"/>
                <a:gd name="connsiteY54" fmla="*/ 5859 h 10000"/>
                <a:gd name="connsiteX55" fmla="*/ 5147 w 10000"/>
                <a:gd name="connsiteY55" fmla="*/ 5930 h 10000"/>
                <a:gd name="connsiteX56" fmla="*/ 5301 w 10000"/>
                <a:gd name="connsiteY56" fmla="*/ 6253 h 10000"/>
                <a:gd name="connsiteX57" fmla="*/ 5100 w 10000"/>
                <a:gd name="connsiteY57" fmla="*/ 8185 h 10000"/>
                <a:gd name="connsiteX58" fmla="*/ 5566 w 10000"/>
                <a:gd name="connsiteY58" fmla="*/ 9946 h 10000"/>
                <a:gd name="connsiteX59" fmla="*/ 5876 w 10000"/>
                <a:gd name="connsiteY59" fmla="*/ 10000 h 10000"/>
                <a:gd name="connsiteX60" fmla="*/ 6118 w 10000"/>
                <a:gd name="connsiteY60" fmla="*/ 9954 h 10000"/>
                <a:gd name="connsiteX61" fmla="*/ 6579 w 10000"/>
                <a:gd name="connsiteY61" fmla="*/ 8293 h 10000"/>
                <a:gd name="connsiteX62" fmla="*/ 6579 w 10000"/>
                <a:gd name="connsiteY62" fmla="*/ 8202 h 10000"/>
                <a:gd name="connsiteX63" fmla="*/ 6649 w 10000"/>
                <a:gd name="connsiteY63" fmla="*/ 6865 h 10000"/>
                <a:gd name="connsiteX64" fmla="*/ 6690 w 10000"/>
                <a:gd name="connsiteY64" fmla="*/ 6308 h 10000"/>
                <a:gd name="connsiteX65" fmla="*/ 6890 w 10000"/>
                <a:gd name="connsiteY65" fmla="*/ 6038 h 10000"/>
                <a:gd name="connsiteX66" fmla="*/ 7751 w 10000"/>
                <a:gd name="connsiteY66" fmla="*/ 4763 h 10000"/>
                <a:gd name="connsiteX67" fmla="*/ 8477 w 10000"/>
                <a:gd name="connsiteY67" fmla="*/ 4474 h 10000"/>
                <a:gd name="connsiteX68" fmla="*/ 8060 w 10000"/>
                <a:gd name="connsiteY68" fmla="*/ 3577 h 10000"/>
                <a:gd name="connsiteX69" fmla="*/ 7486 w 10000"/>
                <a:gd name="connsiteY69" fmla="*/ 3288 h 10000"/>
                <a:gd name="connsiteX70" fmla="*/ 7263 w 10000"/>
                <a:gd name="connsiteY70" fmla="*/ 2940 h 10000"/>
                <a:gd name="connsiteX71" fmla="*/ 8146 w 10000"/>
                <a:gd name="connsiteY71" fmla="*/ 2714 h 10000"/>
                <a:gd name="connsiteX72" fmla="*/ 9847 w 10000"/>
                <a:gd name="connsiteY72" fmla="*/ 2094 h 10000"/>
                <a:gd name="connsiteX73" fmla="*/ 9803 w 10000"/>
                <a:gd name="connsiteY73" fmla="*/ 1501 h 10000"/>
                <a:gd name="connsiteX74" fmla="*/ 9386 w 10000"/>
                <a:gd name="connsiteY74" fmla="*/ 1367 h 10000"/>
                <a:gd name="connsiteX75" fmla="*/ 8036 w 10000"/>
                <a:gd name="connsiteY75" fmla="*/ 1564 h 10000"/>
                <a:gd name="connsiteX76" fmla="*/ 7505 w 10000"/>
                <a:gd name="connsiteY76" fmla="*/ 1691 h 10000"/>
                <a:gd name="connsiteX0" fmla="*/ 8036 w 10000"/>
                <a:gd name="connsiteY0" fmla="*/ 1564 h 10000"/>
                <a:gd name="connsiteX1" fmla="*/ 6781 w 10000"/>
                <a:gd name="connsiteY1" fmla="*/ 1754 h 10000"/>
                <a:gd name="connsiteX2" fmla="*/ 7131 w 10000"/>
                <a:gd name="connsiteY2" fmla="*/ 1933 h 10000"/>
                <a:gd name="connsiteX3" fmla="*/ 8367 w 10000"/>
                <a:gd name="connsiteY3" fmla="*/ 1772 h 10000"/>
                <a:gd name="connsiteX4" fmla="*/ 9053 w 10000"/>
                <a:gd name="connsiteY4" fmla="*/ 1610 h 10000"/>
                <a:gd name="connsiteX5" fmla="*/ 9295 w 10000"/>
                <a:gd name="connsiteY5" fmla="*/ 1626 h 10000"/>
                <a:gd name="connsiteX6" fmla="*/ 9295 w 10000"/>
                <a:gd name="connsiteY6" fmla="*/ 1996 h 10000"/>
                <a:gd name="connsiteX7" fmla="*/ 7970 w 10000"/>
                <a:gd name="connsiteY7" fmla="*/ 2481 h 10000"/>
                <a:gd name="connsiteX8" fmla="*/ 6712 w 10000"/>
                <a:gd name="connsiteY8" fmla="*/ 2858 h 10000"/>
                <a:gd name="connsiteX9" fmla="*/ 6953 w 10000"/>
                <a:gd name="connsiteY9" fmla="*/ 3424 h 10000"/>
                <a:gd name="connsiteX10" fmla="*/ 7618 w 10000"/>
                <a:gd name="connsiteY10" fmla="*/ 3747 h 10000"/>
                <a:gd name="connsiteX11" fmla="*/ 7993 w 10000"/>
                <a:gd name="connsiteY11" fmla="*/ 4340 h 10000"/>
                <a:gd name="connsiteX12" fmla="*/ 7418 w 10000"/>
                <a:gd name="connsiteY12" fmla="*/ 4556 h 10000"/>
                <a:gd name="connsiteX13" fmla="*/ 6294 w 10000"/>
                <a:gd name="connsiteY13" fmla="*/ 6038 h 10000"/>
                <a:gd name="connsiteX14" fmla="*/ 6406 w 10000"/>
                <a:gd name="connsiteY14" fmla="*/ 6298 h 10000"/>
                <a:gd name="connsiteX15" fmla="*/ 6382 w 10000"/>
                <a:gd name="connsiteY15" fmla="*/ 6865 h 10000"/>
                <a:gd name="connsiteX16" fmla="*/ 6317 w 10000"/>
                <a:gd name="connsiteY16" fmla="*/ 8202 h 10000"/>
                <a:gd name="connsiteX17" fmla="*/ 6317 w 10000"/>
                <a:gd name="connsiteY17" fmla="*/ 8293 h 10000"/>
                <a:gd name="connsiteX18" fmla="*/ 5917 w 10000"/>
                <a:gd name="connsiteY18" fmla="*/ 9873 h 10000"/>
                <a:gd name="connsiteX19" fmla="*/ 5876 w 10000"/>
                <a:gd name="connsiteY19" fmla="*/ 9891 h 10000"/>
                <a:gd name="connsiteX20" fmla="*/ 5740 w 10000"/>
                <a:gd name="connsiteY20" fmla="*/ 9864 h 10000"/>
                <a:gd name="connsiteX21" fmla="*/ 5366 w 10000"/>
                <a:gd name="connsiteY21" fmla="*/ 8185 h 10000"/>
                <a:gd name="connsiteX22" fmla="*/ 5566 w 10000"/>
                <a:gd name="connsiteY22" fmla="*/ 6253 h 10000"/>
                <a:gd name="connsiteX23" fmla="*/ 5740 w 10000"/>
                <a:gd name="connsiteY23" fmla="*/ 5957 h 10000"/>
                <a:gd name="connsiteX24" fmla="*/ 5764 w 10000"/>
                <a:gd name="connsiteY24" fmla="*/ 5885 h 10000"/>
                <a:gd name="connsiteX25" fmla="*/ 5279 w 10000"/>
                <a:gd name="connsiteY25" fmla="*/ 4098 h 10000"/>
                <a:gd name="connsiteX26" fmla="*/ 5055 w 10000"/>
                <a:gd name="connsiteY26" fmla="*/ 3073 h 10000"/>
                <a:gd name="connsiteX27" fmla="*/ 5588 w 10000"/>
                <a:gd name="connsiteY27" fmla="*/ 2004 h 10000"/>
                <a:gd name="connsiteX28" fmla="*/ 5917 w 10000"/>
                <a:gd name="connsiteY28" fmla="*/ 1600 h 10000"/>
                <a:gd name="connsiteX29" fmla="*/ 5984 w 10000"/>
                <a:gd name="connsiteY29" fmla="*/ 1493 h 10000"/>
                <a:gd name="connsiteX30" fmla="*/ 5695 w 10000"/>
                <a:gd name="connsiteY30" fmla="*/ 262 h 10000"/>
                <a:gd name="connsiteX31" fmla="*/ 4261 w 10000"/>
                <a:gd name="connsiteY31" fmla="*/ 1 h 10000"/>
                <a:gd name="connsiteX32" fmla="*/ 3489 w 10000"/>
                <a:gd name="connsiteY32" fmla="*/ 136 h 10000"/>
                <a:gd name="connsiteX33" fmla="*/ 3311 w 10000"/>
                <a:gd name="connsiteY33" fmla="*/ 621 h 10000"/>
                <a:gd name="connsiteX34" fmla="*/ 3089 w 10000"/>
                <a:gd name="connsiteY34" fmla="*/ 999 h 10000"/>
                <a:gd name="connsiteX35" fmla="*/ 2051 w 10000"/>
                <a:gd name="connsiteY35" fmla="*/ 703 h 10000"/>
                <a:gd name="connsiteX36" fmla="*/ 707 w 10000"/>
                <a:gd name="connsiteY36" fmla="*/ 307 h 10000"/>
                <a:gd name="connsiteX37" fmla="*/ 44 w 10000"/>
                <a:gd name="connsiteY37" fmla="*/ 280 h 10000"/>
                <a:gd name="connsiteX38" fmla="*/ 44 w 10000"/>
                <a:gd name="connsiteY38" fmla="*/ 280 h 10000"/>
                <a:gd name="connsiteX39" fmla="*/ 572 w 10000"/>
                <a:gd name="connsiteY39" fmla="*/ 432 h 10000"/>
                <a:gd name="connsiteX40" fmla="*/ 0 w 10000"/>
                <a:gd name="connsiteY40" fmla="*/ 603 h 10000"/>
                <a:gd name="connsiteX41" fmla="*/ 0 w 10000"/>
                <a:gd name="connsiteY41" fmla="*/ 603 h 10000"/>
                <a:gd name="connsiteX42" fmla="*/ 725 w 10000"/>
                <a:gd name="connsiteY42" fmla="*/ 586 h 10000"/>
                <a:gd name="connsiteX43" fmla="*/ 1589 w 10000"/>
                <a:gd name="connsiteY43" fmla="*/ 864 h 10000"/>
                <a:gd name="connsiteX44" fmla="*/ 3290 w 10000"/>
                <a:gd name="connsiteY44" fmla="*/ 1233 h 10000"/>
                <a:gd name="connsiteX45" fmla="*/ 3910 w 10000"/>
                <a:gd name="connsiteY45" fmla="*/ 594 h 10000"/>
                <a:gd name="connsiteX46" fmla="*/ 3953 w 10000"/>
                <a:gd name="connsiteY46" fmla="*/ 298 h 10000"/>
                <a:gd name="connsiteX47" fmla="*/ 4306 w 10000"/>
                <a:gd name="connsiteY47" fmla="*/ 253 h 10000"/>
                <a:gd name="connsiteX48" fmla="*/ 5232 w 10000"/>
                <a:gd name="connsiteY48" fmla="*/ 414 h 10000"/>
                <a:gd name="connsiteX49" fmla="*/ 5432 w 10000"/>
                <a:gd name="connsiteY49" fmla="*/ 1421 h 10000"/>
                <a:gd name="connsiteX50" fmla="*/ 5344 w 10000"/>
                <a:gd name="connsiteY50" fmla="*/ 1528 h 10000"/>
                <a:gd name="connsiteX51" fmla="*/ 5055 w 10000"/>
                <a:gd name="connsiteY51" fmla="*/ 1889 h 10000"/>
                <a:gd name="connsiteX52" fmla="*/ 4458 w 10000"/>
                <a:gd name="connsiteY52" fmla="*/ 3109 h 10000"/>
                <a:gd name="connsiteX53" fmla="*/ 4703 w 10000"/>
                <a:gd name="connsiteY53" fmla="*/ 4170 h 10000"/>
                <a:gd name="connsiteX54" fmla="*/ 5170 w 10000"/>
                <a:gd name="connsiteY54" fmla="*/ 5859 h 10000"/>
                <a:gd name="connsiteX55" fmla="*/ 5147 w 10000"/>
                <a:gd name="connsiteY55" fmla="*/ 5930 h 10000"/>
                <a:gd name="connsiteX56" fmla="*/ 5301 w 10000"/>
                <a:gd name="connsiteY56" fmla="*/ 6253 h 10000"/>
                <a:gd name="connsiteX57" fmla="*/ 5100 w 10000"/>
                <a:gd name="connsiteY57" fmla="*/ 8185 h 10000"/>
                <a:gd name="connsiteX58" fmla="*/ 5566 w 10000"/>
                <a:gd name="connsiteY58" fmla="*/ 9946 h 10000"/>
                <a:gd name="connsiteX59" fmla="*/ 5876 w 10000"/>
                <a:gd name="connsiteY59" fmla="*/ 10000 h 10000"/>
                <a:gd name="connsiteX60" fmla="*/ 6118 w 10000"/>
                <a:gd name="connsiteY60" fmla="*/ 9954 h 10000"/>
                <a:gd name="connsiteX61" fmla="*/ 6579 w 10000"/>
                <a:gd name="connsiteY61" fmla="*/ 8293 h 10000"/>
                <a:gd name="connsiteX62" fmla="*/ 6579 w 10000"/>
                <a:gd name="connsiteY62" fmla="*/ 8202 h 10000"/>
                <a:gd name="connsiteX63" fmla="*/ 6649 w 10000"/>
                <a:gd name="connsiteY63" fmla="*/ 6865 h 10000"/>
                <a:gd name="connsiteX64" fmla="*/ 6690 w 10000"/>
                <a:gd name="connsiteY64" fmla="*/ 6308 h 10000"/>
                <a:gd name="connsiteX65" fmla="*/ 6890 w 10000"/>
                <a:gd name="connsiteY65" fmla="*/ 6038 h 10000"/>
                <a:gd name="connsiteX66" fmla="*/ 7751 w 10000"/>
                <a:gd name="connsiteY66" fmla="*/ 4763 h 10000"/>
                <a:gd name="connsiteX67" fmla="*/ 8477 w 10000"/>
                <a:gd name="connsiteY67" fmla="*/ 4474 h 10000"/>
                <a:gd name="connsiteX68" fmla="*/ 8060 w 10000"/>
                <a:gd name="connsiteY68" fmla="*/ 3577 h 10000"/>
                <a:gd name="connsiteX69" fmla="*/ 7486 w 10000"/>
                <a:gd name="connsiteY69" fmla="*/ 3288 h 10000"/>
                <a:gd name="connsiteX70" fmla="*/ 7263 w 10000"/>
                <a:gd name="connsiteY70" fmla="*/ 2940 h 10000"/>
                <a:gd name="connsiteX71" fmla="*/ 8146 w 10000"/>
                <a:gd name="connsiteY71" fmla="*/ 2714 h 10000"/>
                <a:gd name="connsiteX72" fmla="*/ 9847 w 10000"/>
                <a:gd name="connsiteY72" fmla="*/ 2094 h 10000"/>
                <a:gd name="connsiteX73" fmla="*/ 9803 w 10000"/>
                <a:gd name="connsiteY73" fmla="*/ 1501 h 10000"/>
                <a:gd name="connsiteX74" fmla="*/ 9386 w 10000"/>
                <a:gd name="connsiteY74" fmla="*/ 1367 h 10000"/>
                <a:gd name="connsiteX75" fmla="*/ 8036 w 10000"/>
                <a:gd name="connsiteY75" fmla="*/ 1564 h 10000"/>
                <a:gd name="connsiteX0" fmla="*/ 8036 w 10000"/>
                <a:gd name="connsiteY0" fmla="*/ 1564 h 10000"/>
                <a:gd name="connsiteX1" fmla="*/ 7131 w 10000"/>
                <a:gd name="connsiteY1" fmla="*/ 1933 h 10000"/>
                <a:gd name="connsiteX2" fmla="*/ 8367 w 10000"/>
                <a:gd name="connsiteY2" fmla="*/ 1772 h 10000"/>
                <a:gd name="connsiteX3" fmla="*/ 9053 w 10000"/>
                <a:gd name="connsiteY3" fmla="*/ 1610 h 10000"/>
                <a:gd name="connsiteX4" fmla="*/ 9295 w 10000"/>
                <a:gd name="connsiteY4" fmla="*/ 1626 h 10000"/>
                <a:gd name="connsiteX5" fmla="*/ 9295 w 10000"/>
                <a:gd name="connsiteY5" fmla="*/ 1996 h 10000"/>
                <a:gd name="connsiteX6" fmla="*/ 7970 w 10000"/>
                <a:gd name="connsiteY6" fmla="*/ 2481 h 10000"/>
                <a:gd name="connsiteX7" fmla="*/ 6712 w 10000"/>
                <a:gd name="connsiteY7" fmla="*/ 2858 h 10000"/>
                <a:gd name="connsiteX8" fmla="*/ 6953 w 10000"/>
                <a:gd name="connsiteY8" fmla="*/ 3424 h 10000"/>
                <a:gd name="connsiteX9" fmla="*/ 7618 w 10000"/>
                <a:gd name="connsiteY9" fmla="*/ 3747 h 10000"/>
                <a:gd name="connsiteX10" fmla="*/ 7993 w 10000"/>
                <a:gd name="connsiteY10" fmla="*/ 4340 h 10000"/>
                <a:gd name="connsiteX11" fmla="*/ 7418 w 10000"/>
                <a:gd name="connsiteY11" fmla="*/ 4556 h 10000"/>
                <a:gd name="connsiteX12" fmla="*/ 6294 w 10000"/>
                <a:gd name="connsiteY12" fmla="*/ 6038 h 10000"/>
                <a:gd name="connsiteX13" fmla="*/ 6406 w 10000"/>
                <a:gd name="connsiteY13" fmla="*/ 6298 h 10000"/>
                <a:gd name="connsiteX14" fmla="*/ 6382 w 10000"/>
                <a:gd name="connsiteY14" fmla="*/ 6865 h 10000"/>
                <a:gd name="connsiteX15" fmla="*/ 6317 w 10000"/>
                <a:gd name="connsiteY15" fmla="*/ 8202 h 10000"/>
                <a:gd name="connsiteX16" fmla="*/ 6317 w 10000"/>
                <a:gd name="connsiteY16" fmla="*/ 8293 h 10000"/>
                <a:gd name="connsiteX17" fmla="*/ 5917 w 10000"/>
                <a:gd name="connsiteY17" fmla="*/ 9873 h 10000"/>
                <a:gd name="connsiteX18" fmla="*/ 5876 w 10000"/>
                <a:gd name="connsiteY18" fmla="*/ 9891 h 10000"/>
                <a:gd name="connsiteX19" fmla="*/ 5740 w 10000"/>
                <a:gd name="connsiteY19" fmla="*/ 9864 h 10000"/>
                <a:gd name="connsiteX20" fmla="*/ 5366 w 10000"/>
                <a:gd name="connsiteY20" fmla="*/ 8185 h 10000"/>
                <a:gd name="connsiteX21" fmla="*/ 5566 w 10000"/>
                <a:gd name="connsiteY21" fmla="*/ 6253 h 10000"/>
                <a:gd name="connsiteX22" fmla="*/ 5740 w 10000"/>
                <a:gd name="connsiteY22" fmla="*/ 5957 h 10000"/>
                <a:gd name="connsiteX23" fmla="*/ 5764 w 10000"/>
                <a:gd name="connsiteY23" fmla="*/ 5885 h 10000"/>
                <a:gd name="connsiteX24" fmla="*/ 5279 w 10000"/>
                <a:gd name="connsiteY24" fmla="*/ 4098 h 10000"/>
                <a:gd name="connsiteX25" fmla="*/ 5055 w 10000"/>
                <a:gd name="connsiteY25" fmla="*/ 3073 h 10000"/>
                <a:gd name="connsiteX26" fmla="*/ 5588 w 10000"/>
                <a:gd name="connsiteY26" fmla="*/ 2004 h 10000"/>
                <a:gd name="connsiteX27" fmla="*/ 5917 w 10000"/>
                <a:gd name="connsiteY27" fmla="*/ 1600 h 10000"/>
                <a:gd name="connsiteX28" fmla="*/ 5984 w 10000"/>
                <a:gd name="connsiteY28" fmla="*/ 1493 h 10000"/>
                <a:gd name="connsiteX29" fmla="*/ 5695 w 10000"/>
                <a:gd name="connsiteY29" fmla="*/ 262 h 10000"/>
                <a:gd name="connsiteX30" fmla="*/ 4261 w 10000"/>
                <a:gd name="connsiteY30" fmla="*/ 1 h 10000"/>
                <a:gd name="connsiteX31" fmla="*/ 3489 w 10000"/>
                <a:gd name="connsiteY31" fmla="*/ 136 h 10000"/>
                <a:gd name="connsiteX32" fmla="*/ 3311 w 10000"/>
                <a:gd name="connsiteY32" fmla="*/ 621 h 10000"/>
                <a:gd name="connsiteX33" fmla="*/ 3089 w 10000"/>
                <a:gd name="connsiteY33" fmla="*/ 999 h 10000"/>
                <a:gd name="connsiteX34" fmla="*/ 2051 w 10000"/>
                <a:gd name="connsiteY34" fmla="*/ 703 h 10000"/>
                <a:gd name="connsiteX35" fmla="*/ 707 w 10000"/>
                <a:gd name="connsiteY35" fmla="*/ 307 h 10000"/>
                <a:gd name="connsiteX36" fmla="*/ 44 w 10000"/>
                <a:gd name="connsiteY36" fmla="*/ 280 h 10000"/>
                <a:gd name="connsiteX37" fmla="*/ 44 w 10000"/>
                <a:gd name="connsiteY37" fmla="*/ 280 h 10000"/>
                <a:gd name="connsiteX38" fmla="*/ 572 w 10000"/>
                <a:gd name="connsiteY38" fmla="*/ 432 h 10000"/>
                <a:gd name="connsiteX39" fmla="*/ 0 w 10000"/>
                <a:gd name="connsiteY39" fmla="*/ 603 h 10000"/>
                <a:gd name="connsiteX40" fmla="*/ 0 w 10000"/>
                <a:gd name="connsiteY40" fmla="*/ 603 h 10000"/>
                <a:gd name="connsiteX41" fmla="*/ 725 w 10000"/>
                <a:gd name="connsiteY41" fmla="*/ 586 h 10000"/>
                <a:gd name="connsiteX42" fmla="*/ 1589 w 10000"/>
                <a:gd name="connsiteY42" fmla="*/ 864 h 10000"/>
                <a:gd name="connsiteX43" fmla="*/ 3290 w 10000"/>
                <a:gd name="connsiteY43" fmla="*/ 1233 h 10000"/>
                <a:gd name="connsiteX44" fmla="*/ 3910 w 10000"/>
                <a:gd name="connsiteY44" fmla="*/ 594 h 10000"/>
                <a:gd name="connsiteX45" fmla="*/ 3953 w 10000"/>
                <a:gd name="connsiteY45" fmla="*/ 298 h 10000"/>
                <a:gd name="connsiteX46" fmla="*/ 4306 w 10000"/>
                <a:gd name="connsiteY46" fmla="*/ 253 h 10000"/>
                <a:gd name="connsiteX47" fmla="*/ 5232 w 10000"/>
                <a:gd name="connsiteY47" fmla="*/ 414 h 10000"/>
                <a:gd name="connsiteX48" fmla="*/ 5432 w 10000"/>
                <a:gd name="connsiteY48" fmla="*/ 1421 h 10000"/>
                <a:gd name="connsiteX49" fmla="*/ 5344 w 10000"/>
                <a:gd name="connsiteY49" fmla="*/ 1528 h 10000"/>
                <a:gd name="connsiteX50" fmla="*/ 5055 w 10000"/>
                <a:gd name="connsiteY50" fmla="*/ 1889 h 10000"/>
                <a:gd name="connsiteX51" fmla="*/ 4458 w 10000"/>
                <a:gd name="connsiteY51" fmla="*/ 3109 h 10000"/>
                <a:gd name="connsiteX52" fmla="*/ 4703 w 10000"/>
                <a:gd name="connsiteY52" fmla="*/ 4170 h 10000"/>
                <a:gd name="connsiteX53" fmla="*/ 5170 w 10000"/>
                <a:gd name="connsiteY53" fmla="*/ 5859 h 10000"/>
                <a:gd name="connsiteX54" fmla="*/ 5147 w 10000"/>
                <a:gd name="connsiteY54" fmla="*/ 5930 h 10000"/>
                <a:gd name="connsiteX55" fmla="*/ 5301 w 10000"/>
                <a:gd name="connsiteY55" fmla="*/ 6253 h 10000"/>
                <a:gd name="connsiteX56" fmla="*/ 5100 w 10000"/>
                <a:gd name="connsiteY56" fmla="*/ 8185 h 10000"/>
                <a:gd name="connsiteX57" fmla="*/ 5566 w 10000"/>
                <a:gd name="connsiteY57" fmla="*/ 9946 h 10000"/>
                <a:gd name="connsiteX58" fmla="*/ 5876 w 10000"/>
                <a:gd name="connsiteY58" fmla="*/ 10000 h 10000"/>
                <a:gd name="connsiteX59" fmla="*/ 6118 w 10000"/>
                <a:gd name="connsiteY59" fmla="*/ 9954 h 10000"/>
                <a:gd name="connsiteX60" fmla="*/ 6579 w 10000"/>
                <a:gd name="connsiteY60" fmla="*/ 8293 h 10000"/>
                <a:gd name="connsiteX61" fmla="*/ 6579 w 10000"/>
                <a:gd name="connsiteY61" fmla="*/ 8202 h 10000"/>
                <a:gd name="connsiteX62" fmla="*/ 6649 w 10000"/>
                <a:gd name="connsiteY62" fmla="*/ 6865 h 10000"/>
                <a:gd name="connsiteX63" fmla="*/ 6690 w 10000"/>
                <a:gd name="connsiteY63" fmla="*/ 6308 h 10000"/>
                <a:gd name="connsiteX64" fmla="*/ 6890 w 10000"/>
                <a:gd name="connsiteY64" fmla="*/ 6038 h 10000"/>
                <a:gd name="connsiteX65" fmla="*/ 7751 w 10000"/>
                <a:gd name="connsiteY65" fmla="*/ 4763 h 10000"/>
                <a:gd name="connsiteX66" fmla="*/ 8477 w 10000"/>
                <a:gd name="connsiteY66" fmla="*/ 4474 h 10000"/>
                <a:gd name="connsiteX67" fmla="*/ 8060 w 10000"/>
                <a:gd name="connsiteY67" fmla="*/ 3577 h 10000"/>
                <a:gd name="connsiteX68" fmla="*/ 7486 w 10000"/>
                <a:gd name="connsiteY68" fmla="*/ 3288 h 10000"/>
                <a:gd name="connsiteX69" fmla="*/ 7263 w 10000"/>
                <a:gd name="connsiteY69" fmla="*/ 2940 h 10000"/>
                <a:gd name="connsiteX70" fmla="*/ 8146 w 10000"/>
                <a:gd name="connsiteY70" fmla="*/ 2714 h 10000"/>
                <a:gd name="connsiteX71" fmla="*/ 9847 w 10000"/>
                <a:gd name="connsiteY71" fmla="*/ 2094 h 10000"/>
                <a:gd name="connsiteX72" fmla="*/ 9803 w 10000"/>
                <a:gd name="connsiteY72" fmla="*/ 1501 h 10000"/>
                <a:gd name="connsiteX73" fmla="*/ 9386 w 10000"/>
                <a:gd name="connsiteY73" fmla="*/ 1367 h 10000"/>
                <a:gd name="connsiteX74" fmla="*/ 8036 w 10000"/>
                <a:gd name="connsiteY74" fmla="*/ 1564 h 10000"/>
                <a:gd name="connsiteX0" fmla="*/ 8036 w 10000"/>
                <a:gd name="connsiteY0" fmla="*/ 1564 h 10000"/>
                <a:gd name="connsiteX1" fmla="*/ 8367 w 10000"/>
                <a:gd name="connsiteY1" fmla="*/ 1772 h 10000"/>
                <a:gd name="connsiteX2" fmla="*/ 9053 w 10000"/>
                <a:gd name="connsiteY2" fmla="*/ 1610 h 10000"/>
                <a:gd name="connsiteX3" fmla="*/ 9295 w 10000"/>
                <a:gd name="connsiteY3" fmla="*/ 1626 h 10000"/>
                <a:gd name="connsiteX4" fmla="*/ 9295 w 10000"/>
                <a:gd name="connsiteY4" fmla="*/ 1996 h 10000"/>
                <a:gd name="connsiteX5" fmla="*/ 7970 w 10000"/>
                <a:gd name="connsiteY5" fmla="*/ 2481 h 10000"/>
                <a:gd name="connsiteX6" fmla="*/ 6712 w 10000"/>
                <a:gd name="connsiteY6" fmla="*/ 2858 h 10000"/>
                <a:gd name="connsiteX7" fmla="*/ 6953 w 10000"/>
                <a:gd name="connsiteY7" fmla="*/ 3424 h 10000"/>
                <a:gd name="connsiteX8" fmla="*/ 7618 w 10000"/>
                <a:gd name="connsiteY8" fmla="*/ 3747 h 10000"/>
                <a:gd name="connsiteX9" fmla="*/ 7993 w 10000"/>
                <a:gd name="connsiteY9" fmla="*/ 4340 h 10000"/>
                <a:gd name="connsiteX10" fmla="*/ 7418 w 10000"/>
                <a:gd name="connsiteY10" fmla="*/ 4556 h 10000"/>
                <a:gd name="connsiteX11" fmla="*/ 6294 w 10000"/>
                <a:gd name="connsiteY11" fmla="*/ 6038 h 10000"/>
                <a:gd name="connsiteX12" fmla="*/ 6406 w 10000"/>
                <a:gd name="connsiteY12" fmla="*/ 6298 h 10000"/>
                <a:gd name="connsiteX13" fmla="*/ 6382 w 10000"/>
                <a:gd name="connsiteY13" fmla="*/ 6865 h 10000"/>
                <a:gd name="connsiteX14" fmla="*/ 6317 w 10000"/>
                <a:gd name="connsiteY14" fmla="*/ 8202 h 10000"/>
                <a:gd name="connsiteX15" fmla="*/ 6317 w 10000"/>
                <a:gd name="connsiteY15" fmla="*/ 8293 h 10000"/>
                <a:gd name="connsiteX16" fmla="*/ 5917 w 10000"/>
                <a:gd name="connsiteY16" fmla="*/ 9873 h 10000"/>
                <a:gd name="connsiteX17" fmla="*/ 5876 w 10000"/>
                <a:gd name="connsiteY17" fmla="*/ 9891 h 10000"/>
                <a:gd name="connsiteX18" fmla="*/ 5740 w 10000"/>
                <a:gd name="connsiteY18" fmla="*/ 9864 h 10000"/>
                <a:gd name="connsiteX19" fmla="*/ 5366 w 10000"/>
                <a:gd name="connsiteY19" fmla="*/ 8185 h 10000"/>
                <a:gd name="connsiteX20" fmla="*/ 5566 w 10000"/>
                <a:gd name="connsiteY20" fmla="*/ 6253 h 10000"/>
                <a:gd name="connsiteX21" fmla="*/ 5740 w 10000"/>
                <a:gd name="connsiteY21" fmla="*/ 5957 h 10000"/>
                <a:gd name="connsiteX22" fmla="*/ 5764 w 10000"/>
                <a:gd name="connsiteY22" fmla="*/ 5885 h 10000"/>
                <a:gd name="connsiteX23" fmla="*/ 5279 w 10000"/>
                <a:gd name="connsiteY23" fmla="*/ 4098 h 10000"/>
                <a:gd name="connsiteX24" fmla="*/ 5055 w 10000"/>
                <a:gd name="connsiteY24" fmla="*/ 3073 h 10000"/>
                <a:gd name="connsiteX25" fmla="*/ 5588 w 10000"/>
                <a:gd name="connsiteY25" fmla="*/ 2004 h 10000"/>
                <a:gd name="connsiteX26" fmla="*/ 5917 w 10000"/>
                <a:gd name="connsiteY26" fmla="*/ 1600 h 10000"/>
                <a:gd name="connsiteX27" fmla="*/ 5984 w 10000"/>
                <a:gd name="connsiteY27" fmla="*/ 1493 h 10000"/>
                <a:gd name="connsiteX28" fmla="*/ 5695 w 10000"/>
                <a:gd name="connsiteY28" fmla="*/ 262 h 10000"/>
                <a:gd name="connsiteX29" fmla="*/ 4261 w 10000"/>
                <a:gd name="connsiteY29" fmla="*/ 1 h 10000"/>
                <a:gd name="connsiteX30" fmla="*/ 3489 w 10000"/>
                <a:gd name="connsiteY30" fmla="*/ 136 h 10000"/>
                <a:gd name="connsiteX31" fmla="*/ 3311 w 10000"/>
                <a:gd name="connsiteY31" fmla="*/ 621 h 10000"/>
                <a:gd name="connsiteX32" fmla="*/ 3089 w 10000"/>
                <a:gd name="connsiteY32" fmla="*/ 999 h 10000"/>
                <a:gd name="connsiteX33" fmla="*/ 2051 w 10000"/>
                <a:gd name="connsiteY33" fmla="*/ 703 h 10000"/>
                <a:gd name="connsiteX34" fmla="*/ 707 w 10000"/>
                <a:gd name="connsiteY34" fmla="*/ 307 h 10000"/>
                <a:gd name="connsiteX35" fmla="*/ 44 w 10000"/>
                <a:gd name="connsiteY35" fmla="*/ 280 h 10000"/>
                <a:gd name="connsiteX36" fmla="*/ 44 w 10000"/>
                <a:gd name="connsiteY36" fmla="*/ 280 h 10000"/>
                <a:gd name="connsiteX37" fmla="*/ 572 w 10000"/>
                <a:gd name="connsiteY37" fmla="*/ 432 h 10000"/>
                <a:gd name="connsiteX38" fmla="*/ 0 w 10000"/>
                <a:gd name="connsiteY38" fmla="*/ 603 h 10000"/>
                <a:gd name="connsiteX39" fmla="*/ 0 w 10000"/>
                <a:gd name="connsiteY39" fmla="*/ 603 h 10000"/>
                <a:gd name="connsiteX40" fmla="*/ 725 w 10000"/>
                <a:gd name="connsiteY40" fmla="*/ 586 h 10000"/>
                <a:gd name="connsiteX41" fmla="*/ 1589 w 10000"/>
                <a:gd name="connsiteY41" fmla="*/ 864 h 10000"/>
                <a:gd name="connsiteX42" fmla="*/ 3290 w 10000"/>
                <a:gd name="connsiteY42" fmla="*/ 1233 h 10000"/>
                <a:gd name="connsiteX43" fmla="*/ 3910 w 10000"/>
                <a:gd name="connsiteY43" fmla="*/ 594 h 10000"/>
                <a:gd name="connsiteX44" fmla="*/ 3953 w 10000"/>
                <a:gd name="connsiteY44" fmla="*/ 298 h 10000"/>
                <a:gd name="connsiteX45" fmla="*/ 4306 w 10000"/>
                <a:gd name="connsiteY45" fmla="*/ 253 h 10000"/>
                <a:gd name="connsiteX46" fmla="*/ 5232 w 10000"/>
                <a:gd name="connsiteY46" fmla="*/ 414 h 10000"/>
                <a:gd name="connsiteX47" fmla="*/ 5432 w 10000"/>
                <a:gd name="connsiteY47" fmla="*/ 1421 h 10000"/>
                <a:gd name="connsiteX48" fmla="*/ 5344 w 10000"/>
                <a:gd name="connsiteY48" fmla="*/ 1528 h 10000"/>
                <a:gd name="connsiteX49" fmla="*/ 5055 w 10000"/>
                <a:gd name="connsiteY49" fmla="*/ 1889 h 10000"/>
                <a:gd name="connsiteX50" fmla="*/ 4458 w 10000"/>
                <a:gd name="connsiteY50" fmla="*/ 3109 h 10000"/>
                <a:gd name="connsiteX51" fmla="*/ 4703 w 10000"/>
                <a:gd name="connsiteY51" fmla="*/ 4170 h 10000"/>
                <a:gd name="connsiteX52" fmla="*/ 5170 w 10000"/>
                <a:gd name="connsiteY52" fmla="*/ 5859 h 10000"/>
                <a:gd name="connsiteX53" fmla="*/ 5147 w 10000"/>
                <a:gd name="connsiteY53" fmla="*/ 5930 h 10000"/>
                <a:gd name="connsiteX54" fmla="*/ 5301 w 10000"/>
                <a:gd name="connsiteY54" fmla="*/ 6253 h 10000"/>
                <a:gd name="connsiteX55" fmla="*/ 5100 w 10000"/>
                <a:gd name="connsiteY55" fmla="*/ 8185 h 10000"/>
                <a:gd name="connsiteX56" fmla="*/ 5566 w 10000"/>
                <a:gd name="connsiteY56" fmla="*/ 9946 h 10000"/>
                <a:gd name="connsiteX57" fmla="*/ 5876 w 10000"/>
                <a:gd name="connsiteY57" fmla="*/ 10000 h 10000"/>
                <a:gd name="connsiteX58" fmla="*/ 6118 w 10000"/>
                <a:gd name="connsiteY58" fmla="*/ 9954 h 10000"/>
                <a:gd name="connsiteX59" fmla="*/ 6579 w 10000"/>
                <a:gd name="connsiteY59" fmla="*/ 8293 h 10000"/>
                <a:gd name="connsiteX60" fmla="*/ 6579 w 10000"/>
                <a:gd name="connsiteY60" fmla="*/ 8202 h 10000"/>
                <a:gd name="connsiteX61" fmla="*/ 6649 w 10000"/>
                <a:gd name="connsiteY61" fmla="*/ 6865 h 10000"/>
                <a:gd name="connsiteX62" fmla="*/ 6690 w 10000"/>
                <a:gd name="connsiteY62" fmla="*/ 6308 h 10000"/>
                <a:gd name="connsiteX63" fmla="*/ 6890 w 10000"/>
                <a:gd name="connsiteY63" fmla="*/ 6038 h 10000"/>
                <a:gd name="connsiteX64" fmla="*/ 7751 w 10000"/>
                <a:gd name="connsiteY64" fmla="*/ 4763 h 10000"/>
                <a:gd name="connsiteX65" fmla="*/ 8477 w 10000"/>
                <a:gd name="connsiteY65" fmla="*/ 4474 h 10000"/>
                <a:gd name="connsiteX66" fmla="*/ 8060 w 10000"/>
                <a:gd name="connsiteY66" fmla="*/ 3577 h 10000"/>
                <a:gd name="connsiteX67" fmla="*/ 7486 w 10000"/>
                <a:gd name="connsiteY67" fmla="*/ 3288 h 10000"/>
                <a:gd name="connsiteX68" fmla="*/ 7263 w 10000"/>
                <a:gd name="connsiteY68" fmla="*/ 2940 h 10000"/>
                <a:gd name="connsiteX69" fmla="*/ 8146 w 10000"/>
                <a:gd name="connsiteY69" fmla="*/ 2714 h 10000"/>
                <a:gd name="connsiteX70" fmla="*/ 9847 w 10000"/>
                <a:gd name="connsiteY70" fmla="*/ 2094 h 10000"/>
                <a:gd name="connsiteX71" fmla="*/ 9803 w 10000"/>
                <a:gd name="connsiteY71" fmla="*/ 1501 h 10000"/>
                <a:gd name="connsiteX72" fmla="*/ 9386 w 10000"/>
                <a:gd name="connsiteY72" fmla="*/ 1367 h 10000"/>
                <a:gd name="connsiteX73" fmla="*/ 8036 w 10000"/>
                <a:gd name="connsiteY73" fmla="*/ 1564 h 10000"/>
                <a:gd name="connsiteX0" fmla="*/ 9386 w 10000"/>
                <a:gd name="connsiteY0" fmla="*/ 1367 h 10000"/>
                <a:gd name="connsiteX1" fmla="*/ 8367 w 10000"/>
                <a:gd name="connsiteY1" fmla="*/ 1772 h 10000"/>
                <a:gd name="connsiteX2" fmla="*/ 9053 w 10000"/>
                <a:gd name="connsiteY2" fmla="*/ 1610 h 10000"/>
                <a:gd name="connsiteX3" fmla="*/ 9295 w 10000"/>
                <a:gd name="connsiteY3" fmla="*/ 1626 h 10000"/>
                <a:gd name="connsiteX4" fmla="*/ 9295 w 10000"/>
                <a:gd name="connsiteY4" fmla="*/ 1996 h 10000"/>
                <a:gd name="connsiteX5" fmla="*/ 7970 w 10000"/>
                <a:gd name="connsiteY5" fmla="*/ 2481 h 10000"/>
                <a:gd name="connsiteX6" fmla="*/ 6712 w 10000"/>
                <a:gd name="connsiteY6" fmla="*/ 2858 h 10000"/>
                <a:gd name="connsiteX7" fmla="*/ 6953 w 10000"/>
                <a:gd name="connsiteY7" fmla="*/ 3424 h 10000"/>
                <a:gd name="connsiteX8" fmla="*/ 7618 w 10000"/>
                <a:gd name="connsiteY8" fmla="*/ 3747 h 10000"/>
                <a:gd name="connsiteX9" fmla="*/ 7993 w 10000"/>
                <a:gd name="connsiteY9" fmla="*/ 4340 h 10000"/>
                <a:gd name="connsiteX10" fmla="*/ 7418 w 10000"/>
                <a:gd name="connsiteY10" fmla="*/ 4556 h 10000"/>
                <a:gd name="connsiteX11" fmla="*/ 6294 w 10000"/>
                <a:gd name="connsiteY11" fmla="*/ 6038 h 10000"/>
                <a:gd name="connsiteX12" fmla="*/ 6406 w 10000"/>
                <a:gd name="connsiteY12" fmla="*/ 6298 h 10000"/>
                <a:gd name="connsiteX13" fmla="*/ 6382 w 10000"/>
                <a:gd name="connsiteY13" fmla="*/ 6865 h 10000"/>
                <a:gd name="connsiteX14" fmla="*/ 6317 w 10000"/>
                <a:gd name="connsiteY14" fmla="*/ 8202 h 10000"/>
                <a:gd name="connsiteX15" fmla="*/ 6317 w 10000"/>
                <a:gd name="connsiteY15" fmla="*/ 8293 h 10000"/>
                <a:gd name="connsiteX16" fmla="*/ 5917 w 10000"/>
                <a:gd name="connsiteY16" fmla="*/ 9873 h 10000"/>
                <a:gd name="connsiteX17" fmla="*/ 5876 w 10000"/>
                <a:gd name="connsiteY17" fmla="*/ 9891 h 10000"/>
                <a:gd name="connsiteX18" fmla="*/ 5740 w 10000"/>
                <a:gd name="connsiteY18" fmla="*/ 9864 h 10000"/>
                <a:gd name="connsiteX19" fmla="*/ 5366 w 10000"/>
                <a:gd name="connsiteY19" fmla="*/ 8185 h 10000"/>
                <a:gd name="connsiteX20" fmla="*/ 5566 w 10000"/>
                <a:gd name="connsiteY20" fmla="*/ 6253 h 10000"/>
                <a:gd name="connsiteX21" fmla="*/ 5740 w 10000"/>
                <a:gd name="connsiteY21" fmla="*/ 5957 h 10000"/>
                <a:gd name="connsiteX22" fmla="*/ 5764 w 10000"/>
                <a:gd name="connsiteY22" fmla="*/ 5885 h 10000"/>
                <a:gd name="connsiteX23" fmla="*/ 5279 w 10000"/>
                <a:gd name="connsiteY23" fmla="*/ 4098 h 10000"/>
                <a:gd name="connsiteX24" fmla="*/ 5055 w 10000"/>
                <a:gd name="connsiteY24" fmla="*/ 3073 h 10000"/>
                <a:gd name="connsiteX25" fmla="*/ 5588 w 10000"/>
                <a:gd name="connsiteY25" fmla="*/ 2004 h 10000"/>
                <a:gd name="connsiteX26" fmla="*/ 5917 w 10000"/>
                <a:gd name="connsiteY26" fmla="*/ 1600 h 10000"/>
                <a:gd name="connsiteX27" fmla="*/ 5984 w 10000"/>
                <a:gd name="connsiteY27" fmla="*/ 1493 h 10000"/>
                <a:gd name="connsiteX28" fmla="*/ 5695 w 10000"/>
                <a:gd name="connsiteY28" fmla="*/ 262 h 10000"/>
                <a:gd name="connsiteX29" fmla="*/ 4261 w 10000"/>
                <a:gd name="connsiteY29" fmla="*/ 1 h 10000"/>
                <a:gd name="connsiteX30" fmla="*/ 3489 w 10000"/>
                <a:gd name="connsiteY30" fmla="*/ 136 h 10000"/>
                <a:gd name="connsiteX31" fmla="*/ 3311 w 10000"/>
                <a:gd name="connsiteY31" fmla="*/ 621 h 10000"/>
                <a:gd name="connsiteX32" fmla="*/ 3089 w 10000"/>
                <a:gd name="connsiteY32" fmla="*/ 999 h 10000"/>
                <a:gd name="connsiteX33" fmla="*/ 2051 w 10000"/>
                <a:gd name="connsiteY33" fmla="*/ 703 h 10000"/>
                <a:gd name="connsiteX34" fmla="*/ 707 w 10000"/>
                <a:gd name="connsiteY34" fmla="*/ 307 h 10000"/>
                <a:gd name="connsiteX35" fmla="*/ 44 w 10000"/>
                <a:gd name="connsiteY35" fmla="*/ 280 h 10000"/>
                <a:gd name="connsiteX36" fmla="*/ 44 w 10000"/>
                <a:gd name="connsiteY36" fmla="*/ 280 h 10000"/>
                <a:gd name="connsiteX37" fmla="*/ 572 w 10000"/>
                <a:gd name="connsiteY37" fmla="*/ 432 h 10000"/>
                <a:gd name="connsiteX38" fmla="*/ 0 w 10000"/>
                <a:gd name="connsiteY38" fmla="*/ 603 h 10000"/>
                <a:gd name="connsiteX39" fmla="*/ 0 w 10000"/>
                <a:gd name="connsiteY39" fmla="*/ 603 h 10000"/>
                <a:gd name="connsiteX40" fmla="*/ 725 w 10000"/>
                <a:gd name="connsiteY40" fmla="*/ 586 h 10000"/>
                <a:gd name="connsiteX41" fmla="*/ 1589 w 10000"/>
                <a:gd name="connsiteY41" fmla="*/ 864 h 10000"/>
                <a:gd name="connsiteX42" fmla="*/ 3290 w 10000"/>
                <a:gd name="connsiteY42" fmla="*/ 1233 h 10000"/>
                <a:gd name="connsiteX43" fmla="*/ 3910 w 10000"/>
                <a:gd name="connsiteY43" fmla="*/ 594 h 10000"/>
                <a:gd name="connsiteX44" fmla="*/ 3953 w 10000"/>
                <a:gd name="connsiteY44" fmla="*/ 298 h 10000"/>
                <a:gd name="connsiteX45" fmla="*/ 4306 w 10000"/>
                <a:gd name="connsiteY45" fmla="*/ 253 h 10000"/>
                <a:gd name="connsiteX46" fmla="*/ 5232 w 10000"/>
                <a:gd name="connsiteY46" fmla="*/ 414 h 10000"/>
                <a:gd name="connsiteX47" fmla="*/ 5432 w 10000"/>
                <a:gd name="connsiteY47" fmla="*/ 1421 h 10000"/>
                <a:gd name="connsiteX48" fmla="*/ 5344 w 10000"/>
                <a:gd name="connsiteY48" fmla="*/ 1528 h 10000"/>
                <a:gd name="connsiteX49" fmla="*/ 5055 w 10000"/>
                <a:gd name="connsiteY49" fmla="*/ 1889 h 10000"/>
                <a:gd name="connsiteX50" fmla="*/ 4458 w 10000"/>
                <a:gd name="connsiteY50" fmla="*/ 3109 h 10000"/>
                <a:gd name="connsiteX51" fmla="*/ 4703 w 10000"/>
                <a:gd name="connsiteY51" fmla="*/ 4170 h 10000"/>
                <a:gd name="connsiteX52" fmla="*/ 5170 w 10000"/>
                <a:gd name="connsiteY52" fmla="*/ 5859 h 10000"/>
                <a:gd name="connsiteX53" fmla="*/ 5147 w 10000"/>
                <a:gd name="connsiteY53" fmla="*/ 5930 h 10000"/>
                <a:gd name="connsiteX54" fmla="*/ 5301 w 10000"/>
                <a:gd name="connsiteY54" fmla="*/ 6253 h 10000"/>
                <a:gd name="connsiteX55" fmla="*/ 5100 w 10000"/>
                <a:gd name="connsiteY55" fmla="*/ 8185 h 10000"/>
                <a:gd name="connsiteX56" fmla="*/ 5566 w 10000"/>
                <a:gd name="connsiteY56" fmla="*/ 9946 h 10000"/>
                <a:gd name="connsiteX57" fmla="*/ 5876 w 10000"/>
                <a:gd name="connsiteY57" fmla="*/ 10000 h 10000"/>
                <a:gd name="connsiteX58" fmla="*/ 6118 w 10000"/>
                <a:gd name="connsiteY58" fmla="*/ 9954 h 10000"/>
                <a:gd name="connsiteX59" fmla="*/ 6579 w 10000"/>
                <a:gd name="connsiteY59" fmla="*/ 8293 h 10000"/>
                <a:gd name="connsiteX60" fmla="*/ 6579 w 10000"/>
                <a:gd name="connsiteY60" fmla="*/ 8202 h 10000"/>
                <a:gd name="connsiteX61" fmla="*/ 6649 w 10000"/>
                <a:gd name="connsiteY61" fmla="*/ 6865 h 10000"/>
                <a:gd name="connsiteX62" fmla="*/ 6690 w 10000"/>
                <a:gd name="connsiteY62" fmla="*/ 6308 h 10000"/>
                <a:gd name="connsiteX63" fmla="*/ 6890 w 10000"/>
                <a:gd name="connsiteY63" fmla="*/ 6038 h 10000"/>
                <a:gd name="connsiteX64" fmla="*/ 7751 w 10000"/>
                <a:gd name="connsiteY64" fmla="*/ 4763 h 10000"/>
                <a:gd name="connsiteX65" fmla="*/ 8477 w 10000"/>
                <a:gd name="connsiteY65" fmla="*/ 4474 h 10000"/>
                <a:gd name="connsiteX66" fmla="*/ 8060 w 10000"/>
                <a:gd name="connsiteY66" fmla="*/ 3577 h 10000"/>
                <a:gd name="connsiteX67" fmla="*/ 7486 w 10000"/>
                <a:gd name="connsiteY67" fmla="*/ 3288 h 10000"/>
                <a:gd name="connsiteX68" fmla="*/ 7263 w 10000"/>
                <a:gd name="connsiteY68" fmla="*/ 2940 h 10000"/>
                <a:gd name="connsiteX69" fmla="*/ 8146 w 10000"/>
                <a:gd name="connsiteY69" fmla="*/ 2714 h 10000"/>
                <a:gd name="connsiteX70" fmla="*/ 9847 w 10000"/>
                <a:gd name="connsiteY70" fmla="*/ 2094 h 10000"/>
                <a:gd name="connsiteX71" fmla="*/ 9803 w 10000"/>
                <a:gd name="connsiteY71" fmla="*/ 1501 h 10000"/>
                <a:gd name="connsiteX72" fmla="*/ 9386 w 10000"/>
                <a:gd name="connsiteY72" fmla="*/ 1367 h 10000"/>
                <a:gd name="connsiteX0" fmla="*/ 9386 w 10000"/>
                <a:gd name="connsiteY0" fmla="*/ 1367 h 10000"/>
                <a:gd name="connsiteX1" fmla="*/ 9053 w 10000"/>
                <a:gd name="connsiteY1" fmla="*/ 1610 h 10000"/>
                <a:gd name="connsiteX2" fmla="*/ 9295 w 10000"/>
                <a:gd name="connsiteY2" fmla="*/ 1626 h 10000"/>
                <a:gd name="connsiteX3" fmla="*/ 9295 w 10000"/>
                <a:gd name="connsiteY3" fmla="*/ 1996 h 10000"/>
                <a:gd name="connsiteX4" fmla="*/ 7970 w 10000"/>
                <a:gd name="connsiteY4" fmla="*/ 2481 h 10000"/>
                <a:gd name="connsiteX5" fmla="*/ 6712 w 10000"/>
                <a:gd name="connsiteY5" fmla="*/ 2858 h 10000"/>
                <a:gd name="connsiteX6" fmla="*/ 6953 w 10000"/>
                <a:gd name="connsiteY6" fmla="*/ 3424 h 10000"/>
                <a:gd name="connsiteX7" fmla="*/ 7618 w 10000"/>
                <a:gd name="connsiteY7" fmla="*/ 3747 h 10000"/>
                <a:gd name="connsiteX8" fmla="*/ 7993 w 10000"/>
                <a:gd name="connsiteY8" fmla="*/ 4340 h 10000"/>
                <a:gd name="connsiteX9" fmla="*/ 7418 w 10000"/>
                <a:gd name="connsiteY9" fmla="*/ 4556 h 10000"/>
                <a:gd name="connsiteX10" fmla="*/ 6294 w 10000"/>
                <a:gd name="connsiteY10" fmla="*/ 6038 h 10000"/>
                <a:gd name="connsiteX11" fmla="*/ 6406 w 10000"/>
                <a:gd name="connsiteY11" fmla="*/ 6298 h 10000"/>
                <a:gd name="connsiteX12" fmla="*/ 6382 w 10000"/>
                <a:gd name="connsiteY12" fmla="*/ 6865 h 10000"/>
                <a:gd name="connsiteX13" fmla="*/ 6317 w 10000"/>
                <a:gd name="connsiteY13" fmla="*/ 8202 h 10000"/>
                <a:gd name="connsiteX14" fmla="*/ 6317 w 10000"/>
                <a:gd name="connsiteY14" fmla="*/ 8293 h 10000"/>
                <a:gd name="connsiteX15" fmla="*/ 5917 w 10000"/>
                <a:gd name="connsiteY15" fmla="*/ 9873 h 10000"/>
                <a:gd name="connsiteX16" fmla="*/ 5876 w 10000"/>
                <a:gd name="connsiteY16" fmla="*/ 9891 h 10000"/>
                <a:gd name="connsiteX17" fmla="*/ 5740 w 10000"/>
                <a:gd name="connsiteY17" fmla="*/ 9864 h 10000"/>
                <a:gd name="connsiteX18" fmla="*/ 5366 w 10000"/>
                <a:gd name="connsiteY18" fmla="*/ 8185 h 10000"/>
                <a:gd name="connsiteX19" fmla="*/ 5566 w 10000"/>
                <a:gd name="connsiteY19" fmla="*/ 6253 h 10000"/>
                <a:gd name="connsiteX20" fmla="*/ 5740 w 10000"/>
                <a:gd name="connsiteY20" fmla="*/ 5957 h 10000"/>
                <a:gd name="connsiteX21" fmla="*/ 5764 w 10000"/>
                <a:gd name="connsiteY21" fmla="*/ 5885 h 10000"/>
                <a:gd name="connsiteX22" fmla="*/ 5279 w 10000"/>
                <a:gd name="connsiteY22" fmla="*/ 4098 h 10000"/>
                <a:gd name="connsiteX23" fmla="*/ 5055 w 10000"/>
                <a:gd name="connsiteY23" fmla="*/ 3073 h 10000"/>
                <a:gd name="connsiteX24" fmla="*/ 5588 w 10000"/>
                <a:gd name="connsiteY24" fmla="*/ 2004 h 10000"/>
                <a:gd name="connsiteX25" fmla="*/ 5917 w 10000"/>
                <a:gd name="connsiteY25" fmla="*/ 1600 h 10000"/>
                <a:gd name="connsiteX26" fmla="*/ 5984 w 10000"/>
                <a:gd name="connsiteY26" fmla="*/ 1493 h 10000"/>
                <a:gd name="connsiteX27" fmla="*/ 5695 w 10000"/>
                <a:gd name="connsiteY27" fmla="*/ 262 h 10000"/>
                <a:gd name="connsiteX28" fmla="*/ 4261 w 10000"/>
                <a:gd name="connsiteY28" fmla="*/ 1 h 10000"/>
                <a:gd name="connsiteX29" fmla="*/ 3489 w 10000"/>
                <a:gd name="connsiteY29" fmla="*/ 136 h 10000"/>
                <a:gd name="connsiteX30" fmla="*/ 3311 w 10000"/>
                <a:gd name="connsiteY30" fmla="*/ 621 h 10000"/>
                <a:gd name="connsiteX31" fmla="*/ 3089 w 10000"/>
                <a:gd name="connsiteY31" fmla="*/ 999 h 10000"/>
                <a:gd name="connsiteX32" fmla="*/ 2051 w 10000"/>
                <a:gd name="connsiteY32" fmla="*/ 703 h 10000"/>
                <a:gd name="connsiteX33" fmla="*/ 707 w 10000"/>
                <a:gd name="connsiteY33" fmla="*/ 307 h 10000"/>
                <a:gd name="connsiteX34" fmla="*/ 44 w 10000"/>
                <a:gd name="connsiteY34" fmla="*/ 280 h 10000"/>
                <a:gd name="connsiteX35" fmla="*/ 44 w 10000"/>
                <a:gd name="connsiteY35" fmla="*/ 280 h 10000"/>
                <a:gd name="connsiteX36" fmla="*/ 572 w 10000"/>
                <a:gd name="connsiteY36" fmla="*/ 432 h 10000"/>
                <a:gd name="connsiteX37" fmla="*/ 0 w 10000"/>
                <a:gd name="connsiteY37" fmla="*/ 603 h 10000"/>
                <a:gd name="connsiteX38" fmla="*/ 0 w 10000"/>
                <a:gd name="connsiteY38" fmla="*/ 603 h 10000"/>
                <a:gd name="connsiteX39" fmla="*/ 725 w 10000"/>
                <a:gd name="connsiteY39" fmla="*/ 586 h 10000"/>
                <a:gd name="connsiteX40" fmla="*/ 1589 w 10000"/>
                <a:gd name="connsiteY40" fmla="*/ 864 h 10000"/>
                <a:gd name="connsiteX41" fmla="*/ 3290 w 10000"/>
                <a:gd name="connsiteY41" fmla="*/ 1233 h 10000"/>
                <a:gd name="connsiteX42" fmla="*/ 3910 w 10000"/>
                <a:gd name="connsiteY42" fmla="*/ 594 h 10000"/>
                <a:gd name="connsiteX43" fmla="*/ 3953 w 10000"/>
                <a:gd name="connsiteY43" fmla="*/ 298 h 10000"/>
                <a:gd name="connsiteX44" fmla="*/ 4306 w 10000"/>
                <a:gd name="connsiteY44" fmla="*/ 253 h 10000"/>
                <a:gd name="connsiteX45" fmla="*/ 5232 w 10000"/>
                <a:gd name="connsiteY45" fmla="*/ 414 h 10000"/>
                <a:gd name="connsiteX46" fmla="*/ 5432 w 10000"/>
                <a:gd name="connsiteY46" fmla="*/ 1421 h 10000"/>
                <a:gd name="connsiteX47" fmla="*/ 5344 w 10000"/>
                <a:gd name="connsiteY47" fmla="*/ 1528 h 10000"/>
                <a:gd name="connsiteX48" fmla="*/ 5055 w 10000"/>
                <a:gd name="connsiteY48" fmla="*/ 1889 h 10000"/>
                <a:gd name="connsiteX49" fmla="*/ 4458 w 10000"/>
                <a:gd name="connsiteY49" fmla="*/ 3109 h 10000"/>
                <a:gd name="connsiteX50" fmla="*/ 4703 w 10000"/>
                <a:gd name="connsiteY50" fmla="*/ 4170 h 10000"/>
                <a:gd name="connsiteX51" fmla="*/ 5170 w 10000"/>
                <a:gd name="connsiteY51" fmla="*/ 5859 h 10000"/>
                <a:gd name="connsiteX52" fmla="*/ 5147 w 10000"/>
                <a:gd name="connsiteY52" fmla="*/ 5930 h 10000"/>
                <a:gd name="connsiteX53" fmla="*/ 5301 w 10000"/>
                <a:gd name="connsiteY53" fmla="*/ 6253 h 10000"/>
                <a:gd name="connsiteX54" fmla="*/ 5100 w 10000"/>
                <a:gd name="connsiteY54" fmla="*/ 8185 h 10000"/>
                <a:gd name="connsiteX55" fmla="*/ 5566 w 10000"/>
                <a:gd name="connsiteY55" fmla="*/ 9946 h 10000"/>
                <a:gd name="connsiteX56" fmla="*/ 5876 w 10000"/>
                <a:gd name="connsiteY56" fmla="*/ 10000 h 10000"/>
                <a:gd name="connsiteX57" fmla="*/ 6118 w 10000"/>
                <a:gd name="connsiteY57" fmla="*/ 9954 h 10000"/>
                <a:gd name="connsiteX58" fmla="*/ 6579 w 10000"/>
                <a:gd name="connsiteY58" fmla="*/ 8293 h 10000"/>
                <a:gd name="connsiteX59" fmla="*/ 6579 w 10000"/>
                <a:gd name="connsiteY59" fmla="*/ 8202 h 10000"/>
                <a:gd name="connsiteX60" fmla="*/ 6649 w 10000"/>
                <a:gd name="connsiteY60" fmla="*/ 6865 h 10000"/>
                <a:gd name="connsiteX61" fmla="*/ 6690 w 10000"/>
                <a:gd name="connsiteY61" fmla="*/ 6308 h 10000"/>
                <a:gd name="connsiteX62" fmla="*/ 6890 w 10000"/>
                <a:gd name="connsiteY62" fmla="*/ 6038 h 10000"/>
                <a:gd name="connsiteX63" fmla="*/ 7751 w 10000"/>
                <a:gd name="connsiteY63" fmla="*/ 4763 h 10000"/>
                <a:gd name="connsiteX64" fmla="*/ 8477 w 10000"/>
                <a:gd name="connsiteY64" fmla="*/ 4474 h 10000"/>
                <a:gd name="connsiteX65" fmla="*/ 8060 w 10000"/>
                <a:gd name="connsiteY65" fmla="*/ 3577 h 10000"/>
                <a:gd name="connsiteX66" fmla="*/ 7486 w 10000"/>
                <a:gd name="connsiteY66" fmla="*/ 3288 h 10000"/>
                <a:gd name="connsiteX67" fmla="*/ 7263 w 10000"/>
                <a:gd name="connsiteY67" fmla="*/ 2940 h 10000"/>
                <a:gd name="connsiteX68" fmla="*/ 8146 w 10000"/>
                <a:gd name="connsiteY68" fmla="*/ 2714 h 10000"/>
                <a:gd name="connsiteX69" fmla="*/ 9847 w 10000"/>
                <a:gd name="connsiteY69" fmla="*/ 2094 h 10000"/>
                <a:gd name="connsiteX70" fmla="*/ 9803 w 10000"/>
                <a:gd name="connsiteY70" fmla="*/ 1501 h 10000"/>
                <a:gd name="connsiteX71" fmla="*/ 9386 w 10000"/>
                <a:gd name="connsiteY71" fmla="*/ 1367 h 10000"/>
                <a:gd name="connsiteX0" fmla="*/ 9386 w 10000"/>
                <a:gd name="connsiteY0" fmla="*/ 1367 h 10000"/>
                <a:gd name="connsiteX1" fmla="*/ 9295 w 10000"/>
                <a:gd name="connsiteY1" fmla="*/ 1626 h 10000"/>
                <a:gd name="connsiteX2" fmla="*/ 9295 w 10000"/>
                <a:gd name="connsiteY2" fmla="*/ 1996 h 10000"/>
                <a:gd name="connsiteX3" fmla="*/ 7970 w 10000"/>
                <a:gd name="connsiteY3" fmla="*/ 2481 h 10000"/>
                <a:gd name="connsiteX4" fmla="*/ 6712 w 10000"/>
                <a:gd name="connsiteY4" fmla="*/ 2858 h 10000"/>
                <a:gd name="connsiteX5" fmla="*/ 6953 w 10000"/>
                <a:gd name="connsiteY5" fmla="*/ 3424 h 10000"/>
                <a:gd name="connsiteX6" fmla="*/ 7618 w 10000"/>
                <a:gd name="connsiteY6" fmla="*/ 3747 h 10000"/>
                <a:gd name="connsiteX7" fmla="*/ 7993 w 10000"/>
                <a:gd name="connsiteY7" fmla="*/ 4340 h 10000"/>
                <a:gd name="connsiteX8" fmla="*/ 7418 w 10000"/>
                <a:gd name="connsiteY8" fmla="*/ 4556 h 10000"/>
                <a:gd name="connsiteX9" fmla="*/ 6294 w 10000"/>
                <a:gd name="connsiteY9" fmla="*/ 6038 h 10000"/>
                <a:gd name="connsiteX10" fmla="*/ 6406 w 10000"/>
                <a:gd name="connsiteY10" fmla="*/ 6298 h 10000"/>
                <a:gd name="connsiteX11" fmla="*/ 6382 w 10000"/>
                <a:gd name="connsiteY11" fmla="*/ 6865 h 10000"/>
                <a:gd name="connsiteX12" fmla="*/ 6317 w 10000"/>
                <a:gd name="connsiteY12" fmla="*/ 8202 h 10000"/>
                <a:gd name="connsiteX13" fmla="*/ 6317 w 10000"/>
                <a:gd name="connsiteY13" fmla="*/ 8293 h 10000"/>
                <a:gd name="connsiteX14" fmla="*/ 5917 w 10000"/>
                <a:gd name="connsiteY14" fmla="*/ 9873 h 10000"/>
                <a:gd name="connsiteX15" fmla="*/ 5876 w 10000"/>
                <a:gd name="connsiteY15" fmla="*/ 9891 h 10000"/>
                <a:gd name="connsiteX16" fmla="*/ 5740 w 10000"/>
                <a:gd name="connsiteY16" fmla="*/ 9864 h 10000"/>
                <a:gd name="connsiteX17" fmla="*/ 5366 w 10000"/>
                <a:gd name="connsiteY17" fmla="*/ 8185 h 10000"/>
                <a:gd name="connsiteX18" fmla="*/ 5566 w 10000"/>
                <a:gd name="connsiteY18" fmla="*/ 6253 h 10000"/>
                <a:gd name="connsiteX19" fmla="*/ 5740 w 10000"/>
                <a:gd name="connsiteY19" fmla="*/ 5957 h 10000"/>
                <a:gd name="connsiteX20" fmla="*/ 5764 w 10000"/>
                <a:gd name="connsiteY20" fmla="*/ 5885 h 10000"/>
                <a:gd name="connsiteX21" fmla="*/ 5279 w 10000"/>
                <a:gd name="connsiteY21" fmla="*/ 4098 h 10000"/>
                <a:gd name="connsiteX22" fmla="*/ 5055 w 10000"/>
                <a:gd name="connsiteY22" fmla="*/ 3073 h 10000"/>
                <a:gd name="connsiteX23" fmla="*/ 5588 w 10000"/>
                <a:gd name="connsiteY23" fmla="*/ 2004 h 10000"/>
                <a:gd name="connsiteX24" fmla="*/ 5917 w 10000"/>
                <a:gd name="connsiteY24" fmla="*/ 1600 h 10000"/>
                <a:gd name="connsiteX25" fmla="*/ 5984 w 10000"/>
                <a:gd name="connsiteY25" fmla="*/ 1493 h 10000"/>
                <a:gd name="connsiteX26" fmla="*/ 5695 w 10000"/>
                <a:gd name="connsiteY26" fmla="*/ 262 h 10000"/>
                <a:gd name="connsiteX27" fmla="*/ 4261 w 10000"/>
                <a:gd name="connsiteY27" fmla="*/ 1 h 10000"/>
                <a:gd name="connsiteX28" fmla="*/ 3489 w 10000"/>
                <a:gd name="connsiteY28" fmla="*/ 136 h 10000"/>
                <a:gd name="connsiteX29" fmla="*/ 3311 w 10000"/>
                <a:gd name="connsiteY29" fmla="*/ 621 h 10000"/>
                <a:gd name="connsiteX30" fmla="*/ 3089 w 10000"/>
                <a:gd name="connsiteY30" fmla="*/ 999 h 10000"/>
                <a:gd name="connsiteX31" fmla="*/ 2051 w 10000"/>
                <a:gd name="connsiteY31" fmla="*/ 703 h 10000"/>
                <a:gd name="connsiteX32" fmla="*/ 707 w 10000"/>
                <a:gd name="connsiteY32" fmla="*/ 307 h 10000"/>
                <a:gd name="connsiteX33" fmla="*/ 44 w 10000"/>
                <a:gd name="connsiteY33" fmla="*/ 280 h 10000"/>
                <a:gd name="connsiteX34" fmla="*/ 44 w 10000"/>
                <a:gd name="connsiteY34" fmla="*/ 280 h 10000"/>
                <a:gd name="connsiteX35" fmla="*/ 572 w 10000"/>
                <a:gd name="connsiteY35" fmla="*/ 432 h 10000"/>
                <a:gd name="connsiteX36" fmla="*/ 0 w 10000"/>
                <a:gd name="connsiteY36" fmla="*/ 603 h 10000"/>
                <a:gd name="connsiteX37" fmla="*/ 0 w 10000"/>
                <a:gd name="connsiteY37" fmla="*/ 603 h 10000"/>
                <a:gd name="connsiteX38" fmla="*/ 725 w 10000"/>
                <a:gd name="connsiteY38" fmla="*/ 586 h 10000"/>
                <a:gd name="connsiteX39" fmla="*/ 1589 w 10000"/>
                <a:gd name="connsiteY39" fmla="*/ 864 h 10000"/>
                <a:gd name="connsiteX40" fmla="*/ 3290 w 10000"/>
                <a:gd name="connsiteY40" fmla="*/ 1233 h 10000"/>
                <a:gd name="connsiteX41" fmla="*/ 3910 w 10000"/>
                <a:gd name="connsiteY41" fmla="*/ 594 h 10000"/>
                <a:gd name="connsiteX42" fmla="*/ 3953 w 10000"/>
                <a:gd name="connsiteY42" fmla="*/ 298 h 10000"/>
                <a:gd name="connsiteX43" fmla="*/ 4306 w 10000"/>
                <a:gd name="connsiteY43" fmla="*/ 253 h 10000"/>
                <a:gd name="connsiteX44" fmla="*/ 5232 w 10000"/>
                <a:gd name="connsiteY44" fmla="*/ 414 h 10000"/>
                <a:gd name="connsiteX45" fmla="*/ 5432 w 10000"/>
                <a:gd name="connsiteY45" fmla="*/ 1421 h 10000"/>
                <a:gd name="connsiteX46" fmla="*/ 5344 w 10000"/>
                <a:gd name="connsiteY46" fmla="*/ 1528 h 10000"/>
                <a:gd name="connsiteX47" fmla="*/ 5055 w 10000"/>
                <a:gd name="connsiteY47" fmla="*/ 1889 h 10000"/>
                <a:gd name="connsiteX48" fmla="*/ 4458 w 10000"/>
                <a:gd name="connsiteY48" fmla="*/ 3109 h 10000"/>
                <a:gd name="connsiteX49" fmla="*/ 4703 w 10000"/>
                <a:gd name="connsiteY49" fmla="*/ 4170 h 10000"/>
                <a:gd name="connsiteX50" fmla="*/ 5170 w 10000"/>
                <a:gd name="connsiteY50" fmla="*/ 5859 h 10000"/>
                <a:gd name="connsiteX51" fmla="*/ 5147 w 10000"/>
                <a:gd name="connsiteY51" fmla="*/ 5930 h 10000"/>
                <a:gd name="connsiteX52" fmla="*/ 5301 w 10000"/>
                <a:gd name="connsiteY52" fmla="*/ 6253 h 10000"/>
                <a:gd name="connsiteX53" fmla="*/ 5100 w 10000"/>
                <a:gd name="connsiteY53" fmla="*/ 8185 h 10000"/>
                <a:gd name="connsiteX54" fmla="*/ 5566 w 10000"/>
                <a:gd name="connsiteY54" fmla="*/ 9946 h 10000"/>
                <a:gd name="connsiteX55" fmla="*/ 5876 w 10000"/>
                <a:gd name="connsiteY55" fmla="*/ 10000 h 10000"/>
                <a:gd name="connsiteX56" fmla="*/ 6118 w 10000"/>
                <a:gd name="connsiteY56" fmla="*/ 9954 h 10000"/>
                <a:gd name="connsiteX57" fmla="*/ 6579 w 10000"/>
                <a:gd name="connsiteY57" fmla="*/ 8293 h 10000"/>
                <a:gd name="connsiteX58" fmla="*/ 6579 w 10000"/>
                <a:gd name="connsiteY58" fmla="*/ 8202 h 10000"/>
                <a:gd name="connsiteX59" fmla="*/ 6649 w 10000"/>
                <a:gd name="connsiteY59" fmla="*/ 6865 h 10000"/>
                <a:gd name="connsiteX60" fmla="*/ 6690 w 10000"/>
                <a:gd name="connsiteY60" fmla="*/ 6308 h 10000"/>
                <a:gd name="connsiteX61" fmla="*/ 6890 w 10000"/>
                <a:gd name="connsiteY61" fmla="*/ 6038 h 10000"/>
                <a:gd name="connsiteX62" fmla="*/ 7751 w 10000"/>
                <a:gd name="connsiteY62" fmla="*/ 4763 h 10000"/>
                <a:gd name="connsiteX63" fmla="*/ 8477 w 10000"/>
                <a:gd name="connsiteY63" fmla="*/ 4474 h 10000"/>
                <a:gd name="connsiteX64" fmla="*/ 8060 w 10000"/>
                <a:gd name="connsiteY64" fmla="*/ 3577 h 10000"/>
                <a:gd name="connsiteX65" fmla="*/ 7486 w 10000"/>
                <a:gd name="connsiteY65" fmla="*/ 3288 h 10000"/>
                <a:gd name="connsiteX66" fmla="*/ 7263 w 10000"/>
                <a:gd name="connsiteY66" fmla="*/ 2940 h 10000"/>
                <a:gd name="connsiteX67" fmla="*/ 8146 w 10000"/>
                <a:gd name="connsiteY67" fmla="*/ 2714 h 10000"/>
                <a:gd name="connsiteX68" fmla="*/ 9847 w 10000"/>
                <a:gd name="connsiteY68" fmla="*/ 2094 h 10000"/>
                <a:gd name="connsiteX69" fmla="*/ 9803 w 10000"/>
                <a:gd name="connsiteY69" fmla="*/ 1501 h 10000"/>
                <a:gd name="connsiteX70" fmla="*/ 9386 w 10000"/>
                <a:gd name="connsiteY70" fmla="*/ 1367 h 10000"/>
                <a:gd name="connsiteX0" fmla="*/ 9386 w 10000"/>
                <a:gd name="connsiteY0" fmla="*/ 1367 h 10000"/>
                <a:gd name="connsiteX1" fmla="*/ 9295 w 10000"/>
                <a:gd name="connsiteY1" fmla="*/ 1996 h 10000"/>
                <a:gd name="connsiteX2" fmla="*/ 7970 w 10000"/>
                <a:gd name="connsiteY2" fmla="*/ 2481 h 10000"/>
                <a:gd name="connsiteX3" fmla="*/ 6712 w 10000"/>
                <a:gd name="connsiteY3" fmla="*/ 2858 h 10000"/>
                <a:gd name="connsiteX4" fmla="*/ 6953 w 10000"/>
                <a:gd name="connsiteY4" fmla="*/ 3424 h 10000"/>
                <a:gd name="connsiteX5" fmla="*/ 7618 w 10000"/>
                <a:gd name="connsiteY5" fmla="*/ 3747 h 10000"/>
                <a:gd name="connsiteX6" fmla="*/ 7993 w 10000"/>
                <a:gd name="connsiteY6" fmla="*/ 4340 h 10000"/>
                <a:gd name="connsiteX7" fmla="*/ 7418 w 10000"/>
                <a:gd name="connsiteY7" fmla="*/ 4556 h 10000"/>
                <a:gd name="connsiteX8" fmla="*/ 6294 w 10000"/>
                <a:gd name="connsiteY8" fmla="*/ 6038 h 10000"/>
                <a:gd name="connsiteX9" fmla="*/ 6406 w 10000"/>
                <a:gd name="connsiteY9" fmla="*/ 6298 h 10000"/>
                <a:gd name="connsiteX10" fmla="*/ 6382 w 10000"/>
                <a:gd name="connsiteY10" fmla="*/ 6865 h 10000"/>
                <a:gd name="connsiteX11" fmla="*/ 6317 w 10000"/>
                <a:gd name="connsiteY11" fmla="*/ 8202 h 10000"/>
                <a:gd name="connsiteX12" fmla="*/ 6317 w 10000"/>
                <a:gd name="connsiteY12" fmla="*/ 8293 h 10000"/>
                <a:gd name="connsiteX13" fmla="*/ 5917 w 10000"/>
                <a:gd name="connsiteY13" fmla="*/ 9873 h 10000"/>
                <a:gd name="connsiteX14" fmla="*/ 5876 w 10000"/>
                <a:gd name="connsiteY14" fmla="*/ 9891 h 10000"/>
                <a:gd name="connsiteX15" fmla="*/ 5740 w 10000"/>
                <a:gd name="connsiteY15" fmla="*/ 9864 h 10000"/>
                <a:gd name="connsiteX16" fmla="*/ 5366 w 10000"/>
                <a:gd name="connsiteY16" fmla="*/ 8185 h 10000"/>
                <a:gd name="connsiteX17" fmla="*/ 5566 w 10000"/>
                <a:gd name="connsiteY17" fmla="*/ 6253 h 10000"/>
                <a:gd name="connsiteX18" fmla="*/ 5740 w 10000"/>
                <a:gd name="connsiteY18" fmla="*/ 5957 h 10000"/>
                <a:gd name="connsiteX19" fmla="*/ 5764 w 10000"/>
                <a:gd name="connsiteY19" fmla="*/ 5885 h 10000"/>
                <a:gd name="connsiteX20" fmla="*/ 5279 w 10000"/>
                <a:gd name="connsiteY20" fmla="*/ 4098 h 10000"/>
                <a:gd name="connsiteX21" fmla="*/ 5055 w 10000"/>
                <a:gd name="connsiteY21" fmla="*/ 3073 h 10000"/>
                <a:gd name="connsiteX22" fmla="*/ 5588 w 10000"/>
                <a:gd name="connsiteY22" fmla="*/ 2004 h 10000"/>
                <a:gd name="connsiteX23" fmla="*/ 5917 w 10000"/>
                <a:gd name="connsiteY23" fmla="*/ 1600 h 10000"/>
                <a:gd name="connsiteX24" fmla="*/ 5984 w 10000"/>
                <a:gd name="connsiteY24" fmla="*/ 1493 h 10000"/>
                <a:gd name="connsiteX25" fmla="*/ 5695 w 10000"/>
                <a:gd name="connsiteY25" fmla="*/ 262 h 10000"/>
                <a:gd name="connsiteX26" fmla="*/ 4261 w 10000"/>
                <a:gd name="connsiteY26" fmla="*/ 1 h 10000"/>
                <a:gd name="connsiteX27" fmla="*/ 3489 w 10000"/>
                <a:gd name="connsiteY27" fmla="*/ 136 h 10000"/>
                <a:gd name="connsiteX28" fmla="*/ 3311 w 10000"/>
                <a:gd name="connsiteY28" fmla="*/ 621 h 10000"/>
                <a:gd name="connsiteX29" fmla="*/ 3089 w 10000"/>
                <a:gd name="connsiteY29" fmla="*/ 999 h 10000"/>
                <a:gd name="connsiteX30" fmla="*/ 2051 w 10000"/>
                <a:gd name="connsiteY30" fmla="*/ 703 h 10000"/>
                <a:gd name="connsiteX31" fmla="*/ 707 w 10000"/>
                <a:gd name="connsiteY31" fmla="*/ 307 h 10000"/>
                <a:gd name="connsiteX32" fmla="*/ 44 w 10000"/>
                <a:gd name="connsiteY32" fmla="*/ 280 h 10000"/>
                <a:gd name="connsiteX33" fmla="*/ 44 w 10000"/>
                <a:gd name="connsiteY33" fmla="*/ 280 h 10000"/>
                <a:gd name="connsiteX34" fmla="*/ 572 w 10000"/>
                <a:gd name="connsiteY34" fmla="*/ 432 h 10000"/>
                <a:gd name="connsiteX35" fmla="*/ 0 w 10000"/>
                <a:gd name="connsiteY35" fmla="*/ 603 h 10000"/>
                <a:gd name="connsiteX36" fmla="*/ 0 w 10000"/>
                <a:gd name="connsiteY36" fmla="*/ 603 h 10000"/>
                <a:gd name="connsiteX37" fmla="*/ 725 w 10000"/>
                <a:gd name="connsiteY37" fmla="*/ 586 h 10000"/>
                <a:gd name="connsiteX38" fmla="*/ 1589 w 10000"/>
                <a:gd name="connsiteY38" fmla="*/ 864 h 10000"/>
                <a:gd name="connsiteX39" fmla="*/ 3290 w 10000"/>
                <a:gd name="connsiteY39" fmla="*/ 1233 h 10000"/>
                <a:gd name="connsiteX40" fmla="*/ 3910 w 10000"/>
                <a:gd name="connsiteY40" fmla="*/ 594 h 10000"/>
                <a:gd name="connsiteX41" fmla="*/ 3953 w 10000"/>
                <a:gd name="connsiteY41" fmla="*/ 298 h 10000"/>
                <a:gd name="connsiteX42" fmla="*/ 4306 w 10000"/>
                <a:gd name="connsiteY42" fmla="*/ 253 h 10000"/>
                <a:gd name="connsiteX43" fmla="*/ 5232 w 10000"/>
                <a:gd name="connsiteY43" fmla="*/ 414 h 10000"/>
                <a:gd name="connsiteX44" fmla="*/ 5432 w 10000"/>
                <a:gd name="connsiteY44" fmla="*/ 1421 h 10000"/>
                <a:gd name="connsiteX45" fmla="*/ 5344 w 10000"/>
                <a:gd name="connsiteY45" fmla="*/ 1528 h 10000"/>
                <a:gd name="connsiteX46" fmla="*/ 5055 w 10000"/>
                <a:gd name="connsiteY46" fmla="*/ 1889 h 10000"/>
                <a:gd name="connsiteX47" fmla="*/ 4458 w 10000"/>
                <a:gd name="connsiteY47" fmla="*/ 3109 h 10000"/>
                <a:gd name="connsiteX48" fmla="*/ 4703 w 10000"/>
                <a:gd name="connsiteY48" fmla="*/ 4170 h 10000"/>
                <a:gd name="connsiteX49" fmla="*/ 5170 w 10000"/>
                <a:gd name="connsiteY49" fmla="*/ 5859 h 10000"/>
                <a:gd name="connsiteX50" fmla="*/ 5147 w 10000"/>
                <a:gd name="connsiteY50" fmla="*/ 5930 h 10000"/>
                <a:gd name="connsiteX51" fmla="*/ 5301 w 10000"/>
                <a:gd name="connsiteY51" fmla="*/ 6253 h 10000"/>
                <a:gd name="connsiteX52" fmla="*/ 5100 w 10000"/>
                <a:gd name="connsiteY52" fmla="*/ 8185 h 10000"/>
                <a:gd name="connsiteX53" fmla="*/ 5566 w 10000"/>
                <a:gd name="connsiteY53" fmla="*/ 9946 h 10000"/>
                <a:gd name="connsiteX54" fmla="*/ 5876 w 10000"/>
                <a:gd name="connsiteY54" fmla="*/ 10000 h 10000"/>
                <a:gd name="connsiteX55" fmla="*/ 6118 w 10000"/>
                <a:gd name="connsiteY55" fmla="*/ 9954 h 10000"/>
                <a:gd name="connsiteX56" fmla="*/ 6579 w 10000"/>
                <a:gd name="connsiteY56" fmla="*/ 8293 h 10000"/>
                <a:gd name="connsiteX57" fmla="*/ 6579 w 10000"/>
                <a:gd name="connsiteY57" fmla="*/ 8202 h 10000"/>
                <a:gd name="connsiteX58" fmla="*/ 6649 w 10000"/>
                <a:gd name="connsiteY58" fmla="*/ 6865 h 10000"/>
                <a:gd name="connsiteX59" fmla="*/ 6690 w 10000"/>
                <a:gd name="connsiteY59" fmla="*/ 6308 h 10000"/>
                <a:gd name="connsiteX60" fmla="*/ 6890 w 10000"/>
                <a:gd name="connsiteY60" fmla="*/ 6038 h 10000"/>
                <a:gd name="connsiteX61" fmla="*/ 7751 w 10000"/>
                <a:gd name="connsiteY61" fmla="*/ 4763 h 10000"/>
                <a:gd name="connsiteX62" fmla="*/ 8477 w 10000"/>
                <a:gd name="connsiteY62" fmla="*/ 4474 h 10000"/>
                <a:gd name="connsiteX63" fmla="*/ 8060 w 10000"/>
                <a:gd name="connsiteY63" fmla="*/ 3577 h 10000"/>
                <a:gd name="connsiteX64" fmla="*/ 7486 w 10000"/>
                <a:gd name="connsiteY64" fmla="*/ 3288 h 10000"/>
                <a:gd name="connsiteX65" fmla="*/ 7263 w 10000"/>
                <a:gd name="connsiteY65" fmla="*/ 2940 h 10000"/>
                <a:gd name="connsiteX66" fmla="*/ 8146 w 10000"/>
                <a:gd name="connsiteY66" fmla="*/ 2714 h 10000"/>
                <a:gd name="connsiteX67" fmla="*/ 9847 w 10000"/>
                <a:gd name="connsiteY67" fmla="*/ 2094 h 10000"/>
                <a:gd name="connsiteX68" fmla="*/ 9803 w 10000"/>
                <a:gd name="connsiteY68" fmla="*/ 1501 h 10000"/>
                <a:gd name="connsiteX69" fmla="*/ 9386 w 10000"/>
                <a:gd name="connsiteY69" fmla="*/ 1367 h 10000"/>
                <a:gd name="connsiteX0" fmla="*/ 9803 w 10000"/>
                <a:gd name="connsiteY0" fmla="*/ 1501 h 10000"/>
                <a:gd name="connsiteX1" fmla="*/ 9295 w 10000"/>
                <a:gd name="connsiteY1" fmla="*/ 1996 h 10000"/>
                <a:gd name="connsiteX2" fmla="*/ 7970 w 10000"/>
                <a:gd name="connsiteY2" fmla="*/ 2481 h 10000"/>
                <a:gd name="connsiteX3" fmla="*/ 6712 w 10000"/>
                <a:gd name="connsiteY3" fmla="*/ 2858 h 10000"/>
                <a:gd name="connsiteX4" fmla="*/ 6953 w 10000"/>
                <a:gd name="connsiteY4" fmla="*/ 3424 h 10000"/>
                <a:gd name="connsiteX5" fmla="*/ 7618 w 10000"/>
                <a:gd name="connsiteY5" fmla="*/ 3747 h 10000"/>
                <a:gd name="connsiteX6" fmla="*/ 7993 w 10000"/>
                <a:gd name="connsiteY6" fmla="*/ 4340 h 10000"/>
                <a:gd name="connsiteX7" fmla="*/ 7418 w 10000"/>
                <a:gd name="connsiteY7" fmla="*/ 4556 h 10000"/>
                <a:gd name="connsiteX8" fmla="*/ 6294 w 10000"/>
                <a:gd name="connsiteY8" fmla="*/ 6038 h 10000"/>
                <a:gd name="connsiteX9" fmla="*/ 6406 w 10000"/>
                <a:gd name="connsiteY9" fmla="*/ 6298 h 10000"/>
                <a:gd name="connsiteX10" fmla="*/ 6382 w 10000"/>
                <a:gd name="connsiteY10" fmla="*/ 6865 h 10000"/>
                <a:gd name="connsiteX11" fmla="*/ 6317 w 10000"/>
                <a:gd name="connsiteY11" fmla="*/ 8202 h 10000"/>
                <a:gd name="connsiteX12" fmla="*/ 6317 w 10000"/>
                <a:gd name="connsiteY12" fmla="*/ 8293 h 10000"/>
                <a:gd name="connsiteX13" fmla="*/ 5917 w 10000"/>
                <a:gd name="connsiteY13" fmla="*/ 9873 h 10000"/>
                <a:gd name="connsiteX14" fmla="*/ 5876 w 10000"/>
                <a:gd name="connsiteY14" fmla="*/ 9891 h 10000"/>
                <a:gd name="connsiteX15" fmla="*/ 5740 w 10000"/>
                <a:gd name="connsiteY15" fmla="*/ 9864 h 10000"/>
                <a:gd name="connsiteX16" fmla="*/ 5366 w 10000"/>
                <a:gd name="connsiteY16" fmla="*/ 8185 h 10000"/>
                <a:gd name="connsiteX17" fmla="*/ 5566 w 10000"/>
                <a:gd name="connsiteY17" fmla="*/ 6253 h 10000"/>
                <a:gd name="connsiteX18" fmla="*/ 5740 w 10000"/>
                <a:gd name="connsiteY18" fmla="*/ 5957 h 10000"/>
                <a:gd name="connsiteX19" fmla="*/ 5764 w 10000"/>
                <a:gd name="connsiteY19" fmla="*/ 5885 h 10000"/>
                <a:gd name="connsiteX20" fmla="*/ 5279 w 10000"/>
                <a:gd name="connsiteY20" fmla="*/ 4098 h 10000"/>
                <a:gd name="connsiteX21" fmla="*/ 5055 w 10000"/>
                <a:gd name="connsiteY21" fmla="*/ 3073 h 10000"/>
                <a:gd name="connsiteX22" fmla="*/ 5588 w 10000"/>
                <a:gd name="connsiteY22" fmla="*/ 2004 h 10000"/>
                <a:gd name="connsiteX23" fmla="*/ 5917 w 10000"/>
                <a:gd name="connsiteY23" fmla="*/ 1600 h 10000"/>
                <a:gd name="connsiteX24" fmla="*/ 5984 w 10000"/>
                <a:gd name="connsiteY24" fmla="*/ 1493 h 10000"/>
                <a:gd name="connsiteX25" fmla="*/ 5695 w 10000"/>
                <a:gd name="connsiteY25" fmla="*/ 262 h 10000"/>
                <a:gd name="connsiteX26" fmla="*/ 4261 w 10000"/>
                <a:gd name="connsiteY26" fmla="*/ 1 h 10000"/>
                <a:gd name="connsiteX27" fmla="*/ 3489 w 10000"/>
                <a:gd name="connsiteY27" fmla="*/ 136 h 10000"/>
                <a:gd name="connsiteX28" fmla="*/ 3311 w 10000"/>
                <a:gd name="connsiteY28" fmla="*/ 621 h 10000"/>
                <a:gd name="connsiteX29" fmla="*/ 3089 w 10000"/>
                <a:gd name="connsiteY29" fmla="*/ 999 h 10000"/>
                <a:gd name="connsiteX30" fmla="*/ 2051 w 10000"/>
                <a:gd name="connsiteY30" fmla="*/ 703 h 10000"/>
                <a:gd name="connsiteX31" fmla="*/ 707 w 10000"/>
                <a:gd name="connsiteY31" fmla="*/ 307 h 10000"/>
                <a:gd name="connsiteX32" fmla="*/ 44 w 10000"/>
                <a:gd name="connsiteY32" fmla="*/ 280 h 10000"/>
                <a:gd name="connsiteX33" fmla="*/ 44 w 10000"/>
                <a:gd name="connsiteY33" fmla="*/ 280 h 10000"/>
                <a:gd name="connsiteX34" fmla="*/ 572 w 10000"/>
                <a:gd name="connsiteY34" fmla="*/ 432 h 10000"/>
                <a:gd name="connsiteX35" fmla="*/ 0 w 10000"/>
                <a:gd name="connsiteY35" fmla="*/ 603 h 10000"/>
                <a:gd name="connsiteX36" fmla="*/ 0 w 10000"/>
                <a:gd name="connsiteY36" fmla="*/ 603 h 10000"/>
                <a:gd name="connsiteX37" fmla="*/ 725 w 10000"/>
                <a:gd name="connsiteY37" fmla="*/ 586 h 10000"/>
                <a:gd name="connsiteX38" fmla="*/ 1589 w 10000"/>
                <a:gd name="connsiteY38" fmla="*/ 864 h 10000"/>
                <a:gd name="connsiteX39" fmla="*/ 3290 w 10000"/>
                <a:gd name="connsiteY39" fmla="*/ 1233 h 10000"/>
                <a:gd name="connsiteX40" fmla="*/ 3910 w 10000"/>
                <a:gd name="connsiteY40" fmla="*/ 594 h 10000"/>
                <a:gd name="connsiteX41" fmla="*/ 3953 w 10000"/>
                <a:gd name="connsiteY41" fmla="*/ 298 h 10000"/>
                <a:gd name="connsiteX42" fmla="*/ 4306 w 10000"/>
                <a:gd name="connsiteY42" fmla="*/ 253 h 10000"/>
                <a:gd name="connsiteX43" fmla="*/ 5232 w 10000"/>
                <a:gd name="connsiteY43" fmla="*/ 414 h 10000"/>
                <a:gd name="connsiteX44" fmla="*/ 5432 w 10000"/>
                <a:gd name="connsiteY44" fmla="*/ 1421 h 10000"/>
                <a:gd name="connsiteX45" fmla="*/ 5344 w 10000"/>
                <a:gd name="connsiteY45" fmla="*/ 1528 h 10000"/>
                <a:gd name="connsiteX46" fmla="*/ 5055 w 10000"/>
                <a:gd name="connsiteY46" fmla="*/ 1889 h 10000"/>
                <a:gd name="connsiteX47" fmla="*/ 4458 w 10000"/>
                <a:gd name="connsiteY47" fmla="*/ 3109 h 10000"/>
                <a:gd name="connsiteX48" fmla="*/ 4703 w 10000"/>
                <a:gd name="connsiteY48" fmla="*/ 4170 h 10000"/>
                <a:gd name="connsiteX49" fmla="*/ 5170 w 10000"/>
                <a:gd name="connsiteY49" fmla="*/ 5859 h 10000"/>
                <a:gd name="connsiteX50" fmla="*/ 5147 w 10000"/>
                <a:gd name="connsiteY50" fmla="*/ 5930 h 10000"/>
                <a:gd name="connsiteX51" fmla="*/ 5301 w 10000"/>
                <a:gd name="connsiteY51" fmla="*/ 6253 h 10000"/>
                <a:gd name="connsiteX52" fmla="*/ 5100 w 10000"/>
                <a:gd name="connsiteY52" fmla="*/ 8185 h 10000"/>
                <a:gd name="connsiteX53" fmla="*/ 5566 w 10000"/>
                <a:gd name="connsiteY53" fmla="*/ 9946 h 10000"/>
                <a:gd name="connsiteX54" fmla="*/ 5876 w 10000"/>
                <a:gd name="connsiteY54" fmla="*/ 10000 h 10000"/>
                <a:gd name="connsiteX55" fmla="*/ 6118 w 10000"/>
                <a:gd name="connsiteY55" fmla="*/ 9954 h 10000"/>
                <a:gd name="connsiteX56" fmla="*/ 6579 w 10000"/>
                <a:gd name="connsiteY56" fmla="*/ 8293 h 10000"/>
                <a:gd name="connsiteX57" fmla="*/ 6579 w 10000"/>
                <a:gd name="connsiteY57" fmla="*/ 8202 h 10000"/>
                <a:gd name="connsiteX58" fmla="*/ 6649 w 10000"/>
                <a:gd name="connsiteY58" fmla="*/ 6865 h 10000"/>
                <a:gd name="connsiteX59" fmla="*/ 6690 w 10000"/>
                <a:gd name="connsiteY59" fmla="*/ 6308 h 10000"/>
                <a:gd name="connsiteX60" fmla="*/ 6890 w 10000"/>
                <a:gd name="connsiteY60" fmla="*/ 6038 h 10000"/>
                <a:gd name="connsiteX61" fmla="*/ 7751 w 10000"/>
                <a:gd name="connsiteY61" fmla="*/ 4763 h 10000"/>
                <a:gd name="connsiteX62" fmla="*/ 8477 w 10000"/>
                <a:gd name="connsiteY62" fmla="*/ 4474 h 10000"/>
                <a:gd name="connsiteX63" fmla="*/ 8060 w 10000"/>
                <a:gd name="connsiteY63" fmla="*/ 3577 h 10000"/>
                <a:gd name="connsiteX64" fmla="*/ 7486 w 10000"/>
                <a:gd name="connsiteY64" fmla="*/ 3288 h 10000"/>
                <a:gd name="connsiteX65" fmla="*/ 7263 w 10000"/>
                <a:gd name="connsiteY65" fmla="*/ 2940 h 10000"/>
                <a:gd name="connsiteX66" fmla="*/ 8146 w 10000"/>
                <a:gd name="connsiteY66" fmla="*/ 2714 h 10000"/>
                <a:gd name="connsiteX67" fmla="*/ 9847 w 10000"/>
                <a:gd name="connsiteY67" fmla="*/ 2094 h 10000"/>
                <a:gd name="connsiteX68" fmla="*/ 9803 w 10000"/>
                <a:gd name="connsiteY68" fmla="*/ 1501 h 10000"/>
                <a:gd name="connsiteX0" fmla="*/ 9847 w 9894"/>
                <a:gd name="connsiteY0" fmla="*/ 2094 h 10000"/>
                <a:gd name="connsiteX1" fmla="*/ 9295 w 9894"/>
                <a:gd name="connsiteY1" fmla="*/ 1996 h 10000"/>
                <a:gd name="connsiteX2" fmla="*/ 7970 w 9894"/>
                <a:gd name="connsiteY2" fmla="*/ 2481 h 10000"/>
                <a:gd name="connsiteX3" fmla="*/ 6712 w 9894"/>
                <a:gd name="connsiteY3" fmla="*/ 2858 h 10000"/>
                <a:gd name="connsiteX4" fmla="*/ 6953 w 9894"/>
                <a:gd name="connsiteY4" fmla="*/ 3424 h 10000"/>
                <a:gd name="connsiteX5" fmla="*/ 7618 w 9894"/>
                <a:gd name="connsiteY5" fmla="*/ 3747 h 10000"/>
                <a:gd name="connsiteX6" fmla="*/ 7993 w 9894"/>
                <a:gd name="connsiteY6" fmla="*/ 4340 h 10000"/>
                <a:gd name="connsiteX7" fmla="*/ 7418 w 9894"/>
                <a:gd name="connsiteY7" fmla="*/ 4556 h 10000"/>
                <a:gd name="connsiteX8" fmla="*/ 6294 w 9894"/>
                <a:gd name="connsiteY8" fmla="*/ 6038 h 10000"/>
                <a:gd name="connsiteX9" fmla="*/ 6406 w 9894"/>
                <a:gd name="connsiteY9" fmla="*/ 6298 h 10000"/>
                <a:gd name="connsiteX10" fmla="*/ 6382 w 9894"/>
                <a:gd name="connsiteY10" fmla="*/ 6865 h 10000"/>
                <a:gd name="connsiteX11" fmla="*/ 6317 w 9894"/>
                <a:gd name="connsiteY11" fmla="*/ 8202 h 10000"/>
                <a:gd name="connsiteX12" fmla="*/ 6317 w 9894"/>
                <a:gd name="connsiteY12" fmla="*/ 8293 h 10000"/>
                <a:gd name="connsiteX13" fmla="*/ 5917 w 9894"/>
                <a:gd name="connsiteY13" fmla="*/ 9873 h 10000"/>
                <a:gd name="connsiteX14" fmla="*/ 5876 w 9894"/>
                <a:gd name="connsiteY14" fmla="*/ 9891 h 10000"/>
                <a:gd name="connsiteX15" fmla="*/ 5740 w 9894"/>
                <a:gd name="connsiteY15" fmla="*/ 9864 h 10000"/>
                <a:gd name="connsiteX16" fmla="*/ 5366 w 9894"/>
                <a:gd name="connsiteY16" fmla="*/ 8185 h 10000"/>
                <a:gd name="connsiteX17" fmla="*/ 5566 w 9894"/>
                <a:gd name="connsiteY17" fmla="*/ 6253 h 10000"/>
                <a:gd name="connsiteX18" fmla="*/ 5740 w 9894"/>
                <a:gd name="connsiteY18" fmla="*/ 5957 h 10000"/>
                <a:gd name="connsiteX19" fmla="*/ 5764 w 9894"/>
                <a:gd name="connsiteY19" fmla="*/ 5885 h 10000"/>
                <a:gd name="connsiteX20" fmla="*/ 5279 w 9894"/>
                <a:gd name="connsiteY20" fmla="*/ 4098 h 10000"/>
                <a:gd name="connsiteX21" fmla="*/ 5055 w 9894"/>
                <a:gd name="connsiteY21" fmla="*/ 3073 h 10000"/>
                <a:gd name="connsiteX22" fmla="*/ 5588 w 9894"/>
                <a:gd name="connsiteY22" fmla="*/ 2004 h 10000"/>
                <a:gd name="connsiteX23" fmla="*/ 5917 w 9894"/>
                <a:gd name="connsiteY23" fmla="*/ 1600 h 10000"/>
                <a:gd name="connsiteX24" fmla="*/ 5984 w 9894"/>
                <a:gd name="connsiteY24" fmla="*/ 1493 h 10000"/>
                <a:gd name="connsiteX25" fmla="*/ 5695 w 9894"/>
                <a:gd name="connsiteY25" fmla="*/ 262 h 10000"/>
                <a:gd name="connsiteX26" fmla="*/ 4261 w 9894"/>
                <a:gd name="connsiteY26" fmla="*/ 1 h 10000"/>
                <a:gd name="connsiteX27" fmla="*/ 3489 w 9894"/>
                <a:gd name="connsiteY27" fmla="*/ 136 h 10000"/>
                <a:gd name="connsiteX28" fmla="*/ 3311 w 9894"/>
                <a:gd name="connsiteY28" fmla="*/ 621 h 10000"/>
                <a:gd name="connsiteX29" fmla="*/ 3089 w 9894"/>
                <a:gd name="connsiteY29" fmla="*/ 999 h 10000"/>
                <a:gd name="connsiteX30" fmla="*/ 2051 w 9894"/>
                <a:gd name="connsiteY30" fmla="*/ 703 h 10000"/>
                <a:gd name="connsiteX31" fmla="*/ 707 w 9894"/>
                <a:gd name="connsiteY31" fmla="*/ 307 h 10000"/>
                <a:gd name="connsiteX32" fmla="*/ 44 w 9894"/>
                <a:gd name="connsiteY32" fmla="*/ 280 h 10000"/>
                <a:gd name="connsiteX33" fmla="*/ 44 w 9894"/>
                <a:gd name="connsiteY33" fmla="*/ 280 h 10000"/>
                <a:gd name="connsiteX34" fmla="*/ 572 w 9894"/>
                <a:gd name="connsiteY34" fmla="*/ 432 h 10000"/>
                <a:gd name="connsiteX35" fmla="*/ 0 w 9894"/>
                <a:gd name="connsiteY35" fmla="*/ 603 h 10000"/>
                <a:gd name="connsiteX36" fmla="*/ 0 w 9894"/>
                <a:gd name="connsiteY36" fmla="*/ 603 h 10000"/>
                <a:gd name="connsiteX37" fmla="*/ 725 w 9894"/>
                <a:gd name="connsiteY37" fmla="*/ 586 h 10000"/>
                <a:gd name="connsiteX38" fmla="*/ 1589 w 9894"/>
                <a:gd name="connsiteY38" fmla="*/ 864 h 10000"/>
                <a:gd name="connsiteX39" fmla="*/ 3290 w 9894"/>
                <a:gd name="connsiteY39" fmla="*/ 1233 h 10000"/>
                <a:gd name="connsiteX40" fmla="*/ 3910 w 9894"/>
                <a:gd name="connsiteY40" fmla="*/ 594 h 10000"/>
                <a:gd name="connsiteX41" fmla="*/ 3953 w 9894"/>
                <a:gd name="connsiteY41" fmla="*/ 298 h 10000"/>
                <a:gd name="connsiteX42" fmla="*/ 4306 w 9894"/>
                <a:gd name="connsiteY42" fmla="*/ 253 h 10000"/>
                <a:gd name="connsiteX43" fmla="*/ 5232 w 9894"/>
                <a:gd name="connsiteY43" fmla="*/ 414 h 10000"/>
                <a:gd name="connsiteX44" fmla="*/ 5432 w 9894"/>
                <a:gd name="connsiteY44" fmla="*/ 1421 h 10000"/>
                <a:gd name="connsiteX45" fmla="*/ 5344 w 9894"/>
                <a:gd name="connsiteY45" fmla="*/ 1528 h 10000"/>
                <a:gd name="connsiteX46" fmla="*/ 5055 w 9894"/>
                <a:gd name="connsiteY46" fmla="*/ 1889 h 10000"/>
                <a:gd name="connsiteX47" fmla="*/ 4458 w 9894"/>
                <a:gd name="connsiteY47" fmla="*/ 3109 h 10000"/>
                <a:gd name="connsiteX48" fmla="*/ 4703 w 9894"/>
                <a:gd name="connsiteY48" fmla="*/ 4170 h 10000"/>
                <a:gd name="connsiteX49" fmla="*/ 5170 w 9894"/>
                <a:gd name="connsiteY49" fmla="*/ 5859 h 10000"/>
                <a:gd name="connsiteX50" fmla="*/ 5147 w 9894"/>
                <a:gd name="connsiteY50" fmla="*/ 5930 h 10000"/>
                <a:gd name="connsiteX51" fmla="*/ 5301 w 9894"/>
                <a:gd name="connsiteY51" fmla="*/ 6253 h 10000"/>
                <a:gd name="connsiteX52" fmla="*/ 5100 w 9894"/>
                <a:gd name="connsiteY52" fmla="*/ 8185 h 10000"/>
                <a:gd name="connsiteX53" fmla="*/ 5566 w 9894"/>
                <a:gd name="connsiteY53" fmla="*/ 9946 h 10000"/>
                <a:gd name="connsiteX54" fmla="*/ 5876 w 9894"/>
                <a:gd name="connsiteY54" fmla="*/ 10000 h 10000"/>
                <a:gd name="connsiteX55" fmla="*/ 6118 w 9894"/>
                <a:gd name="connsiteY55" fmla="*/ 9954 h 10000"/>
                <a:gd name="connsiteX56" fmla="*/ 6579 w 9894"/>
                <a:gd name="connsiteY56" fmla="*/ 8293 h 10000"/>
                <a:gd name="connsiteX57" fmla="*/ 6579 w 9894"/>
                <a:gd name="connsiteY57" fmla="*/ 8202 h 10000"/>
                <a:gd name="connsiteX58" fmla="*/ 6649 w 9894"/>
                <a:gd name="connsiteY58" fmla="*/ 6865 h 10000"/>
                <a:gd name="connsiteX59" fmla="*/ 6690 w 9894"/>
                <a:gd name="connsiteY59" fmla="*/ 6308 h 10000"/>
                <a:gd name="connsiteX60" fmla="*/ 6890 w 9894"/>
                <a:gd name="connsiteY60" fmla="*/ 6038 h 10000"/>
                <a:gd name="connsiteX61" fmla="*/ 7751 w 9894"/>
                <a:gd name="connsiteY61" fmla="*/ 4763 h 10000"/>
                <a:gd name="connsiteX62" fmla="*/ 8477 w 9894"/>
                <a:gd name="connsiteY62" fmla="*/ 4474 h 10000"/>
                <a:gd name="connsiteX63" fmla="*/ 8060 w 9894"/>
                <a:gd name="connsiteY63" fmla="*/ 3577 h 10000"/>
                <a:gd name="connsiteX64" fmla="*/ 7486 w 9894"/>
                <a:gd name="connsiteY64" fmla="*/ 3288 h 10000"/>
                <a:gd name="connsiteX65" fmla="*/ 7263 w 9894"/>
                <a:gd name="connsiteY65" fmla="*/ 2940 h 10000"/>
                <a:gd name="connsiteX66" fmla="*/ 8146 w 9894"/>
                <a:gd name="connsiteY66" fmla="*/ 2714 h 10000"/>
                <a:gd name="connsiteX67" fmla="*/ 9847 w 9894"/>
                <a:gd name="connsiteY67" fmla="*/ 2094 h 10000"/>
                <a:gd name="connsiteX0" fmla="*/ 8233 w 9395"/>
                <a:gd name="connsiteY0" fmla="*/ 2714 h 10000"/>
                <a:gd name="connsiteX1" fmla="*/ 9395 w 9395"/>
                <a:gd name="connsiteY1" fmla="*/ 1996 h 10000"/>
                <a:gd name="connsiteX2" fmla="*/ 8055 w 9395"/>
                <a:gd name="connsiteY2" fmla="*/ 2481 h 10000"/>
                <a:gd name="connsiteX3" fmla="*/ 6784 w 9395"/>
                <a:gd name="connsiteY3" fmla="*/ 2858 h 10000"/>
                <a:gd name="connsiteX4" fmla="*/ 7027 w 9395"/>
                <a:gd name="connsiteY4" fmla="*/ 3424 h 10000"/>
                <a:gd name="connsiteX5" fmla="*/ 7700 w 9395"/>
                <a:gd name="connsiteY5" fmla="*/ 3747 h 10000"/>
                <a:gd name="connsiteX6" fmla="*/ 8079 w 9395"/>
                <a:gd name="connsiteY6" fmla="*/ 4340 h 10000"/>
                <a:gd name="connsiteX7" fmla="*/ 7497 w 9395"/>
                <a:gd name="connsiteY7" fmla="*/ 4556 h 10000"/>
                <a:gd name="connsiteX8" fmla="*/ 6361 w 9395"/>
                <a:gd name="connsiteY8" fmla="*/ 6038 h 10000"/>
                <a:gd name="connsiteX9" fmla="*/ 6475 w 9395"/>
                <a:gd name="connsiteY9" fmla="*/ 6298 h 10000"/>
                <a:gd name="connsiteX10" fmla="*/ 6450 w 9395"/>
                <a:gd name="connsiteY10" fmla="*/ 6865 h 10000"/>
                <a:gd name="connsiteX11" fmla="*/ 6385 w 9395"/>
                <a:gd name="connsiteY11" fmla="*/ 8202 h 10000"/>
                <a:gd name="connsiteX12" fmla="*/ 6385 w 9395"/>
                <a:gd name="connsiteY12" fmla="*/ 8293 h 10000"/>
                <a:gd name="connsiteX13" fmla="*/ 5980 w 9395"/>
                <a:gd name="connsiteY13" fmla="*/ 9873 h 10000"/>
                <a:gd name="connsiteX14" fmla="*/ 5939 w 9395"/>
                <a:gd name="connsiteY14" fmla="*/ 9891 h 10000"/>
                <a:gd name="connsiteX15" fmla="*/ 5801 w 9395"/>
                <a:gd name="connsiteY15" fmla="*/ 9864 h 10000"/>
                <a:gd name="connsiteX16" fmla="*/ 5423 w 9395"/>
                <a:gd name="connsiteY16" fmla="*/ 8185 h 10000"/>
                <a:gd name="connsiteX17" fmla="*/ 5626 w 9395"/>
                <a:gd name="connsiteY17" fmla="*/ 6253 h 10000"/>
                <a:gd name="connsiteX18" fmla="*/ 5801 w 9395"/>
                <a:gd name="connsiteY18" fmla="*/ 5957 h 10000"/>
                <a:gd name="connsiteX19" fmla="*/ 5826 w 9395"/>
                <a:gd name="connsiteY19" fmla="*/ 5885 h 10000"/>
                <a:gd name="connsiteX20" fmla="*/ 5336 w 9395"/>
                <a:gd name="connsiteY20" fmla="*/ 4098 h 10000"/>
                <a:gd name="connsiteX21" fmla="*/ 5109 w 9395"/>
                <a:gd name="connsiteY21" fmla="*/ 3073 h 10000"/>
                <a:gd name="connsiteX22" fmla="*/ 5648 w 9395"/>
                <a:gd name="connsiteY22" fmla="*/ 2004 h 10000"/>
                <a:gd name="connsiteX23" fmla="*/ 5980 w 9395"/>
                <a:gd name="connsiteY23" fmla="*/ 1600 h 10000"/>
                <a:gd name="connsiteX24" fmla="*/ 6048 w 9395"/>
                <a:gd name="connsiteY24" fmla="*/ 1493 h 10000"/>
                <a:gd name="connsiteX25" fmla="*/ 5756 w 9395"/>
                <a:gd name="connsiteY25" fmla="*/ 262 h 10000"/>
                <a:gd name="connsiteX26" fmla="*/ 4307 w 9395"/>
                <a:gd name="connsiteY26" fmla="*/ 1 h 10000"/>
                <a:gd name="connsiteX27" fmla="*/ 3526 w 9395"/>
                <a:gd name="connsiteY27" fmla="*/ 136 h 10000"/>
                <a:gd name="connsiteX28" fmla="*/ 3346 w 9395"/>
                <a:gd name="connsiteY28" fmla="*/ 621 h 10000"/>
                <a:gd name="connsiteX29" fmla="*/ 3122 w 9395"/>
                <a:gd name="connsiteY29" fmla="*/ 999 h 10000"/>
                <a:gd name="connsiteX30" fmla="*/ 2073 w 9395"/>
                <a:gd name="connsiteY30" fmla="*/ 703 h 10000"/>
                <a:gd name="connsiteX31" fmla="*/ 715 w 9395"/>
                <a:gd name="connsiteY31" fmla="*/ 307 h 10000"/>
                <a:gd name="connsiteX32" fmla="*/ 44 w 9395"/>
                <a:gd name="connsiteY32" fmla="*/ 280 h 10000"/>
                <a:gd name="connsiteX33" fmla="*/ 44 w 9395"/>
                <a:gd name="connsiteY33" fmla="*/ 280 h 10000"/>
                <a:gd name="connsiteX34" fmla="*/ 578 w 9395"/>
                <a:gd name="connsiteY34" fmla="*/ 432 h 10000"/>
                <a:gd name="connsiteX35" fmla="*/ 0 w 9395"/>
                <a:gd name="connsiteY35" fmla="*/ 603 h 10000"/>
                <a:gd name="connsiteX36" fmla="*/ 0 w 9395"/>
                <a:gd name="connsiteY36" fmla="*/ 603 h 10000"/>
                <a:gd name="connsiteX37" fmla="*/ 733 w 9395"/>
                <a:gd name="connsiteY37" fmla="*/ 586 h 10000"/>
                <a:gd name="connsiteX38" fmla="*/ 1606 w 9395"/>
                <a:gd name="connsiteY38" fmla="*/ 864 h 10000"/>
                <a:gd name="connsiteX39" fmla="*/ 3325 w 9395"/>
                <a:gd name="connsiteY39" fmla="*/ 1233 h 10000"/>
                <a:gd name="connsiteX40" fmla="*/ 3952 w 9395"/>
                <a:gd name="connsiteY40" fmla="*/ 594 h 10000"/>
                <a:gd name="connsiteX41" fmla="*/ 3995 w 9395"/>
                <a:gd name="connsiteY41" fmla="*/ 298 h 10000"/>
                <a:gd name="connsiteX42" fmla="*/ 4352 w 9395"/>
                <a:gd name="connsiteY42" fmla="*/ 253 h 10000"/>
                <a:gd name="connsiteX43" fmla="*/ 5288 w 9395"/>
                <a:gd name="connsiteY43" fmla="*/ 414 h 10000"/>
                <a:gd name="connsiteX44" fmla="*/ 5490 w 9395"/>
                <a:gd name="connsiteY44" fmla="*/ 1421 h 10000"/>
                <a:gd name="connsiteX45" fmla="*/ 5401 w 9395"/>
                <a:gd name="connsiteY45" fmla="*/ 1528 h 10000"/>
                <a:gd name="connsiteX46" fmla="*/ 5109 w 9395"/>
                <a:gd name="connsiteY46" fmla="*/ 1889 h 10000"/>
                <a:gd name="connsiteX47" fmla="*/ 4506 w 9395"/>
                <a:gd name="connsiteY47" fmla="*/ 3109 h 10000"/>
                <a:gd name="connsiteX48" fmla="*/ 4753 w 9395"/>
                <a:gd name="connsiteY48" fmla="*/ 4170 h 10000"/>
                <a:gd name="connsiteX49" fmla="*/ 5225 w 9395"/>
                <a:gd name="connsiteY49" fmla="*/ 5859 h 10000"/>
                <a:gd name="connsiteX50" fmla="*/ 5202 w 9395"/>
                <a:gd name="connsiteY50" fmla="*/ 5930 h 10000"/>
                <a:gd name="connsiteX51" fmla="*/ 5358 w 9395"/>
                <a:gd name="connsiteY51" fmla="*/ 6253 h 10000"/>
                <a:gd name="connsiteX52" fmla="*/ 5155 w 9395"/>
                <a:gd name="connsiteY52" fmla="*/ 8185 h 10000"/>
                <a:gd name="connsiteX53" fmla="*/ 5626 w 9395"/>
                <a:gd name="connsiteY53" fmla="*/ 9946 h 10000"/>
                <a:gd name="connsiteX54" fmla="*/ 5939 w 9395"/>
                <a:gd name="connsiteY54" fmla="*/ 10000 h 10000"/>
                <a:gd name="connsiteX55" fmla="*/ 6184 w 9395"/>
                <a:gd name="connsiteY55" fmla="*/ 9954 h 10000"/>
                <a:gd name="connsiteX56" fmla="*/ 6649 w 9395"/>
                <a:gd name="connsiteY56" fmla="*/ 8293 h 10000"/>
                <a:gd name="connsiteX57" fmla="*/ 6649 w 9395"/>
                <a:gd name="connsiteY57" fmla="*/ 8202 h 10000"/>
                <a:gd name="connsiteX58" fmla="*/ 6720 w 9395"/>
                <a:gd name="connsiteY58" fmla="*/ 6865 h 10000"/>
                <a:gd name="connsiteX59" fmla="*/ 6762 w 9395"/>
                <a:gd name="connsiteY59" fmla="*/ 6308 h 10000"/>
                <a:gd name="connsiteX60" fmla="*/ 6964 w 9395"/>
                <a:gd name="connsiteY60" fmla="*/ 6038 h 10000"/>
                <a:gd name="connsiteX61" fmla="*/ 7834 w 9395"/>
                <a:gd name="connsiteY61" fmla="*/ 4763 h 10000"/>
                <a:gd name="connsiteX62" fmla="*/ 8568 w 9395"/>
                <a:gd name="connsiteY62" fmla="*/ 4474 h 10000"/>
                <a:gd name="connsiteX63" fmla="*/ 8146 w 9395"/>
                <a:gd name="connsiteY63" fmla="*/ 3577 h 10000"/>
                <a:gd name="connsiteX64" fmla="*/ 7566 w 9395"/>
                <a:gd name="connsiteY64" fmla="*/ 3288 h 10000"/>
                <a:gd name="connsiteX65" fmla="*/ 7341 w 9395"/>
                <a:gd name="connsiteY65" fmla="*/ 2940 h 10000"/>
                <a:gd name="connsiteX66" fmla="*/ 8233 w 9395"/>
                <a:gd name="connsiteY66" fmla="*/ 2714 h 10000"/>
                <a:gd name="connsiteX0" fmla="*/ 8763 w 9468"/>
                <a:gd name="connsiteY0" fmla="*/ 2714 h 10000"/>
                <a:gd name="connsiteX1" fmla="*/ 8574 w 9468"/>
                <a:gd name="connsiteY1" fmla="*/ 2481 h 10000"/>
                <a:gd name="connsiteX2" fmla="*/ 7221 w 9468"/>
                <a:gd name="connsiteY2" fmla="*/ 2858 h 10000"/>
                <a:gd name="connsiteX3" fmla="*/ 7480 w 9468"/>
                <a:gd name="connsiteY3" fmla="*/ 3424 h 10000"/>
                <a:gd name="connsiteX4" fmla="*/ 8196 w 9468"/>
                <a:gd name="connsiteY4" fmla="*/ 3747 h 10000"/>
                <a:gd name="connsiteX5" fmla="*/ 8599 w 9468"/>
                <a:gd name="connsiteY5" fmla="*/ 4340 h 10000"/>
                <a:gd name="connsiteX6" fmla="*/ 7980 w 9468"/>
                <a:gd name="connsiteY6" fmla="*/ 4556 h 10000"/>
                <a:gd name="connsiteX7" fmla="*/ 6771 w 9468"/>
                <a:gd name="connsiteY7" fmla="*/ 6038 h 10000"/>
                <a:gd name="connsiteX8" fmla="*/ 6892 w 9468"/>
                <a:gd name="connsiteY8" fmla="*/ 6298 h 10000"/>
                <a:gd name="connsiteX9" fmla="*/ 6865 w 9468"/>
                <a:gd name="connsiteY9" fmla="*/ 6865 h 10000"/>
                <a:gd name="connsiteX10" fmla="*/ 6796 w 9468"/>
                <a:gd name="connsiteY10" fmla="*/ 8202 h 10000"/>
                <a:gd name="connsiteX11" fmla="*/ 6796 w 9468"/>
                <a:gd name="connsiteY11" fmla="*/ 8293 h 10000"/>
                <a:gd name="connsiteX12" fmla="*/ 6365 w 9468"/>
                <a:gd name="connsiteY12" fmla="*/ 9873 h 10000"/>
                <a:gd name="connsiteX13" fmla="*/ 6321 w 9468"/>
                <a:gd name="connsiteY13" fmla="*/ 9891 h 10000"/>
                <a:gd name="connsiteX14" fmla="*/ 6175 w 9468"/>
                <a:gd name="connsiteY14" fmla="*/ 9864 h 10000"/>
                <a:gd name="connsiteX15" fmla="*/ 5772 w 9468"/>
                <a:gd name="connsiteY15" fmla="*/ 8185 h 10000"/>
                <a:gd name="connsiteX16" fmla="*/ 5988 w 9468"/>
                <a:gd name="connsiteY16" fmla="*/ 6253 h 10000"/>
                <a:gd name="connsiteX17" fmla="*/ 6175 w 9468"/>
                <a:gd name="connsiteY17" fmla="*/ 5957 h 10000"/>
                <a:gd name="connsiteX18" fmla="*/ 6201 w 9468"/>
                <a:gd name="connsiteY18" fmla="*/ 5885 h 10000"/>
                <a:gd name="connsiteX19" fmla="*/ 5680 w 9468"/>
                <a:gd name="connsiteY19" fmla="*/ 4098 h 10000"/>
                <a:gd name="connsiteX20" fmla="*/ 5438 w 9468"/>
                <a:gd name="connsiteY20" fmla="*/ 3073 h 10000"/>
                <a:gd name="connsiteX21" fmla="*/ 6012 w 9468"/>
                <a:gd name="connsiteY21" fmla="*/ 2004 h 10000"/>
                <a:gd name="connsiteX22" fmla="*/ 6365 w 9468"/>
                <a:gd name="connsiteY22" fmla="*/ 1600 h 10000"/>
                <a:gd name="connsiteX23" fmla="*/ 6437 w 9468"/>
                <a:gd name="connsiteY23" fmla="*/ 1493 h 10000"/>
                <a:gd name="connsiteX24" fmla="*/ 6127 w 9468"/>
                <a:gd name="connsiteY24" fmla="*/ 262 h 10000"/>
                <a:gd name="connsiteX25" fmla="*/ 4584 w 9468"/>
                <a:gd name="connsiteY25" fmla="*/ 1 h 10000"/>
                <a:gd name="connsiteX26" fmla="*/ 3753 w 9468"/>
                <a:gd name="connsiteY26" fmla="*/ 136 h 10000"/>
                <a:gd name="connsiteX27" fmla="*/ 3561 w 9468"/>
                <a:gd name="connsiteY27" fmla="*/ 621 h 10000"/>
                <a:gd name="connsiteX28" fmla="*/ 3323 w 9468"/>
                <a:gd name="connsiteY28" fmla="*/ 999 h 10000"/>
                <a:gd name="connsiteX29" fmla="*/ 2206 w 9468"/>
                <a:gd name="connsiteY29" fmla="*/ 703 h 10000"/>
                <a:gd name="connsiteX30" fmla="*/ 761 w 9468"/>
                <a:gd name="connsiteY30" fmla="*/ 307 h 10000"/>
                <a:gd name="connsiteX31" fmla="*/ 47 w 9468"/>
                <a:gd name="connsiteY31" fmla="*/ 280 h 10000"/>
                <a:gd name="connsiteX32" fmla="*/ 47 w 9468"/>
                <a:gd name="connsiteY32" fmla="*/ 280 h 10000"/>
                <a:gd name="connsiteX33" fmla="*/ 615 w 9468"/>
                <a:gd name="connsiteY33" fmla="*/ 432 h 10000"/>
                <a:gd name="connsiteX34" fmla="*/ 0 w 9468"/>
                <a:gd name="connsiteY34" fmla="*/ 603 h 10000"/>
                <a:gd name="connsiteX35" fmla="*/ 0 w 9468"/>
                <a:gd name="connsiteY35" fmla="*/ 603 h 10000"/>
                <a:gd name="connsiteX36" fmla="*/ 780 w 9468"/>
                <a:gd name="connsiteY36" fmla="*/ 586 h 10000"/>
                <a:gd name="connsiteX37" fmla="*/ 1709 w 9468"/>
                <a:gd name="connsiteY37" fmla="*/ 864 h 10000"/>
                <a:gd name="connsiteX38" fmla="*/ 3539 w 9468"/>
                <a:gd name="connsiteY38" fmla="*/ 1233 h 10000"/>
                <a:gd name="connsiteX39" fmla="*/ 4206 w 9468"/>
                <a:gd name="connsiteY39" fmla="*/ 594 h 10000"/>
                <a:gd name="connsiteX40" fmla="*/ 4252 w 9468"/>
                <a:gd name="connsiteY40" fmla="*/ 298 h 10000"/>
                <a:gd name="connsiteX41" fmla="*/ 4632 w 9468"/>
                <a:gd name="connsiteY41" fmla="*/ 253 h 10000"/>
                <a:gd name="connsiteX42" fmla="*/ 5629 w 9468"/>
                <a:gd name="connsiteY42" fmla="*/ 414 h 10000"/>
                <a:gd name="connsiteX43" fmla="*/ 5844 w 9468"/>
                <a:gd name="connsiteY43" fmla="*/ 1421 h 10000"/>
                <a:gd name="connsiteX44" fmla="*/ 5749 w 9468"/>
                <a:gd name="connsiteY44" fmla="*/ 1528 h 10000"/>
                <a:gd name="connsiteX45" fmla="*/ 5438 w 9468"/>
                <a:gd name="connsiteY45" fmla="*/ 1889 h 10000"/>
                <a:gd name="connsiteX46" fmla="*/ 4796 w 9468"/>
                <a:gd name="connsiteY46" fmla="*/ 3109 h 10000"/>
                <a:gd name="connsiteX47" fmla="*/ 5059 w 9468"/>
                <a:gd name="connsiteY47" fmla="*/ 4170 h 10000"/>
                <a:gd name="connsiteX48" fmla="*/ 5561 w 9468"/>
                <a:gd name="connsiteY48" fmla="*/ 5859 h 10000"/>
                <a:gd name="connsiteX49" fmla="*/ 5537 w 9468"/>
                <a:gd name="connsiteY49" fmla="*/ 5930 h 10000"/>
                <a:gd name="connsiteX50" fmla="*/ 5703 w 9468"/>
                <a:gd name="connsiteY50" fmla="*/ 6253 h 10000"/>
                <a:gd name="connsiteX51" fmla="*/ 5487 w 9468"/>
                <a:gd name="connsiteY51" fmla="*/ 8185 h 10000"/>
                <a:gd name="connsiteX52" fmla="*/ 5988 w 9468"/>
                <a:gd name="connsiteY52" fmla="*/ 9946 h 10000"/>
                <a:gd name="connsiteX53" fmla="*/ 6321 w 9468"/>
                <a:gd name="connsiteY53" fmla="*/ 10000 h 10000"/>
                <a:gd name="connsiteX54" fmla="*/ 6582 w 9468"/>
                <a:gd name="connsiteY54" fmla="*/ 9954 h 10000"/>
                <a:gd name="connsiteX55" fmla="*/ 7077 w 9468"/>
                <a:gd name="connsiteY55" fmla="*/ 8293 h 10000"/>
                <a:gd name="connsiteX56" fmla="*/ 7077 w 9468"/>
                <a:gd name="connsiteY56" fmla="*/ 8202 h 10000"/>
                <a:gd name="connsiteX57" fmla="*/ 7153 w 9468"/>
                <a:gd name="connsiteY57" fmla="*/ 6865 h 10000"/>
                <a:gd name="connsiteX58" fmla="*/ 7197 w 9468"/>
                <a:gd name="connsiteY58" fmla="*/ 6308 h 10000"/>
                <a:gd name="connsiteX59" fmla="*/ 7412 w 9468"/>
                <a:gd name="connsiteY59" fmla="*/ 6038 h 10000"/>
                <a:gd name="connsiteX60" fmla="*/ 8338 w 9468"/>
                <a:gd name="connsiteY60" fmla="*/ 4763 h 10000"/>
                <a:gd name="connsiteX61" fmla="*/ 9120 w 9468"/>
                <a:gd name="connsiteY61" fmla="*/ 4474 h 10000"/>
                <a:gd name="connsiteX62" fmla="*/ 8671 w 9468"/>
                <a:gd name="connsiteY62" fmla="*/ 3577 h 10000"/>
                <a:gd name="connsiteX63" fmla="*/ 8053 w 9468"/>
                <a:gd name="connsiteY63" fmla="*/ 3288 h 10000"/>
                <a:gd name="connsiteX64" fmla="*/ 7814 w 9468"/>
                <a:gd name="connsiteY64" fmla="*/ 2940 h 10000"/>
                <a:gd name="connsiteX65" fmla="*/ 8763 w 9468"/>
                <a:gd name="connsiteY65" fmla="*/ 2714 h 10000"/>
                <a:gd name="connsiteX0" fmla="*/ 8253 w 10000"/>
                <a:gd name="connsiteY0" fmla="*/ 2940 h 10000"/>
                <a:gd name="connsiteX1" fmla="*/ 9056 w 10000"/>
                <a:gd name="connsiteY1" fmla="*/ 2481 h 10000"/>
                <a:gd name="connsiteX2" fmla="*/ 7627 w 10000"/>
                <a:gd name="connsiteY2" fmla="*/ 2858 h 10000"/>
                <a:gd name="connsiteX3" fmla="*/ 7900 w 10000"/>
                <a:gd name="connsiteY3" fmla="*/ 3424 h 10000"/>
                <a:gd name="connsiteX4" fmla="*/ 8657 w 10000"/>
                <a:gd name="connsiteY4" fmla="*/ 3747 h 10000"/>
                <a:gd name="connsiteX5" fmla="*/ 9082 w 10000"/>
                <a:gd name="connsiteY5" fmla="*/ 4340 h 10000"/>
                <a:gd name="connsiteX6" fmla="*/ 8428 w 10000"/>
                <a:gd name="connsiteY6" fmla="*/ 4556 h 10000"/>
                <a:gd name="connsiteX7" fmla="*/ 7151 w 10000"/>
                <a:gd name="connsiteY7" fmla="*/ 6038 h 10000"/>
                <a:gd name="connsiteX8" fmla="*/ 7279 w 10000"/>
                <a:gd name="connsiteY8" fmla="*/ 6298 h 10000"/>
                <a:gd name="connsiteX9" fmla="*/ 7251 w 10000"/>
                <a:gd name="connsiteY9" fmla="*/ 6865 h 10000"/>
                <a:gd name="connsiteX10" fmla="*/ 7178 w 10000"/>
                <a:gd name="connsiteY10" fmla="*/ 8202 h 10000"/>
                <a:gd name="connsiteX11" fmla="*/ 7178 w 10000"/>
                <a:gd name="connsiteY11" fmla="*/ 8293 h 10000"/>
                <a:gd name="connsiteX12" fmla="*/ 6723 w 10000"/>
                <a:gd name="connsiteY12" fmla="*/ 9873 h 10000"/>
                <a:gd name="connsiteX13" fmla="*/ 6676 w 10000"/>
                <a:gd name="connsiteY13" fmla="*/ 9891 h 10000"/>
                <a:gd name="connsiteX14" fmla="*/ 6522 w 10000"/>
                <a:gd name="connsiteY14" fmla="*/ 9864 h 10000"/>
                <a:gd name="connsiteX15" fmla="*/ 6096 w 10000"/>
                <a:gd name="connsiteY15" fmla="*/ 8185 h 10000"/>
                <a:gd name="connsiteX16" fmla="*/ 6324 w 10000"/>
                <a:gd name="connsiteY16" fmla="*/ 6253 h 10000"/>
                <a:gd name="connsiteX17" fmla="*/ 6522 w 10000"/>
                <a:gd name="connsiteY17" fmla="*/ 5957 h 10000"/>
                <a:gd name="connsiteX18" fmla="*/ 6549 w 10000"/>
                <a:gd name="connsiteY18" fmla="*/ 5885 h 10000"/>
                <a:gd name="connsiteX19" fmla="*/ 5999 w 10000"/>
                <a:gd name="connsiteY19" fmla="*/ 4098 h 10000"/>
                <a:gd name="connsiteX20" fmla="*/ 5744 w 10000"/>
                <a:gd name="connsiteY20" fmla="*/ 3073 h 10000"/>
                <a:gd name="connsiteX21" fmla="*/ 6350 w 10000"/>
                <a:gd name="connsiteY21" fmla="*/ 2004 h 10000"/>
                <a:gd name="connsiteX22" fmla="*/ 6723 w 10000"/>
                <a:gd name="connsiteY22" fmla="*/ 1600 h 10000"/>
                <a:gd name="connsiteX23" fmla="*/ 6799 w 10000"/>
                <a:gd name="connsiteY23" fmla="*/ 1493 h 10000"/>
                <a:gd name="connsiteX24" fmla="*/ 6471 w 10000"/>
                <a:gd name="connsiteY24" fmla="*/ 262 h 10000"/>
                <a:gd name="connsiteX25" fmla="*/ 4842 w 10000"/>
                <a:gd name="connsiteY25" fmla="*/ 1 h 10000"/>
                <a:gd name="connsiteX26" fmla="*/ 3964 w 10000"/>
                <a:gd name="connsiteY26" fmla="*/ 136 h 10000"/>
                <a:gd name="connsiteX27" fmla="*/ 3761 w 10000"/>
                <a:gd name="connsiteY27" fmla="*/ 621 h 10000"/>
                <a:gd name="connsiteX28" fmla="*/ 3510 w 10000"/>
                <a:gd name="connsiteY28" fmla="*/ 999 h 10000"/>
                <a:gd name="connsiteX29" fmla="*/ 2330 w 10000"/>
                <a:gd name="connsiteY29" fmla="*/ 703 h 10000"/>
                <a:gd name="connsiteX30" fmla="*/ 804 w 10000"/>
                <a:gd name="connsiteY30" fmla="*/ 307 h 10000"/>
                <a:gd name="connsiteX31" fmla="*/ 50 w 10000"/>
                <a:gd name="connsiteY31" fmla="*/ 280 h 10000"/>
                <a:gd name="connsiteX32" fmla="*/ 50 w 10000"/>
                <a:gd name="connsiteY32" fmla="*/ 280 h 10000"/>
                <a:gd name="connsiteX33" fmla="*/ 650 w 10000"/>
                <a:gd name="connsiteY33" fmla="*/ 432 h 10000"/>
                <a:gd name="connsiteX34" fmla="*/ 0 w 10000"/>
                <a:gd name="connsiteY34" fmla="*/ 603 h 10000"/>
                <a:gd name="connsiteX35" fmla="*/ 0 w 10000"/>
                <a:gd name="connsiteY35" fmla="*/ 603 h 10000"/>
                <a:gd name="connsiteX36" fmla="*/ 824 w 10000"/>
                <a:gd name="connsiteY36" fmla="*/ 586 h 10000"/>
                <a:gd name="connsiteX37" fmla="*/ 1805 w 10000"/>
                <a:gd name="connsiteY37" fmla="*/ 864 h 10000"/>
                <a:gd name="connsiteX38" fmla="*/ 3738 w 10000"/>
                <a:gd name="connsiteY38" fmla="*/ 1233 h 10000"/>
                <a:gd name="connsiteX39" fmla="*/ 4442 w 10000"/>
                <a:gd name="connsiteY39" fmla="*/ 594 h 10000"/>
                <a:gd name="connsiteX40" fmla="*/ 4491 w 10000"/>
                <a:gd name="connsiteY40" fmla="*/ 298 h 10000"/>
                <a:gd name="connsiteX41" fmla="*/ 4892 w 10000"/>
                <a:gd name="connsiteY41" fmla="*/ 253 h 10000"/>
                <a:gd name="connsiteX42" fmla="*/ 5945 w 10000"/>
                <a:gd name="connsiteY42" fmla="*/ 414 h 10000"/>
                <a:gd name="connsiteX43" fmla="*/ 6172 w 10000"/>
                <a:gd name="connsiteY43" fmla="*/ 1421 h 10000"/>
                <a:gd name="connsiteX44" fmla="*/ 6072 w 10000"/>
                <a:gd name="connsiteY44" fmla="*/ 1528 h 10000"/>
                <a:gd name="connsiteX45" fmla="*/ 5744 w 10000"/>
                <a:gd name="connsiteY45" fmla="*/ 1889 h 10000"/>
                <a:gd name="connsiteX46" fmla="*/ 5065 w 10000"/>
                <a:gd name="connsiteY46" fmla="*/ 3109 h 10000"/>
                <a:gd name="connsiteX47" fmla="*/ 5343 w 10000"/>
                <a:gd name="connsiteY47" fmla="*/ 4170 h 10000"/>
                <a:gd name="connsiteX48" fmla="*/ 5873 w 10000"/>
                <a:gd name="connsiteY48" fmla="*/ 5859 h 10000"/>
                <a:gd name="connsiteX49" fmla="*/ 5848 w 10000"/>
                <a:gd name="connsiteY49" fmla="*/ 5930 h 10000"/>
                <a:gd name="connsiteX50" fmla="*/ 6023 w 10000"/>
                <a:gd name="connsiteY50" fmla="*/ 6253 h 10000"/>
                <a:gd name="connsiteX51" fmla="*/ 5795 w 10000"/>
                <a:gd name="connsiteY51" fmla="*/ 8185 h 10000"/>
                <a:gd name="connsiteX52" fmla="*/ 6324 w 10000"/>
                <a:gd name="connsiteY52" fmla="*/ 9946 h 10000"/>
                <a:gd name="connsiteX53" fmla="*/ 6676 w 10000"/>
                <a:gd name="connsiteY53" fmla="*/ 10000 h 10000"/>
                <a:gd name="connsiteX54" fmla="*/ 6952 w 10000"/>
                <a:gd name="connsiteY54" fmla="*/ 9954 h 10000"/>
                <a:gd name="connsiteX55" fmla="*/ 7475 w 10000"/>
                <a:gd name="connsiteY55" fmla="*/ 8293 h 10000"/>
                <a:gd name="connsiteX56" fmla="*/ 7475 w 10000"/>
                <a:gd name="connsiteY56" fmla="*/ 8202 h 10000"/>
                <a:gd name="connsiteX57" fmla="*/ 7555 w 10000"/>
                <a:gd name="connsiteY57" fmla="*/ 6865 h 10000"/>
                <a:gd name="connsiteX58" fmla="*/ 7601 w 10000"/>
                <a:gd name="connsiteY58" fmla="*/ 6308 h 10000"/>
                <a:gd name="connsiteX59" fmla="*/ 7828 w 10000"/>
                <a:gd name="connsiteY59" fmla="*/ 6038 h 10000"/>
                <a:gd name="connsiteX60" fmla="*/ 8807 w 10000"/>
                <a:gd name="connsiteY60" fmla="*/ 4763 h 10000"/>
                <a:gd name="connsiteX61" fmla="*/ 9632 w 10000"/>
                <a:gd name="connsiteY61" fmla="*/ 4474 h 10000"/>
                <a:gd name="connsiteX62" fmla="*/ 9158 w 10000"/>
                <a:gd name="connsiteY62" fmla="*/ 3577 h 10000"/>
                <a:gd name="connsiteX63" fmla="*/ 8505 w 10000"/>
                <a:gd name="connsiteY63" fmla="*/ 3288 h 10000"/>
                <a:gd name="connsiteX64" fmla="*/ 8253 w 10000"/>
                <a:gd name="connsiteY64" fmla="*/ 2940 h 10000"/>
                <a:gd name="connsiteX0" fmla="*/ 8253 w 10000"/>
                <a:gd name="connsiteY0" fmla="*/ 2940 h 10000"/>
                <a:gd name="connsiteX1" fmla="*/ 7627 w 10000"/>
                <a:gd name="connsiteY1" fmla="*/ 2858 h 10000"/>
                <a:gd name="connsiteX2" fmla="*/ 7900 w 10000"/>
                <a:gd name="connsiteY2" fmla="*/ 3424 h 10000"/>
                <a:gd name="connsiteX3" fmla="*/ 8657 w 10000"/>
                <a:gd name="connsiteY3" fmla="*/ 3747 h 10000"/>
                <a:gd name="connsiteX4" fmla="*/ 9082 w 10000"/>
                <a:gd name="connsiteY4" fmla="*/ 4340 h 10000"/>
                <a:gd name="connsiteX5" fmla="*/ 8428 w 10000"/>
                <a:gd name="connsiteY5" fmla="*/ 4556 h 10000"/>
                <a:gd name="connsiteX6" fmla="*/ 7151 w 10000"/>
                <a:gd name="connsiteY6" fmla="*/ 6038 h 10000"/>
                <a:gd name="connsiteX7" fmla="*/ 7279 w 10000"/>
                <a:gd name="connsiteY7" fmla="*/ 6298 h 10000"/>
                <a:gd name="connsiteX8" fmla="*/ 7251 w 10000"/>
                <a:gd name="connsiteY8" fmla="*/ 6865 h 10000"/>
                <a:gd name="connsiteX9" fmla="*/ 7178 w 10000"/>
                <a:gd name="connsiteY9" fmla="*/ 8202 h 10000"/>
                <a:gd name="connsiteX10" fmla="*/ 7178 w 10000"/>
                <a:gd name="connsiteY10" fmla="*/ 8293 h 10000"/>
                <a:gd name="connsiteX11" fmla="*/ 6723 w 10000"/>
                <a:gd name="connsiteY11" fmla="*/ 9873 h 10000"/>
                <a:gd name="connsiteX12" fmla="*/ 6676 w 10000"/>
                <a:gd name="connsiteY12" fmla="*/ 9891 h 10000"/>
                <a:gd name="connsiteX13" fmla="*/ 6522 w 10000"/>
                <a:gd name="connsiteY13" fmla="*/ 9864 h 10000"/>
                <a:gd name="connsiteX14" fmla="*/ 6096 w 10000"/>
                <a:gd name="connsiteY14" fmla="*/ 8185 h 10000"/>
                <a:gd name="connsiteX15" fmla="*/ 6324 w 10000"/>
                <a:gd name="connsiteY15" fmla="*/ 6253 h 10000"/>
                <a:gd name="connsiteX16" fmla="*/ 6522 w 10000"/>
                <a:gd name="connsiteY16" fmla="*/ 5957 h 10000"/>
                <a:gd name="connsiteX17" fmla="*/ 6549 w 10000"/>
                <a:gd name="connsiteY17" fmla="*/ 5885 h 10000"/>
                <a:gd name="connsiteX18" fmla="*/ 5999 w 10000"/>
                <a:gd name="connsiteY18" fmla="*/ 4098 h 10000"/>
                <a:gd name="connsiteX19" fmla="*/ 5744 w 10000"/>
                <a:gd name="connsiteY19" fmla="*/ 3073 h 10000"/>
                <a:gd name="connsiteX20" fmla="*/ 6350 w 10000"/>
                <a:gd name="connsiteY20" fmla="*/ 2004 h 10000"/>
                <a:gd name="connsiteX21" fmla="*/ 6723 w 10000"/>
                <a:gd name="connsiteY21" fmla="*/ 1600 h 10000"/>
                <a:gd name="connsiteX22" fmla="*/ 6799 w 10000"/>
                <a:gd name="connsiteY22" fmla="*/ 1493 h 10000"/>
                <a:gd name="connsiteX23" fmla="*/ 6471 w 10000"/>
                <a:gd name="connsiteY23" fmla="*/ 262 h 10000"/>
                <a:gd name="connsiteX24" fmla="*/ 4842 w 10000"/>
                <a:gd name="connsiteY24" fmla="*/ 1 h 10000"/>
                <a:gd name="connsiteX25" fmla="*/ 3964 w 10000"/>
                <a:gd name="connsiteY25" fmla="*/ 136 h 10000"/>
                <a:gd name="connsiteX26" fmla="*/ 3761 w 10000"/>
                <a:gd name="connsiteY26" fmla="*/ 621 h 10000"/>
                <a:gd name="connsiteX27" fmla="*/ 3510 w 10000"/>
                <a:gd name="connsiteY27" fmla="*/ 999 h 10000"/>
                <a:gd name="connsiteX28" fmla="*/ 2330 w 10000"/>
                <a:gd name="connsiteY28" fmla="*/ 703 h 10000"/>
                <a:gd name="connsiteX29" fmla="*/ 804 w 10000"/>
                <a:gd name="connsiteY29" fmla="*/ 307 h 10000"/>
                <a:gd name="connsiteX30" fmla="*/ 50 w 10000"/>
                <a:gd name="connsiteY30" fmla="*/ 280 h 10000"/>
                <a:gd name="connsiteX31" fmla="*/ 50 w 10000"/>
                <a:gd name="connsiteY31" fmla="*/ 280 h 10000"/>
                <a:gd name="connsiteX32" fmla="*/ 650 w 10000"/>
                <a:gd name="connsiteY32" fmla="*/ 432 h 10000"/>
                <a:gd name="connsiteX33" fmla="*/ 0 w 10000"/>
                <a:gd name="connsiteY33" fmla="*/ 603 h 10000"/>
                <a:gd name="connsiteX34" fmla="*/ 0 w 10000"/>
                <a:gd name="connsiteY34" fmla="*/ 603 h 10000"/>
                <a:gd name="connsiteX35" fmla="*/ 824 w 10000"/>
                <a:gd name="connsiteY35" fmla="*/ 586 h 10000"/>
                <a:gd name="connsiteX36" fmla="*/ 1805 w 10000"/>
                <a:gd name="connsiteY36" fmla="*/ 864 h 10000"/>
                <a:gd name="connsiteX37" fmla="*/ 3738 w 10000"/>
                <a:gd name="connsiteY37" fmla="*/ 1233 h 10000"/>
                <a:gd name="connsiteX38" fmla="*/ 4442 w 10000"/>
                <a:gd name="connsiteY38" fmla="*/ 594 h 10000"/>
                <a:gd name="connsiteX39" fmla="*/ 4491 w 10000"/>
                <a:gd name="connsiteY39" fmla="*/ 298 h 10000"/>
                <a:gd name="connsiteX40" fmla="*/ 4892 w 10000"/>
                <a:gd name="connsiteY40" fmla="*/ 253 h 10000"/>
                <a:gd name="connsiteX41" fmla="*/ 5945 w 10000"/>
                <a:gd name="connsiteY41" fmla="*/ 414 h 10000"/>
                <a:gd name="connsiteX42" fmla="*/ 6172 w 10000"/>
                <a:gd name="connsiteY42" fmla="*/ 1421 h 10000"/>
                <a:gd name="connsiteX43" fmla="*/ 6072 w 10000"/>
                <a:gd name="connsiteY43" fmla="*/ 1528 h 10000"/>
                <a:gd name="connsiteX44" fmla="*/ 5744 w 10000"/>
                <a:gd name="connsiteY44" fmla="*/ 1889 h 10000"/>
                <a:gd name="connsiteX45" fmla="*/ 5065 w 10000"/>
                <a:gd name="connsiteY45" fmla="*/ 3109 h 10000"/>
                <a:gd name="connsiteX46" fmla="*/ 5343 w 10000"/>
                <a:gd name="connsiteY46" fmla="*/ 4170 h 10000"/>
                <a:gd name="connsiteX47" fmla="*/ 5873 w 10000"/>
                <a:gd name="connsiteY47" fmla="*/ 5859 h 10000"/>
                <a:gd name="connsiteX48" fmla="*/ 5848 w 10000"/>
                <a:gd name="connsiteY48" fmla="*/ 5930 h 10000"/>
                <a:gd name="connsiteX49" fmla="*/ 6023 w 10000"/>
                <a:gd name="connsiteY49" fmla="*/ 6253 h 10000"/>
                <a:gd name="connsiteX50" fmla="*/ 5795 w 10000"/>
                <a:gd name="connsiteY50" fmla="*/ 8185 h 10000"/>
                <a:gd name="connsiteX51" fmla="*/ 6324 w 10000"/>
                <a:gd name="connsiteY51" fmla="*/ 9946 h 10000"/>
                <a:gd name="connsiteX52" fmla="*/ 6676 w 10000"/>
                <a:gd name="connsiteY52" fmla="*/ 10000 h 10000"/>
                <a:gd name="connsiteX53" fmla="*/ 6952 w 10000"/>
                <a:gd name="connsiteY53" fmla="*/ 9954 h 10000"/>
                <a:gd name="connsiteX54" fmla="*/ 7475 w 10000"/>
                <a:gd name="connsiteY54" fmla="*/ 8293 h 10000"/>
                <a:gd name="connsiteX55" fmla="*/ 7475 w 10000"/>
                <a:gd name="connsiteY55" fmla="*/ 8202 h 10000"/>
                <a:gd name="connsiteX56" fmla="*/ 7555 w 10000"/>
                <a:gd name="connsiteY56" fmla="*/ 6865 h 10000"/>
                <a:gd name="connsiteX57" fmla="*/ 7601 w 10000"/>
                <a:gd name="connsiteY57" fmla="*/ 6308 h 10000"/>
                <a:gd name="connsiteX58" fmla="*/ 7828 w 10000"/>
                <a:gd name="connsiteY58" fmla="*/ 6038 h 10000"/>
                <a:gd name="connsiteX59" fmla="*/ 8807 w 10000"/>
                <a:gd name="connsiteY59" fmla="*/ 4763 h 10000"/>
                <a:gd name="connsiteX60" fmla="*/ 9632 w 10000"/>
                <a:gd name="connsiteY60" fmla="*/ 4474 h 10000"/>
                <a:gd name="connsiteX61" fmla="*/ 9158 w 10000"/>
                <a:gd name="connsiteY61" fmla="*/ 3577 h 10000"/>
                <a:gd name="connsiteX62" fmla="*/ 8505 w 10000"/>
                <a:gd name="connsiteY62" fmla="*/ 3288 h 10000"/>
                <a:gd name="connsiteX63" fmla="*/ 8253 w 10000"/>
                <a:gd name="connsiteY63" fmla="*/ 2940 h 10000"/>
                <a:gd name="connsiteX0" fmla="*/ 8505 w 10000"/>
                <a:gd name="connsiteY0" fmla="*/ 3288 h 10000"/>
                <a:gd name="connsiteX1" fmla="*/ 7627 w 10000"/>
                <a:gd name="connsiteY1" fmla="*/ 2858 h 10000"/>
                <a:gd name="connsiteX2" fmla="*/ 7900 w 10000"/>
                <a:gd name="connsiteY2" fmla="*/ 3424 h 10000"/>
                <a:gd name="connsiteX3" fmla="*/ 8657 w 10000"/>
                <a:gd name="connsiteY3" fmla="*/ 3747 h 10000"/>
                <a:gd name="connsiteX4" fmla="*/ 9082 w 10000"/>
                <a:gd name="connsiteY4" fmla="*/ 4340 h 10000"/>
                <a:gd name="connsiteX5" fmla="*/ 8428 w 10000"/>
                <a:gd name="connsiteY5" fmla="*/ 4556 h 10000"/>
                <a:gd name="connsiteX6" fmla="*/ 7151 w 10000"/>
                <a:gd name="connsiteY6" fmla="*/ 6038 h 10000"/>
                <a:gd name="connsiteX7" fmla="*/ 7279 w 10000"/>
                <a:gd name="connsiteY7" fmla="*/ 6298 h 10000"/>
                <a:gd name="connsiteX8" fmla="*/ 7251 w 10000"/>
                <a:gd name="connsiteY8" fmla="*/ 6865 h 10000"/>
                <a:gd name="connsiteX9" fmla="*/ 7178 w 10000"/>
                <a:gd name="connsiteY9" fmla="*/ 8202 h 10000"/>
                <a:gd name="connsiteX10" fmla="*/ 7178 w 10000"/>
                <a:gd name="connsiteY10" fmla="*/ 8293 h 10000"/>
                <a:gd name="connsiteX11" fmla="*/ 6723 w 10000"/>
                <a:gd name="connsiteY11" fmla="*/ 9873 h 10000"/>
                <a:gd name="connsiteX12" fmla="*/ 6676 w 10000"/>
                <a:gd name="connsiteY12" fmla="*/ 9891 h 10000"/>
                <a:gd name="connsiteX13" fmla="*/ 6522 w 10000"/>
                <a:gd name="connsiteY13" fmla="*/ 9864 h 10000"/>
                <a:gd name="connsiteX14" fmla="*/ 6096 w 10000"/>
                <a:gd name="connsiteY14" fmla="*/ 8185 h 10000"/>
                <a:gd name="connsiteX15" fmla="*/ 6324 w 10000"/>
                <a:gd name="connsiteY15" fmla="*/ 6253 h 10000"/>
                <a:gd name="connsiteX16" fmla="*/ 6522 w 10000"/>
                <a:gd name="connsiteY16" fmla="*/ 5957 h 10000"/>
                <a:gd name="connsiteX17" fmla="*/ 6549 w 10000"/>
                <a:gd name="connsiteY17" fmla="*/ 5885 h 10000"/>
                <a:gd name="connsiteX18" fmla="*/ 5999 w 10000"/>
                <a:gd name="connsiteY18" fmla="*/ 4098 h 10000"/>
                <a:gd name="connsiteX19" fmla="*/ 5744 w 10000"/>
                <a:gd name="connsiteY19" fmla="*/ 3073 h 10000"/>
                <a:gd name="connsiteX20" fmla="*/ 6350 w 10000"/>
                <a:gd name="connsiteY20" fmla="*/ 2004 h 10000"/>
                <a:gd name="connsiteX21" fmla="*/ 6723 w 10000"/>
                <a:gd name="connsiteY21" fmla="*/ 1600 h 10000"/>
                <a:gd name="connsiteX22" fmla="*/ 6799 w 10000"/>
                <a:gd name="connsiteY22" fmla="*/ 1493 h 10000"/>
                <a:gd name="connsiteX23" fmla="*/ 6471 w 10000"/>
                <a:gd name="connsiteY23" fmla="*/ 262 h 10000"/>
                <a:gd name="connsiteX24" fmla="*/ 4842 w 10000"/>
                <a:gd name="connsiteY24" fmla="*/ 1 h 10000"/>
                <a:gd name="connsiteX25" fmla="*/ 3964 w 10000"/>
                <a:gd name="connsiteY25" fmla="*/ 136 h 10000"/>
                <a:gd name="connsiteX26" fmla="*/ 3761 w 10000"/>
                <a:gd name="connsiteY26" fmla="*/ 621 h 10000"/>
                <a:gd name="connsiteX27" fmla="*/ 3510 w 10000"/>
                <a:gd name="connsiteY27" fmla="*/ 999 h 10000"/>
                <a:gd name="connsiteX28" fmla="*/ 2330 w 10000"/>
                <a:gd name="connsiteY28" fmla="*/ 703 h 10000"/>
                <a:gd name="connsiteX29" fmla="*/ 804 w 10000"/>
                <a:gd name="connsiteY29" fmla="*/ 307 h 10000"/>
                <a:gd name="connsiteX30" fmla="*/ 50 w 10000"/>
                <a:gd name="connsiteY30" fmla="*/ 280 h 10000"/>
                <a:gd name="connsiteX31" fmla="*/ 50 w 10000"/>
                <a:gd name="connsiteY31" fmla="*/ 280 h 10000"/>
                <a:gd name="connsiteX32" fmla="*/ 650 w 10000"/>
                <a:gd name="connsiteY32" fmla="*/ 432 h 10000"/>
                <a:gd name="connsiteX33" fmla="*/ 0 w 10000"/>
                <a:gd name="connsiteY33" fmla="*/ 603 h 10000"/>
                <a:gd name="connsiteX34" fmla="*/ 0 w 10000"/>
                <a:gd name="connsiteY34" fmla="*/ 603 h 10000"/>
                <a:gd name="connsiteX35" fmla="*/ 824 w 10000"/>
                <a:gd name="connsiteY35" fmla="*/ 586 h 10000"/>
                <a:gd name="connsiteX36" fmla="*/ 1805 w 10000"/>
                <a:gd name="connsiteY36" fmla="*/ 864 h 10000"/>
                <a:gd name="connsiteX37" fmla="*/ 3738 w 10000"/>
                <a:gd name="connsiteY37" fmla="*/ 1233 h 10000"/>
                <a:gd name="connsiteX38" fmla="*/ 4442 w 10000"/>
                <a:gd name="connsiteY38" fmla="*/ 594 h 10000"/>
                <a:gd name="connsiteX39" fmla="*/ 4491 w 10000"/>
                <a:gd name="connsiteY39" fmla="*/ 298 h 10000"/>
                <a:gd name="connsiteX40" fmla="*/ 4892 w 10000"/>
                <a:gd name="connsiteY40" fmla="*/ 253 h 10000"/>
                <a:gd name="connsiteX41" fmla="*/ 5945 w 10000"/>
                <a:gd name="connsiteY41" fmla="*/ 414 h 10000"/>
                <a:gd name="connsiteX42" fmla="*/ 6172 w 10000"/>
                <a:gd name="connsiteY42" fmla="*/ 1421 h 10000"/>
                <a:gd name="connsiteX43" fmla="*/ 6072 w 10000"/>
                <a:gd name="connsiteY43" fmla="*/ 1528 h 10000"/>
                <a:gd name="connsiteX44" fmla="*/ 5744 w 10000"/>
                <a:gd name="connsiteY44" fmla="*/ 1889 h 10000"/>
                <a:gd name="connsiteX45" fmla="*/ 5065 w 10000"/>
                <a:gd name="connsiteY45" fmla="*/ 3109 h 10000"/>
                <a:gd name="connsiteX46" fmla="*/ 5343 w 10000"/>
                <a:gd name="connsiteY46" fmla="*/ 4170 h 10000"/>
                <a:gd name="connsiteX47" fmla="*/ 5873 w 10000"/>
                <a:gd name="connsiteY47" fmla="*/ 5859 h 10000"/>
                <a:gd name="connsiteX48" fmla="*/ 5848 w 10000"/>
                <a:gd name="connsiteY48" fmla="*/ 5930 h 10000"/>
                <a:gd name="connsiteX49" fmla="*/ 6023 w 10000"/>
                <a:gd name="connsiteY49" fmla="*/ 6253 h 10000"/>
                <a:gd name="connsiteX50" fmla="*/ 5795 w 10000"/>
                <a:gd name="connsiteY50" fmla="*/ 8185 h 10000"/>
                <a:gd name="connsiteX51" fmla="*/ 6324 w 10000"/>
                <a:gd name="connsiteY51" fmla="*/ 9946 h 10000"/>
                <a:gd name="connsiteX52" fmla="*/ 6676 w 10000"/>
                <a:gd name="connsiteY52" fmla="*/ 10000 h 10000"/>
                <a:gd name="connsiteX53" fmla="*/ 6952 w 10000"/>
                <a:gd name="connsiteY53" fmla="*/ 9954 h 10000"/>
                <a:gd name="connsiteX54" fmla="*/ 7475 w 10000"/>
                <a:gd name="connsiteY54" fmla="*/ 8293 h 10000"/>
                <a:gd name="connsiteX55" fmla="*/ 7475 w 10000"/>
                <a:gd name="connsiteY55" fmla="*/ 8202 h 10000"/>
                <a:gd name="connsiteX56" fmla="*/ 7555 w 10000"/>
                <a:gd name="connsiteY56" fmla="*/ 6865 h 10000"/>
                <a:gd name="connsiteX57" fmla="*/ 7601 w 10000"/>
                <a:gd name="connsiteY57" fmla="*/ 6308 h 10000"/>
                <a:gd name="connsiteX58" fmla="*/ 7828 w 10000"/>
                <a:gd name="connsiteY58" fmla="*/ 6038 h 10000"/>
                <a:gd name="connsiteX59" fmla="*/ 8807 w 10000"/>
                <a:gd name="connsiteY59" fmla="*/ 4763 h 10000"/>
                <a:gd name="connsiteX60" fmla="*/ 9632 w 10000"/>
                <a:gd name="connsiteY60" fmla="*/ 4474 h 10000"/>
                <a:gd name="connsiteX61" fmla="*/ 9158 w 10000"/>
                <a:gd name="connsiteY61" fmla="*/ 3577 h 10000"/>
                <a:gd name="connsiteX62" fmla="*/ 8505 w 10000"/>
                <a:gd name="connsiteY62" fmla="*/ 3288 h 10000"/>
                <a:gd name="connsiteX0" fmla="*/ 8505 w 10000"/>
                <a:gd name="connsiteY0" fmla="*/ 3288 h 10000"/>
                <a:gd name="connsiteX1" fmla="*/ 7900 w 10000"/>
                <a:gd name="connsiteY1" fmla="*/ 3424 h 10000"/>
                <a:gd name="connsiteX2" fmla="*/ 8657 w 10000"/>
                <a:gd name="connsiteY2" fmla="*/ 3747 h 10000"/>
                <a:gd name="connsiteX3" fmla="*/ 9082 w 10000"/>
                <a:gd name="connsiteY3" fmla="*/ 4340 h 10000"/>
                <a:gd name="connsiteX4" fmla="*/ 8428 w 10000"/>
                <a:gd name="connsiteY4" fmla="*/ 4556 h 10000"/>
                <a:gd name="connsiteX5" fmla="*/ 7151 w 10000"/>
                <a:gd name="connsiteY5" fmla="*/ 6038 h 10000"/>
                <a:gd name="connsiteX6" fmla="*/ 7279 w 10000"/>
                <a:gd name="connsiteY6" fmla="*/ 6298 h 10000"/>
                <a:gd name="connsiteX7" fmla="*/ 7251 w 10000"/>
                <a:gd name="connsiteY7" fmla="*/ 6865 h 10000"/>
                <a:gd name="connsiteX8" fmla="*/ 7178 w 10000"/>
                <a:gd name="connsiteY8" fmla="*/ 8202 h 10000"/>
                <a:gd name="connsiteX9" fmla="*/ 7178 w 10000"/>
                <a:gd name="connsiteY9" fmla="*/ 8293 h 10000"/>
                <a:gd name="connsiteX10" fmla="*/ 6723 w 10000"/>
                <a:gd name="connsiteY10" fmla="*/ 9873 h 10000"/>
                <a:gd name="connsiteX11" fmla="*/ 6676 w 10000"/>
                <a:gd name="connsiteY11" fmla="*/ 9891 h 10000"/>
                <a:gd name="connsiteX12" fmla="*/ 6522 w 10000"/>
                <a:gd name="connsiteY12" fmla="*/ 9864 h 10000"/>
                <a:gd name="connsiteX13" fmla="*/ 6096 w 10000"/>
                <a:gd name="connsiteY13" fmla="*/ 8185 h 10000"/>
                <a:gd name="connsiteX14" fmla="*/ 6324 w 10000"/>
                <a:gd name="connsiteY14" fmla="*/ 6253 h 10000"/>
                <a:gd name="connsiteX15" fmla="*/ 6522 w 10000"/>
                <a:gd name="connsiteY15" fmla="*/ 5957 h 10000"/>
                <a:gd name="connsiteX16" fmla="*/ 6549 w 10000"/>
                <a:gd name="connsiteY16" fmla="*/ 5885 h 10000"/>
                <a:gd name="connsiteX17" fmla="*/ 5999 w 10000"/>
                <a:gd name="connsiteY17" fmla="*/ 4098 h 10000"/>
                <a:gd name="connsiteX18" fmla="*/ 5744 w 10000"/>
                <a:gd name="connsiteY18" fmla="*/ 3073 h 10000"/>
                <a:gd name="connsiteX19" fmla="*/ 6350 w 10000"/>
                <a:gd name="connsiteY19" fmla="*/ 2004 h 10000"/>
                <a:gd name="connsiteX20" fmla="*/ 6723 w 10000"/>
                <a:gd name="connsiteY20" fmla="*/ 1600 h 10000"/>
                <a:gd name="connsiteX21" fmla="*/ 6799 w 10000"/>
                <a:gd name="connsiteY21" fmla="*/ 1493 h 10000"/>
                <a:gd name="connsiteX22" fmla="*/ 6471 w 10000"/>
                <a:gd name="connsiteY22" fmla="*/ 262 h 10000"/>
                <a:gd name="connsiteX23" fmla="*/ 4842 w 10000"/>
                <a:gd name="connsiteY23" fmla="*/ 1 h 10000"/>
                <a:gd name="connsiteX24" fmla="*/ 3964 w 10000"/>
                <a:gd name="connsiteY24" fmla="*/ 136 h 10000"/>
                <a:gd name="connsiteX25" fmla="*/ 3761 w 10000"/>
                <a:gd name="connsiteY25" fmla="*/ 621 h 10000"/>
                <a:gd name="connsiteX26" fmla="*/ 3510 w 10000"/>
                <a:gd name="connsiteY26" fmla="*/ 999 h 10000"/>
                <a:gd name="connsiteX27" fmla="*/ 2330 w 10000"/>
                <a:gd name="connsiteY27" fmla="*/ 703 h 10000"/>
                <a:gd name="connsiteX28" fmla="*/ 804 w 10000"/>
                <a:gd name="connsiteY28" fmla="*/ 307 h 10000"/>
                <a:gd name="connsiteX29" fmla="*/ 50 w 10000"/>
                <a:gd name="connsiteY29" fmla="*/ 280 h 10000"/>
                <a:gd name="connsiteX30" fmla="*/ 50 w 10000"/>
                <a:gd name="connsiteY30" fmla="*/ 280 h 10000"/>
                <a:gd name="connsiteX31" fmla="*/ 650 w 10000"/>
                <a:gd name="connsiteY31" fmla="*/ 432 h 10000"/>
                <a:gd name="connsiteX32" fmla="*/ 0 w 10000"/>
                <a:gd name="connsiteY32" fmla="*/ 603 h 10000"/>
                <a:gd name="connsiteX33" fmla="*/ 0 w 10000"/>
                <a:gd name="connsiteY33" fmla="*/ 603 h 10000"/>
                <a:gd name="connsiteX34" fmla="*/ 824 w 10000"/>
                <a:gd name="connsiteY34" fmla="*/ 586 h 10000"/>
                <a:gd name="connsiteX35" fmla="*/ 1805 w 10000"/>
                <a:gd name="connsiteY35" fmla="*/ 864 h 10000"/>
                <a:gd name="connsiteX36" fmla="*/ 3738 w 10000"/>
                <a:gd name="connsiteY36" fmla="*/ 1233 h 10000"/>
                <a:gd name="connsiteX37" fmla="*/ 4442 w 10000"/>
                <a:gd name="connsiteY37" fmla="*/ 594 h 10000"/>
                <a:gd name="connsiteX38" fmla="*/ 4491 w 10000"/>
                <a:gd name="connsiteY38" fmla="*/ 298 h 10000"/>
                <a:gd name="connsiteX39" fmla="*/ 4892 w 10000"/>
                <a:gd name="connsiteY39" fmla="*/ 253 h 10000"/>
                <a:gd name="connsiteX40" fmla="*/ 5945 w 10000"/>
                <a:gd name="connsiteY40" fmla="*/ 414 h 10000"/>
                <a:gd name="connsiteX41" fmla="*/ 6172 w 10000"/>
                <a:gd name="connsiteY41" fmla="*/ 1421 h 10000"/>
                <a:gd name="connsiteX42" fmla="*/ 6072 w 10000"/>
                <a:gd name="connsiteY42" fmla="*/ 1528 h 10000"/>
                <a:gd name="connsiteX43" fmla="*/ 5744 w 10000"/>
                <a:gd name="connsiteY43" fmla="*/ 1889 h 10000"/>
                <a:gd name="connsiteX44" fmla="*/ 5065 w 10000"/>
                <a:gd name="connsiteY44" fmla="*/ 3109 h 10000"/>
                <a:gd name="connsiteX45" fmla="*/ 5343 w 10000"/>
                <a:gd name="connsiteY45" fmla="*/ 4170 h 10000"/>
                <a:gd name="connsiteX46" fmla="*/ 5873 w 10000"/>
                <a:gd name="connsiteY46" fmla="*/ 5859 h 10000"/>
                <a:gd name="connsiteX47" fmla="*/ 5848 w 10000"/>
                <a:gd name="connsiteY47" fmla="*/ 5930 h 10000"/>
                <a:gd name="connsiteX48" fmla="*/ 6023 w 10000"/>
                <a:gd name="connsiteY48" fmla="*/ 6253 h 10000"/>
                <a:gd name="connsiteX49" fmla="*/ 5795 w 10000"/>
                <a:gd name="connsiteY49" fmla="*/ 8185 h 10000"/>
                <a:gd name="connsiteX50" fmla="*/ 6324 w 10000"/>
                <a:gd name="connsiteY50" fmla="*/ 9946 h 10000"/>
                <a:gd name="connsiteX51" fmla="*/ 6676 w 10000"/>
                <a:gd name="connsiteY51" fmla="*/ 10000 h 10000"/>
                <a:gd name="connsiteX52" fmla="*/ 6952 w 10000"/>
                <a:gd name="connsiteY52" fmla="*/ 9954 h 10000"/>
                <a:gd name="connsiteX53" fmla="*/ 7475 w 10000"/>
                <a:gd name="connsiteY53" fmla="*/ 8293 h 10000"/>
                <a:gd name="connsiteX54" fmla="*/ 7475 w 10000"/>
                <a:gd name="connsiteY54" fmla="*/ 8202 h 10000"/>
                <a:gd name="connsiteX55" fmla="*/ 7555 w 10000"/>
                <a:gd name="connsiteY55" fmla="*/ 6865 h 10000"/>
                <a:gd name="connsiteX56" fmla="*/ 7601 w 10000"/>
                <a:gd name="connsiteY56" fmla="*/ 6308 h 10000"/>
                <a:gd name="connsiteX57" fmla="*/ 7828 w 10000"/>
                <a:gd name="connsiteY57" fmla="*/ 6038 h 10000"/>
                <a:gd name="connsiteX58" fmla="*/ 8807 w 10000"/>
                <a:gd name="connsiteY58" fmla="*/ 4763 h 10000"/>
                <a:gd name="connsiteX59" fmla="*/ 9632 w 10000"/>
                <a:gd name="connsiteY59" fmla="*/ 4474 h 10000"/>
                <a:gd name="connsiteX60" fmla="*/ 9158 w 10000"/>
                <a:gd name="connsiteY60" fmla="*/ 3577 h 10000"/>
                <a:gd name="connsiteX61" fmla="*/ 8505 w 10000"/>
                <a:gd name="connsiteY61" fmla="*/ 3288 h 10000"/>
                <a:gd name="connsiteX0" fmla="*/ 9158 w 10000"/>
                <a:gd name="connsiteY0" fmla="*/ 3577 h 10000"/>
                <a:gd name="connsiteX1" fmla="*/ 7900 w 10000"/>
                <a:gd name="connsiteY1" fmla="*/ 3424 h 10000"/>
                <a:gd name="connsiteX2" fmla="*/ 8657 w 10000"/>
                <a:gd name="connsiteY2" fmla="*/ 3747 h 10000"/>
                <a:gd name="connsiteX3" fmla="*/ 9082 w 10000"/>
                <a:gd name="connsiteY3" fmla="*/ 4340 h 10000"/>
                <a:gd name="connsiteX4" fmla="*/ 8428 w 10000"/>
                <a:gd name="connsiteY4" fmla="*/ 4556 h 10000"/>
                <a:gd name="connsiteX5" fmla="*/ 7151 w 10000"/>
                <a:gd name="connsiteY5" fmla="*/ 6038 h 10000"/>
                <a:gd name="connsiteX6" fmla="*/ 7279 w 10000"/>
                <a:gd name="connsiteY6" fmla="*/ 6298 h 10000"/>
                <a:gd name="connsiteX7" fmla="*/ 7251 w 10000"/>
                <a:gd name="connsiteY7" fmla="*/ 6865 h 10000"/>
                <a:gd name="connsiteX8" fmla="*/ 7178 w 10000"/>
                <a:gd name="connsiteY8" fmla="*/ 8202 h 10000"/>
                <a:gd name="connsiteX9" fmla="*/ 7178 w 10000"/>
                <a:gd name="connsiteY9" fmla="*/ 8293 h 10000"/>
                <a:gd name="connsiteX10" fmla="*/ 6723 w 10000"/>
                <a:gd name="connsiteY10" fmla="*/ 9873 h 10000"/>
                <a:gd name="connsiteX11" fmla="*/ 6676 w 10000"/>
                <a:gd name="connsiteY11" fmla="*/ 9891 h 10000"/>
                <a:gd name="connsiteX12" fmla="*/ 6522 w 10000"/>
                <a:gd name="connsiteY12" fmla="*/ 9864 h 10000"/>
                <a:gd name="connsiteX13" fmla="*/ 6096 w 10000"/>
                <a:gd name="connsiteY13" fmla="*/ 8185 h 10000"/>
                <a:gd name="connsiteX14" fmla="*/ 6324 w 10000"/>
                <a:gd name="connsiteY14" fmla="*/ 6253 h 10000"/>
                <a:gd name="connsiteX15" fmla="*/ 6522 w 10000"/>
                <a:gd name="connsiteY15" fmla="*/ 5957 h 10000"/>
                <a:gd name="connsiteX16" fmla="*/ 6549 w 10000"/>
                <a:gd name="connsiteY16" fmla="*/ 5885 h 10000"/>
                <a:gd name="connsiteX17" fmla="*/ 5999 w 10000"/>
                <a:gd name="connsiteY17" fmla="*/ 4098 h 10000"/>
                <a:gd name="connsiteX18" fmla="*/ 5744 w 10000"/>
                <a:gd name="connsiteY18" fmla="*/ 3073 h 10000"/>
                <a:gd name="connsiteX19" fmla="*/ 6350 w 10000"/>
                <a:gd name="connsiteY19" fmla="*/ 2004 h 10000"/>
                <a:gd name="connsiteX20" fmla="*/ 6723 w 10000"/>
                <a:gd name="connsiteY20" fmla="*/ 1600 h 10000"/>
                <a:gd name="connsiteX21" fmla="*/ 6799 w 10000"/>
                <a:gd name="connsiteY21" fmla="*/ 1493 h 10000"/>
                <a:gd name="connsiteX22" fmla="*/ 6471 w 10000"/>
                <a:gd name="connsiteY22" fmla="*/ 262 h 10000"/>
                <a:gd name="connsiteX23" fmla="*/ 4842 w 10000"/>
                <a:gd name="connsiteY23" fmla="*/ 1 h 10000"/>
                <a:gd name="connsiteX24" fmla="*/ 3964 w 10000"/>
                <a:gd name="connsiteY24" fmla="*/ 136 h 10000"/>
                <a:gd name="connsiteX25" fmla="*/ 3761 w 10000"/>
                <a:gd name="connsiteY25" fmla="*/ 621 h 10000"/>
                <a:gd name="connsiteX26" fmla="*/ 3510 w 10000"/>
                <a:gd name="connsiteY26" fmla="*/ 999 h 10000"/>
                <a:gd name="connsiteX27" fmla="*/ 2330 w 10000"/>
                <a:gd name="connsiteY27" fmla="*/ 703 h 10000"/>
                <a:gd name="connsiteX28" fmla="*/ 804 w 10000"/>
                <a:gd name="connsiteY28" fmla="*/ 307 h 10000"/>
                <a:gd name="connsiteX29" fmla="*/ 50 w 10000"/>
                <a:gd name="connsiteY29" fmla="*/ 280 h 10000"/>
                <a:gd name="connsiteX30" fmla="*/ 50 w 10000"/>
                <a:gd name="connsiteY30" fmla="*/ 280 h 10000"/>
                <a:gd name="connsiteX31" fmla="*/ 650 w 10000"/>
                <a:gd name="connsiteY31" fmla="*/ 432 h 10000"/>
                <a:gd name="connsiteX32" fmla="*/ 0 w 10000"/>
                <a:gd name="connsiteY32" fmla="*/ 603 h 10000"/>
                <a:gd name="connsiteX33" fmla="*/ 0 w 10000"/>
                <a:gd name="connsiteY33" fmla="*/ 603 h 10000"/>
                <a:gd name="connsiteX34" fmla="*/ 824 w 10000"/>
                <a:gd name="connsiteY34" fmla="*/ 586 h 10000"/>
                <a:gd name="connsiteX35" fmla="*/ 1805 w 10000"/>
                <a:gd name="connsiteY35" fmla="*/ 864 h 10000"/>
                <a:gd name="connsiteX36" fmla="*/ 3738 w 10000"/>
                <a:gd name="connsiteY36" fmla="*/ 1233 h 10000"/>
                <a:gd name="connsiteX37" fmla="*/ 4442 w 10000"/>
                <a:gd name="connsiteY37" fmla="*/ 594 h 10000"/>
                <a:gd name="connsiteX38" fmla="*/ 4491 w 10000"/>
                <a:gd name="connsiteY38" fmla="*/ 298 h 10000"/>
                <a:gd name="connsiteX39" fmla="*/ 4892 w 10000"/>
                <a:gd name="connsiteY39" fmla="*/ 253 h 10000"/>
                <a:gd name="connsiteX40" fmla="*/ 5945 w 10000"/>
                <a:gd name="connsiteY40" fmla="*/ 414 h 10000"/>
                <a:gd name="connsiteX41" fmla="*/ 6172 w 10000"/>
                <a:gd name="connsiteY41" fmla="*/ 1421 h 10000"/>
                <a:gd name="connsiteX42" fmla="*/ 6072 w 10000"/>
                <a:gd name="connsiteY42" fmla="*/ 1528 h 10000"/>
                <a:gd name="connsiteX43" fmla="*/ 5744 w 10000"/>
                <a:gd name="connsiteY43" fmla="*/ 1889 h 10000"/>
                <a:gd name="connsiteX44" fmla="*/ 5065 w 10000"/>
                <a:gd name="connsiteY44" fmla="*/ 3109 h 10000"/>
                <a:gd name="connsiteX45" fmla="*/ 5343 w 10000"/>
                <a:gd name="connsiteY45" fmla="*/ 4170 h 10000"/>
                <a:gd name="connsiteX46" fmla="*/ 5873 w 10000"/>
                <a:gd name="connsiteY46" fmla="*/ 5859 h 10000"/>
                <a:gd name="connsiteX47" fmla="*/ 5848 w 10000"/>
                <a:gd name="connsiteY47" fmla="*/ 5930 h 10000"/>
                <a:gd name="connsiteX48" fmla="*/ 6023 w 10000"/>
                <a:gd name="connsiteY48" fmla="*/ 6253 h 10000"/>
                <a:gd name="connsiteX49" fmla="*/ 5795 w 10000"/>
                <a:gd name="connsiteY49" fmla="*/ 8185 h 10000"/>
                <a:gd name="connsiteX50" fmla="*/ 6324 w 10000"/>
                <a:gd name="connsiteY50" fmla="*/ 9946 h 10000"/>
                <a:gd name="connsiteX51" fmla="*/ 6676 w 10000"/>
                <a:gd name="connsiteY51" fmla="*/ 10000 h 10000"/>
                <a:gd name="connsiteX52" fmla="*/ 6952 w 10000"/>
                <a:gd name="connsiteY52" fmla="*/ 9954 h 10000"/>
                <a:gd name="connsiteX53" fmla="*/ 7475 w 10000"/>
                <a:gd name="connsiteY53" fmla="*/ 8293 h 10000"/>
                <a:gd name="connsiteX54" fmla="*/ 7475 w 10000"/>
                <a:gd name="connsiteY54" fmla="*/ 8202 h 10000"/>
                <a:gd name="connsiteX55" fmla="*/ 7555 w 10000"/>
                <a:gd name="connsiteY55" fmla="*/ 6865 h 10000"/>
                <a:gd name="connsiteX56" fmla="*/ 7601 w 10000"/>
                <a:gd name="connsiteY56" fmla="*/ 6308 h 10000"/>
                <a:gd name="connsiteX57" fmla="*/ 7828 w 10000"/>
                <a:gd name="connsiteY57" fmla="*/ 6038 h 10000"/>
                <a:gd name="connsiteX58" fmla="*/ 8807 w 10000"/>
                <a:gd name="connsiteY58" fmla="*/ 4763 h 10000"/>
                <a:gd name="connsiteX59" fmla="*/ 9632 w 10000"/>
                <a:gd name="connsiteY59" fmla="*/ 4474 h 10000"/>
                <a:gd name="connsiteX60" fmla="*/ 9158 w 10000"/>
                <a:gd name="connsiteY60" fmla="*/ 3577 h 10000"/>
                <a:gd name="connsiteX0" fmla="*/ 9158 w 10000"/>
                <a:gd name="connsiteY0" fmla="*/ 3577 h 10000"/>
                <a:gd name="connsiteX1" fmla="*/ 8657 w 10000"/>
                <a:gd name="connsiteY1" fmla="*/ 3747 h 10000"/>
                <a:gd name="connsiteX2" fmla="*/ 9082 w 10000"/>
                <a:gd name="connsiteY2" fmla="*/ 4340 h 10000"/>
                <a:gd name="connsiteX3" fmla="*/ 8428 w 10000"/>
                <a:gd name="connsiteY3" fmla="*/ 4556 h 10000"/>
                <a:gd name="connsiteX4" fmla="*/ 7151 w 10000"/>
                <a:gd name="connsiteY4" fmla="*/ 6038 h 10000"/>
                <a:gd name="connsiteX5" fmla="*/ 7279 w 10000"/>
                <a:gd name="connsiteY5" fmla="*/ 6298 h 10000"/>
                <a:gd name="connsiteX6" fmla="*/ 7251 w 10000"/>
                <a:gd name="connsiteY6" fmla="*/ 6865 h 10000"/>
                <a:gd name="connsiteX7" fmla="*/ 7178 w 10000"/>
                <a:gd name="connsiteY7" fmla="*/ 8202 h 10000"/>
                <a:gd name="connsiteX8" fmla="*/ 7178 w 10000"/>
                <a:gd name="connsiteY8" fmla="*/ 8293 h 10000"/>
                <a:gd name="connsiteX9" fmla="*/ 6723 w 10000"/>
                <a:gd name="connsiteY9" fmla="*/ 9873 h 10000"/>
                <a:gd name="connsiteX10" fmla="*/ 6676 w 10000"/>
                <a:gd name="connsiteY10" fmla="*/ 9891 h 10000"/>
                <a:gd name="connsiteX11" fmla="*/ 6522 w 10000"/>
                <a:gd name="connsiteY11" fmla="*/ 9864 h 10000"/>
                <a:gd name="connsiteX12" fmla="*/ 6096 w 10000"/>
                <a:gd name="connsiteY12" fmla="*/ 8185 h 10000"/>
                <a:gd name="connsiteX13" fmla="*/ 6324 w 10000"/>
                <a:gd name="connsiteY13" fmla="*/ 6253 h 10000"/>
                <a:gd name="connsiteX14" fmla="*/ 6522 w 10000"/>
                <a:gd name="connsiteY14" fmla="*/ 5957 h 10000"/>
                <a:gd name="connsiteX15" fmla="*/ 6549 w 10000"/>
                <a:gd name="connsiteY15" fmla="*/ 5885 h 10000"/>
                <a:gd name="connsiteX16" fmla="*/ 5999 w 10000"/>
                <a:gd name="connsiteY16" fmla="*/ 4098 h 10000"/>
                <a:gd name="connsiteX17" fmla="*/ 5744 w 10000"/>
                <a:gd name="connsiteY17" fmla="*/ 3073 h 10000"/>
                <a:gd name="connsiteX18" fmla="*/ 6350 w 10000"/>
                <a:gd name="connsiteY18" fmla="*/ 2004 h 10000"/>
                <a:gd name="connsiteX19" fmla="*/ 6723 w 10000"/>
                <a:gd name="connsiteY19" fmla="*/ 1600 h 10000"/>
                <a:gd name="connsiteX20" fmla="*/ 6799 w 10000"/>
                <a:gd name="connsiteY20" fmla="*/ 1493 h 10000"/>
                <a:gd name="connsiteX21" fmla="*/ 6471 w 10000"/>
                <a:gd name="connsiteY21" fmla="*/ 262 h 10000"/>
                <a:gd name="connsiteX22" fmla="*/ 4842 w 10000"/>
                <a:gd name="connsiteY22" fmla="*/ 1 h 10000"/>
                <a:gd name="connsiteX23" fmla="*/ 3964 w 10000"/>
                <a:gd name="connsiteY23" fmla="*/ 136 h 10000"/>
                <a:gd name="connsiteX24" fmla="*/ 3761 w 10000"/>
                <a:gd name="connsiteY24" fmla="*/ 621 h 10000"/>
                <a:gd name="connsiteX25" fmla="*/ 3510 w 10000"/>
                <a:gd name="connsiteY25" fmla="*/ 999 h 10000"/>
                <a:gd name="connsiteX26" fmla="*/ 2330 w 10000"/>
                <a:gd name="connsiteY26" fmla="*/ 703 h 10000"/>
                <a:gd name="connsiteX27" fmla="*/ 804 w 10000"/>
                <a:gd name="connsiteY27" fmla="*/ 307 h 10000"/>
                <a:gd name="connsiteX28" fmla="*/ 50 w 10000"/>
                <a:gd name="connsiteY28" fmla="*/ 280 h 10000"/>
                <a:gd name="connsiteX29" fmla="*/ 50 w 10000"/>
                <a:gd name="connsiteY29" fmla="*/ 280 h 10000"/>
                <a:gd name="connsiteX30" fmla="*/ 650 w 10000"/>
                <a:gd name="connsiteY30" fmla="*/ 432 h 10000"/>
                <a:gd name="connsiteX31" fmla="*/ 0 w 10000"/>
                <a:gd name="connsiteY31" fmla="*/ 603 h 10000"/>
                <a:gd name="connsiteX32" fmla="*/ 0 w 10000"/>
                <a:gd name="connsiteY32" fmla="*/ 603 h 10000"/>
                <a:gd name="connsiteX33" fmla="*/ 824 w 10000"/>
                <a:gd name="connsiteY33" fmla="*/ 586 h 10000"/>
                <a:gd name="connsiteX34" fmla="*/ 1805 w 10000"/>
                <a:gd name="connsiteY34" fmla="*/ 864 h 10000"/>
                <a:gd name="connsiteX35" fmla="*/ 3738 w 10000"/>
                <a:gd name="connsiteY35" fmla="*/ 1233 h 10000"/>
                <a:gd name="connsiteX36" fmla="*/ 4442 w 10000"/>
                <a:gd name="connsiteY36" fmla="*/ 594 h 10000"/>
                <a:gd name="connsiteX37" fmla="*/ 4491 w 10000"/>
                <a:gd name="connsiteY37" fmla="*/ 298 h 10000"/>
                <a:gd name="connsiteX38" fmla="*/ 4892 w 10000"/>
                <a:gd name="connsiteY38" fmla="*/ 253 h 10000"/>
                <a:gd name="connsiteX39" fmla="*/ 5945 w 10000"/>
                <a:gd name="connsiteY39" fmla="*/ 414 h 10000"/>
                <a:gd name="connsiteX40" fmla="*/ 6172 w 10000"/>
                <a:gd name="connsiteY40" fmla="*/ 1421 h 10000"/>
                <a:gd name="connsiteX41" fmla="*/ 6072 w 10000"/>
                <a:gd name="connsiteY41" fmla="*/ 1528 h 10000"/>
                <a:gd name="connsiteX42" fmla="*/ 5744 w 10000"/>
                <a:gd name="connsiteY42" fmla="*/ 1889 h 10000"/>
                <a:gd name="connsiteX43" fmla="*/ 5065 w 10000"/>
                <a:gd name="connsiteY43" fmla="*/ 3109 h 10000"/>
                <a:gd name="connsiteX44" fmla="*/ 5343 w 10000"/>
                <a:gd name="connsiteY44" fmla="*/ 4170 h 10000"/>
                <a:gd name="connsiteX45" fmla="*/ 5873 w 10000"/>
                <a:gd name="connsiteY45" fmla="*/ 5859 h 10000"/>
                <a:gd name="connsiteX46" fmla="*/ 5848 w 10000"/>
                <a:gd name="connsiteY46" fmla="*/ 5930 h 10000"/>
                <a:gd name="connsiteX47" fmla="*/ 6023 w 10000"/>
                <a:gd name="connsiteY47" fmla="*/ 6253 h 10000"/>
                <a:gd name="connsiteX48" fmla="*/ 5795 w 10000"/>
                <a:gd name="connsiteY48" fmla="*/ 8185 h 10000"/>
                <a:gd name="connsiteX49" fmla="*/ 6324 w 10000"/>
                <a:gd name="connsiteY49" fmla="*/ 9946 h 10000"/>
                <a:gd name="connsiteX50" fmla="*/ 6676 w 10000"/>
                <a:gd name="connsiteY50" fmla="*/ 10000 h 10000"/>
                <a:gd name="connsiteX51" fmla="*/ 6952 w 10000"/>
                <a:gd name="connsiteY51" fmla="*/ 9954 h 10000"/>
                <a:gd name="connsiteX52" fmla="*/ 7475 w 10000"/>
                <a:gd name="connsiteY52" fmla="*/ 8293 h 10000"/>
                <a:gd name="connsiteX53" fmla="*/ 7475 w 10000"/>
                <a:gd name="connsiteY53" fmla="*/ 8202 h 10000"/>
                <a:gd name="connsiteX54" fmla="*/ 7555 w 10000"/>
                <a:gd name="connsiteY54" fmla="*/ 6865 h 10000"/>
                <a:gd name="connsiteX55" fmla="*/ 7601 w 10000"/>
                <a:gd name="connsiteY55" fmla="*/ 6308 h 10000"/>
                <a:gd name="connsiteX56" fmla="*/ 7828 w 10000"/>
                <a:gd name="connsiteY56" fmla="*/ 6038 h 10000"/>
                <a:gd name="connsiteX57" fmla="*/ 8807 w 10000"/>
                <a:gd name="connsiteY57" fmla="*/ 4763 h 10000"/>
                <a:gd name="connsiteX58" fmla="*/ 9632 w 10000"/>
                <a:gd name="connsiteY58" fmla="*/ 4474 h 10000"/>
                <a:gd name="connsiteX59" fmla="*/ 9158 w 10000"/>
                <a:gd name="connsiteY59" fmla="*/ 3577 h 10000"/>
                <a:gd name="connsiteX0" fmla="*/ 9632 w 9632"/>
                <a:gd name="connsiteY0" fmla="*/ 4474 h 10000"/>
                <a:gd name="connsiteX1" fmla="*/ 8657 w 9632"/>
                <a:gd name="connsiteY1" fmla="*/ 3747 h 10000"/>
                <a:gd name="connsiteX2" fmla="*/ 9082 w 9632"/>
                <a:gd name="connsiteY2" fmla="*/ 4340 h 10000"/>
                <a:gd name="connsiteX3" fmla="*/ 8428 w 9632"/>
                <a:gd name="connsiteY3" fmla="*/ 4556 h 10000"/>
                <a:gd name="connsiteX4" fmla="*/ 7151 w 9632"/>
                <a:gd name="connsiteY4" fmla="*/ 6038 h 10000"/>
                <a:gd name="connsiteX5" fmla="*/ 7279 w 9632"/>
                <a:gd name="connsiteY5" fmla="*/ 6298 h 10000"/>
                <a:gd name="connsiteX6" fmla="*/ 7251 w 9632"/>
                <a:gd name="connsiteY6" fmla="*/ 6865 h 10000"/>
                <a:gd name="connsiteX7" fmla="*/ 7178 w 9632"/>
                <a:gd name="connsiteY7" fmla="*/ 8202 h 10000"/>
                <a:gd name="connsiteX8" fmla="*/ 7178 w 9632"/>
                <a:gd name="connsiteY8" fmla="*/ 8293 h 10000"/>
                <a:gd name="connsiteX9" fmla="*/ 6723 w 9632"/>
                <a:gd name="connsiteY9" fmla="*/ 9873 h 10000"/>
                <a:gd name="connsiteX10" fmla="*/ 6676 w 9632"/>
                <a:gd name="connsiteY10" fmla="*/ 9891 h 10000"/>
                <a:gd name="connsiteX11" fmla="*/ 6522 w 9632"/>
                <a:gd name="connsiteY11" fmla="*/ 9864 h 10000"/>
                <a:gd name="connsiteX12" fmla="*/ 6096 w 9632"/>
                <a:gd name="connsiteY12" fmla="*/ 8185 h 10000"/>
                <a:gd name="connsiteX13" fmla="*/ 6324 w 9632"/>
                <a:gd name="connsiteY13" fmla="*/ 6253 h 10000"/>
                <a:gd name="connsiteX14" fmla="*/ 6522 w 9632"/>
                <a:gd name="connsiteY14" fmla="*/ 5957 h 10000"/>
                <a:gd name="connsiteX15" fmla="*/ 6549 w 9632"/>
                <a:gd name="connsiteY15" fmla="*/ 5885 h 10000"/>
                <a:gd name="connsiteX16" fmla="*/ 5999 w 9632"/>
                <a:gd name="connsiteY16" fmla="*/ 4098 h 10000"/>
                <a:gd name="connsiteX17" fmla="*/ 5744 w 9632"/>
                <a:gd name="connsiteY17" fmla="*/ 3073 h 10000"/>
                <a:gd name="connsiteX18" fmla="*/ 6350 w 9632"/>
                <a:gd name="connsiteY18" fmla="*/ 2004 h 10000"/>
                <a:gd name="connsiteX19" fmla="*/ 6723 w 9632"/>
                <a:gd name="connsiteY19" fmla="*/ 1600 h 10000"/>
                <a:gd name="connsiteX20" fmla="*/ 6799 w 9632"/>
                <a:gd name="connsiteY20" fmla="*/ 1493 h 10000"/>
                <a:gd name="connsiteX21" fmla="*/ 6471 w 9632"/>
                <a:gd name="connsiteY21" fmla="*/ 262 h 10000"/>
                <a:gd name="connsiteX22" fmla="*/ 4842 w 9632"/>
                <a:gd name="connsiteY22" fmla="*/ 1 h 10000"/>
                <a:gd name="connsiteX23" fmla="*/ 3964 w 9632"/>
                <a:gd name="connsiteY23" fmla="*/ 136 h 10000"/>
                <a:gd name="connsiteX24" fmla="*/ 3761 w 9632"/>
                <a:gd name="connsiteY24" fmla="*/ 621 h 10000"/>
                <a:gd name="connsiteX25" fmla="*/ 3510 w 9632"/>
                <a:gd name="connsiteY25" fmla="*/ 999 h 10000"/>
                <a:gd name="connsiteX26" fmla="*/ 2330 w 9632"/>
                <a:gd name="connsiteY26" fmla="*/ 703 h 10000"/>
                <a:gd name="connsiteX27" fmla="*/ 804 w 9632"/>
                <a:gd name="connsiteY27" fmla="*/ 307 h 10000"/>
                <a:gd name="connsiteX28" fmla="*/ 50 w 9632"/>
                <a:gd name="connsiteY28" fmla="*/ 280 h 10000"/>
                <a:gd name="connsiteX29" fmla="*/ 50 w 9632"/>
                <a:gd name="connsiteY29" fmla="*/ 280 h 10000"/>
                <a:gd name="connsiteX30" fmla="*/ 650 w 9632"/>
                <a:gd name="connsiteY30" fmla="*/ 432 h 10000"/>
                <a:gd name="connsiteX31" fmla="*/ 0 w 9632"/>
                <a:gd name="connsiteY31" fmla="*/ 603 h 10000"/>
                <a:gd name="connsiteX32" fmla="*/ 0 w 9632"/>
                <a:gd name="connsiteY32" fmla="*/ 603 h 10000"/>
                <a:gd name="connsiteX33" fmla="*/ 824 w 9632"/>
                <a:gd name="connsiteY33" fmla="*/ 586 h 10000"/>
                <a:gd name="connsiteX34" fmla="*/ 1805 w 9632"/>
                <a:gd name="connsiteY34" fmla="*/ 864 h 10000"/>
                <a:gd name="connsiteX35" fmla="*/ 3738 w 9632"/>
                <a:gd name="connsiteY35" fmla="*/ 1233 h 10000"/>
                <a:gd name="connsiteX36" fmla="*/ 4442 w 9632"/>
                <a:gd name="connsiteY36" fmla="*/ 594 h 10000"/>
                <a:gd name="connsiteX37" fmla="*/ 4491 w 9632"/>
                <a:gd name="connsiteY37" fmla="*/ 298 h 10000"/>
                <a:gd name="connsiteX38" fmla="*/ 4892 w 9632"/>
                <a:gd name="connsiteY38" fmla="*/ 253 h 10000"/>
                <a:gd name="connsiteX39" fmla="*/ 5945 w 9632"/>
                <a:gd name="connsiteY39" fmla="*/ 414 h 10000"/>
                <a:gd name="connsiteX40" fmla="*/ 6172 w 9632"/>
                <a:gd name="connsiteY40" fmla="*/ 1421 h 10000"/>
                <a:gd name="connsiteX41" fmla="*/ 6072 w 9632"/>
                <a:gd name="connsiteY41" fmla="*/ 1528 h 10000"/>
                <a:gd name="connsiteX42" fmla="*/ 5744 w 9632"/>
                <a:gd name="connsiteY42" fmla="*/ 1889 h 10000"/>
                <a:gd name="connsiteX43" fmla="*/ 5065 w 9632"/>
                <a:gd name="connsiteY43" fmla="*/ 3109 h 10000"/>
                <a:gd name="connsiteX44" fmla="*/ 5343 w 9632"/>
                <a:gd name="connsiteY44" fmla="*/ 4170 h 10000"/>
                <a:gd name="connsiteX45" fmla="*/ 5873 w 9632"/>
                <a:gd name="connsiteY45" fmla="*/ 5859 h 10000"/>
                <a:gd name="connsiteX46" fmla="*/ 5848 w 9632"/>
                <a:gd name="connsiteY46" fmla="*/ 5930 h 10000"/>
                <a:gd name="connsiteX47" fmla="*/ 6023 w 9632"/>
                <a:gd name="connsiteY47" fmla="*/ 6253 h 10000"/>
                <a:gd name="connsiteX48" fmla="*/ 5795 w 9632"/>
                <a:gd name="connsiteY48" fmla="*/ 8185 h 10000"/>
                <a:gd name="connsiteX49" fmla="*/ 6324 w 9632"/>
                <a:gd name="connsiteY49" fmla="*/ 9946 h 10000"/>
                <a:gd name="connsiteX50" fmla="*/ 6676 w 9632"/>
                <a:gd name="connsiteY50" fmla="*/ 10000 h 10000"/>
                <a:gd name="connsiteX51" fmla="*/ 6952 w 9632"/>
                <a:gd name="connsiteY51" fmla="*/ 9954 h 10000"/>
                <a:gd name="connsiteX52" fmla="*/ 7475 w 9632"/>
                <a:gd name="connsiteY52" fmla="*/ 8293 h 10000"/>
                <a:gd name="connsiteX53" fmla="*/ 7475 w 9632"/>
                <a:gd name="connsiteY53" fmla="*/ 8202 h 10000"/>
                <a:gd name="connsiteX54" fmla="*/ 7555 w 9632"/>
                <a:gd name="connsiteY54" fmla="*/ 6865 h 10000"/>
                <a:gd name="connsiteX55" fmla="*/ 7601 w 9632"/>
                <a:gd name="connsiteY55" fmla="*/ 6308 h 10000"/>
                <a:gd name="connsiteX56" fmla="*/ 7828 w 9632"/>
                <a:gd name="connsiteY56" fmla="*/ 6038 h 10000"/>
                <a:gd name="connsiteX57" fmla="*/ 8807 w 9632"/>
                <a:gd name="connsiteY57" fmla="*/ 4763 h 10000"/>
                <a:gd name="connsiteX58" fmla="*/ 9632 w 9632"/>
                <a:gd name="connsiteY58" fmla="*/ 4474 h 10000"/>
                <a:gd name="connsiteX0" fmla="*/ 10000 w 10003"/>
                <a:gd name="connsiteY0" fmla="*/ 4474 h 10000"/>
                <a:gd name="connsiteX1" fmla="*/ 9429 w 10003"/>
                <a:gd name="connsiteY1" fmla="*/ 4340 h 10000"/>
                <a:gd name="connsiteX2" fmla="*/ 8750 w 10003"/>
                <a:gd name="connsiteY2" fmla="*/ 4556 h 10000"/>
                <a:gd name="connsiteX3" fmla="*/ 7424 w 10003"/>
                <a:gd name="connsiteY3" fmla="*/ 6038 h 10000"/>
                <a:gd name="connsiteX4" fmla="*/ 7557 w 10003"/>
                <a:gd name="connsiteY4" fmla="*/ 6298 h 10000"/>
                <a:gd name="connsiteX5" fmla="*/ 7528 w 10003"/>
                <a:gd name="connsiteY5" fmla="*/ 6865 h 10000"/>
                <a:gd name="connsiteX6" fmla="*/ 7452 w 10003"/>
                <a:gd name="connsiteY6" fmla="*/ 8202 h 10000"/>
                <a:gd name="connsiteX7" fmla="*/ 7452 w 10003"/>
                <a:gd name="connsiteY7" fmla="*/ 8293 h 10000"/>
                <a:gd name="connsiteX8" fmla="*/ 6980 w 10003"/>
                <a:gd name="connsiteY8" fmla="*/ 9873 h 10000"/>
                <a:gd name="connsiteX9" fmla="*/ 6931 w 10003"/>
                <a:gd name="connsiteY9" fmla="*/ 9891 h 10000"/>
                <a:gd name="connsiteX10" fmla="*/ 6771 w 10003"/>
                <a:gd name="connsiteY10" fmla="*/ 9864 h 10000"/>
                <a:gd name="connsiteX11" fmla="*/ 6329 w 10003"/>
                <a:gd name="connsiteY11" fmla="*/ 8185 h 10000"/>
                <a:gd name="connsiteX12" fmla="*/ 6566 w 10003"/>
                <a:gd name="connsiteY12" fmla="*/ 6253 h 10000"/>
                <a:gd name="connsiteX13" fmla="*/ 6771 w 10003"/>
                <a:gd name="connsiteY13" fmla="*/ 5957 h 10000"/>
                <a:gd name="connsiteX14" fmla="*/ 6799 w 10003"/>
                <a:gd name="connsiteY14" fmla="*/ 5885 h 10000"/>
                <a:gd name="connsiteX15" fmla="*/ 6228 w 10003"/>
                <a:gd name="connsiteY15" fmla="*/ 4098 h 10000"/>
                <a:gd name="connsiteX16" fmla="*/ 5963 w 10003"/>
                <a:gd name="connsiteY16" fmla="*/ 3073 h 10000"/>
                <a:gd name="connsiteX17" fmla="*/ 6593 w 10003"/>
                <a:gd name="connsiteY17" fmla="*/ 2004 h 10000"/>
                <a:gd name="connsiteX18" fmla="*/ 6980 w 10003"/>
                <a:gd name="connsiteY18" fmla="*/ 1600 h 10000"/>
                <a:gd name="connsiteX19" fmla="*/ 7059 w 10003"/>
                <a:gd name="connsiteY19" fmla="*/ 1493 h 10000"/>
                <a:gd name="connsiteX20" fmla="*/ 6718 w 10003"/>
                <a:gd name="connsiteY20" fmla="*/ 262 h 10000"/>
                <a:gd name="connsiteX21" fmla="*/ 5027 w 10003"/>
                <a:gd name="connsiteY21" fmla="*/ 1 h 10000"/>
                <a:gd name="connsiteX22" fmla="*/ 4115 w 10003"/>
                <a:gd name="connsiteY22" fmla="*/ 136 h 10000"/>
                <a:gd name="connsiteX23" fmla="*/ 3905 w 10003"/>
                <a:gd name="connsiteY23" fmla="*/ 621 h 10000"/>
                <a:gd name="connsiteX24" fmla="*/ 3644 w 10003"/>
                <a:gd name="connsiteY24" fmla="*/ 999 h 10000"/>
                <a:gd name="connsiteX25" fmla="*/ 2419 w 10003"/>
                <a:gd name="connsiteY25" fmla="*/ 703 h 10000"/>
                <a:gd name="connsiteX26" fmla="*/ 835 w 10003"/>
                <a:gd name="connsiteY26" fmla="*/ 307 h 10000"/>
                <a:gd name="connsiteX27" fmla="*/ 52 w 10003"/>
                <a:gd name="connsiteY27" fmla="*/ 280 h 10000"/>
                <a:gd name="connsiteX28" fmla="*/ 52 w 10003"/>
                <a:gd name="connsiteY28" fmla="*/ 280 h 10000"/>
                <a:gd name="connsiteX29" fmla="*/ 675 w 10003"/>
                <a:gd name="connsiteY29" fmla="*/ 432 h 10000"/>
                <a:gd name="connsiteX30" fmla="*/ 0 w 10003"/>
                <a:gd name="connsiteY30" fmla="*/ 603 h 10000"/>
                <a:gd name="connsiteX31" fmla="*/ 0 w 10003"/>
                <a:gd name="connsiteY31" fmla="*/ 603 h 10000"/>
                <a:gd name="connsiteX32" fmla="*/ 855 w 10003"/>
                <a:gd name="connsiteY32" fmla="*/ 586 h 10000"/>
                <a:gd name="connsiteX33" fmla="*/ 1874 w 10003"/>
                <a:gd name="connsiteY33" fmla="*/ 864 h 10000"/>
                <a:gd name="connsiteX34" fmla="*/ 3881 w 10003"/>
                <a:gd name="connsiteY34" fmla="*/ 1233 h 10000"/>
                <a:gd name="connsiteX35" fmla="*/ 4612 w 10003"/>
                <a:gd name="connsiteY35" fmla="*/ 594 h 10000"/>
                <a:gd name="connsiteX36" fmla="*/ 4663 w 10003"/>
                <a:gd name="connsiteY36" fmla="*/ 298 h 10000"/>
                <a:gd name="connsiteX37" fmla="*/ 5079 w 10003"/>
                <a:gd name="connsiteY37" fmla="*/ 253 h 10000"/>
                <a:gd name="connsiteX38" fmla="*/ 6172 w 10003"/>
                <a:gd name="connsiteY38" fmla="*/ 414 h 10000"/>
                <a:gd name="connsiteX39" fmla="*/ 6408 w 10003"/>
                <a:gd name="connsiteY39" fmla="*/ 1421 h 10000"/>
                <a:gd name="connsiteX40" fmla="*/ 6304 w 10003"/>
                <a:gd name="connsiteY40" fmla="*/ 1528 h 10000"/>
                <a:gd name="connsiteX41" fmla="*/ 5963 w 10003"/>
                <a:gd name="connsiteY41" fmla="*/ 1889 h 10000"/>
                <a:gd name="connsiteX42" fmla="*/ 5259 w 10003"/>
                <a:gd name="connsiteY42" fmla="*/ 3109 h 10000"/>
                <a:gd name="connsiteX43" fmla="*/ 5547 w 10003"/>
                <a:gd name="connsiteY43" fmla="*/ 4170 h 10000"/>
                <a:gd name="connsiteX44" fmla="*/ 6097 w 10003"/>
                <a:gd name="connsiteY44" fmla="*/ 5859 h 10000"/>
                <a:gd name="connsiteX45" fmla="*/ 6071 w 10003"/>
                <a:gd name="connsiteY45" fmla="*/ 5930 h 10000"/>
                <a:gd name="connsiteX46" fmla="*/ 6253 w 10003"/>
                <a:gd name="connsiteY46" fmla="*/ 6253 h 10000"/>
                <a:gd name="connsiteX47" fmla="*/ 6016 w 10003"/>
                <a:gd name="connsiteY47" fmla="*/ 8185 h 10000"/>
                <a:gd name="connsiteX48" fmla="*/ 6566 w 10003"/>
                <a:gd name="connsiteY48" fmla="*/ 9946 h 10000"/>
                <a:gd name="connsiteX49" fmla="*/ 6931 w 10003"/>
                <a:gd name="connsiteY49" fmla="*/ 10000 h 10000"/>
                <a:gd name="connsiteX50" fmla="*/ 7218 w 10003"/>
                <a:gd name="connsiteY50" fmla="*/ 9954 h 10000"/>
                <a:gd name="connsiteX51" fmla="*/ 7761 w 10003"/>
                <a:gd name="connsiteY51" fmla="*/ 8293 h 10000"/>
                <a:gd name="connsiteX52" fmla="*/ 7761 w 10003"/>
                <a:gd name="connsiteY52" fmla="*/ 8202 h 10000"/>
                <a:gd name="connsiteX53" fmla="*/ 7844 w 10003"/>
                <a:gd name="connsiteY53" fmla="*/ 6865 h 10000"/>
                <a:gd name="connsiteX54" fmla="*/ 7891 w 10003"/>
                <a:gd name="connsiteY54" fmla="*/ 6308 h 10000"/>
                <a:gd name="connsiteX55" fmla="*/ 8127 w 10003"/>
                <a:gd name="connsiteY55" fmla="*/ 6038 h 10000"/>
                <a:gd name="connsiteX56" fmla="*/ 9143 w 10003"/>
                <a:gd name="connsiteY56" fmla="*/ 4763 h 10000"/>
                <a:gd name="connsiteX57" fmla="*/ 10000 w 10003"/>
                <a:gd name="connsiteY57" fmla="*/ 4474 h 10000"/>
                <a:gd name="connsiteX0" fmla="*/ 9143 w 9445"/>
                <a:gd name="connsiteY0" fmla="*/ 4763 h 10000"/>
                <a:gd name="connsiteX1" fmla="*/ 9429 w 9445"/>
                <a:gd name="connsiteY1" fmla="*/ 4340 h 10000"/>
                <a:gd name="connsiteX2" fmla="*/ 8750 w 9445"/>
                <a:gd name="connsiteY2" fmla="*/ 4556 h 10000"/>
                <a:gd name="connsiteX3" fmla="*/ 7424 w 9445"/>
                <a:gd name="connsiteY3" fmla="*/ 6038 h 10000"/>
                <a:gd name="connsiteX4" fmla="*/ 7557 w 9445"/>
                <a:gd name="connsiteY4" fmla="*/ 6298 h 10000"/>
                <a:gd name="connsiteX5" fmla="*/ 7528 w 9445"/>
                <a:gd name="connsiteY5" fmla="*/ 6865 h 10000"/>
                <a:gd name="connsiteX6" fmla="*/ 7452 w 9445"/>
                <a:gd name="connsiteY6" fmla="*/ 8202 h 10000"/>
                <a:gd name="connsiteX7" fmla="*/ 7452 w 9445"/>
                <a:gd name="connsiteY7" fmla="*/ 8293 h 10000"/>
                <a:gd name="connsiteX8" fmla="*/ 6980 w 9445"/>
                <a:gd name="connsiteY8" fmla="*/ 9873 h 10000"/>
                <a:gd name="connsiteX9" fmla="*/ 6931 w 9445"/>
                <a:gd name="connsiteY9" fmla="*/ 9891 h 10000"/>
                <a:gd name="connsiteX10" fmla="*/ 6771 w 9445"/>
                <a:gd name="connsiteY10" fmla="*/ 9864 h 10000"/>
                <a:gd name="connsiteX11" fmla="*/ 6329 w 9445"/>
                <a:gd name="connsiteY11" fmla="*/ 8185 h 10000"/>
                <a:gd name="connsiteX12" fmla="*/ 6566 w 9445"/>
                <a:gd name="connsiteY12" fmla="*/ 6253 h 10000"/>
                <a:gd name="connsiteX13" fmla="*/ 6771 w 9445"/>
                <a:gd name="connsiteY13" fmla="*/ 5957 h 10000"/>
                <a:gd name="connsiteX14" fmla="*/ 6799 w 9445"/>
                <a:gd name="connsiteY14" fmla="*/ 5885 h 10000"/>
                <a:gd name="connsiteX15" fmla="*/ 6228 w 9445"/>
                <a:gd name="connsiteY15" fmla="*/ 4098 h 10000"/>
                <a:gd name="connsiteX16" fmla="*/ 5963 w 9445"/>
                <a:gd name="connsiteY16" fmla="*/ 3073 h 10000"/>
                <a:gd name="connsiteX17" fmla="*/ 6593 w 9445"/>
                <a:gd name="connsiteY17" fmla="*/ 2004 h 10000"/>
                <a:gd name="connsiteX18" fmla="*/ 6980 w 9445"/>
                <a:gd name="connsiteY18" fmla="*/ 1600 h 10000"/>
                <a:gd name="connsiteX19" fmla="*/ 7059 w 9445"/>
                <a:gd name="connsiteY19" fmla="*/ 1493 h 10000"/>
                <a:gd name="connsiteX20" fmla="*/ 6718 w 9445"/>
                <a:gd name="connsiteY20" fmla="*/ 262 h 10000"/>
                <a:gd name="connsiteX21" fmla="*/ 5027 w 9445"/>
                <a:gd name="connsiteY21" fmla="*/ 1 h 10000"/>
                <a:gd name="connsiteX22" fmla="*/ 4115 w 9445"/>
                <a:gd name="connsiteY22" fmla="*/ 136 h 10000"/>
                <a:gd name="connsiteX23" fmla="*/ 3905 w 9445"/>
                <a:gd name="connsiteY23" fmla="*/ 621 h 10000"/>
                <a:gd name="connsiteX24" fmla="*/ 3644 w 9445"/>
                <a:gd name="connsiteY24" fmla="*/ 999 h 10000"/>
                <a:gd name="connsiteX25" fmla="*/ 2419 w 9445"/>
                <a:gd name="connsiteY25" fmla="*/ 703 h 10000"/>
                <a:gd name="connsiteX26" fmla="*/ 835 w 9445"/>
                <a:gd name="connsiteY26" fmla="*/ 307 h 10000"/>
                <a:gd name="connsiteX27" fmla="*/ 52 w 9445"/>
                <a:gd name="connsiteY27" fmla="*/ 280 h 10000"/>
                <a:gd name="connsiteX28" fmla="*/ 52 w 9445"/>
                <a:gd name="connsiteY28" fmla="*/ 280 h 10000"/>
                <a:gd name="connsiteX29" fmla="*/ 675 w 9445"/>
                <a:gd name="connsiteY29" fmla="*/ 432 h 10000"/>
                <a:gd name="connsiteX30" fmla="*/ 0 w 9445"/>
                <a:gd name="connsiteY30" fmla="*/ 603 h 10000"/>
                <a:gd name="connsiteX31" fmla="*/ 0 w 9445"/>
                <a:gd name="connsiteY31" fmla="*/ 603 h 10000"/>
                <a:gd name="connsiteX32" fmla="*/ 855 w 9445"/>
                <a:gd name="connsiteY32" fmla="*/ 586 h 10000"/>
                <a:gd name="connsiteX33" fmla="*/ 1874 w 9445"/>
                <a:gd name="connsiteY33" fmla="*/ 864 h 10000"/>
                <a:gd name="connsiteX34" fmla="*/ 3881 w 9445"/>
                <a:gd name="connsiteY34" fmla="*/ 1233 h 10000"/>
                <a:gd name="connsiteX35" fmla="*/ 4612 w 9445"/>
                <a:gd name="connsiteY35" fmla="*/ 594 h 10000"/>
                <a:gd name="connsiteX36" fmla="*/ 4663 w 9445"/>
                <a:gd name="connsiteY36" fmla="*/ 298 h 10000"/>
                <a:gd name="connsiteX37" fmla="*/ 5079 w 9445"/>
                <a:gd name="connsiteY37" fmla="*/ 253 h 10000"/>
                <a:gd name="connsiteX38" fmla="*/ 6172 w 9445"/>
                <a:gd name="connsiteY38" fmla="*/ 414 h 10000"/>
                <a:gd name="connsiteX39" fmla="*/ 6408 w 9445"/>
                <a:gd name="connsiteY39" fmla="*/ 1421 h 10000"/>
                <a:gd name="connsiteX40" fmla="*/ 6304 w 9445"/>
                <a:gd name="connsiteY40" fmla="*/ 1528 h 10000"/>
                <a:gd name="connsiteX41" fmla="*/ 5963 w 9445"/>
                <a:gd name="connsiteY41" fmla="*/ 1889 h 10000"/>
                <a:gd name="connsiteX42" fmla="*/ 5259 w 9445"/>
                <a:gd name="connsiteY42" fmla="*/ 3109 h 10000"/>
                <a:gd name="connsiteX43" fmla="*/ 5547 w 9445"/>
                <a:gd name="connsiteY43" fmla="*/ 4170 h 10000"/>
                <a:gd name="connsiteX44" fmla="*/ 6097 w 9445"/>
                <a:gd name="connsiteY44" fmla="*/ 5859 h 10000"/>
                <a:gd name="connsiteX45" fmla="*/ 6071 w 9445"/>
                <a:gd name="connsiteY45" fmla="*/ 5930 h 10000"/>
                <a:gd name="connsiteX46" fmla="*/ 6253 w 9445"/>
                <a:gd name="connsiteY46" fmla="*/ 6253 h 10000"/>
                <a:gd name="connsiteX47" fmla="*/ 6016 w 9445"/>
                <a:gd name="connsiteY47" fmla="*/ 8185 h 10000"/>
                <a:gd name="connsiteX48" fmla="*/ 6566 w 9445"/>
                <a:gd name="connsiteY48" fmla="*/ 9946 h 10000"/>
                <a:gd name="connsiteX49" fmla="*/ 6931 w 9445"/>
                <a:gd name="connsiteY49" fmla="*/ 10000 h 10000"/>
                <a:gd name="connsiteX50" fmla="*/ 7218 w 9445"/>
                <a:gd name="connsiteY50" fmla="*/ 9954 h 10000"/>
                <a:gd name="connsiteX51" fmla="*/ 7761 w 9445"/>
                <a:gd name="connsiteY51" fmla="*/ 8293 h 10000"/>
                <a:gd name="connsiteX52" fmla="*/ 7761 w 9445"/>
                <a:gd name="connsiteY52" fmla="*/ 8202 h 10000"/>
                <a:gd name="connsiteX53" fmla="*/ 7844 w 9445"/>
                <a:gd name="connsiteY53" fmla="*/ 6865 h 10000"/>
                <a:gd name="connsiteX54" fmla="*/ 7891 w 9445"/>
                <a:gd name="connsiteY54" fmla="*/ 6308 h 10000"/>
                <a:gd name="connsiteX55" fmla="*/ 8127 w 9445"/>
                <a:gd name="connsiteY55" fmla="*/ 6038 h 10000"/>
                <a:gd name="connsiteX56" fmla="*/ 9143 w 9445"/>
                <a:gd name="connsiteY56" fmla="*/ 4763 h 10000"/>
                <a:gd name="connsiteX0" fmla="*/ 9680 w 9708"/>
                <a:gd name="connsiteY0" fmla="*/ 4763 h 10000"/>
                <a:gd name="connsiteX1" fmla="*/ 9264 w 9708"/>
                <a:gd name="connsiteY1" fmla="*/ 4556 h 10000"/>
                <a:gd name="connsiteX2" fmla="*/ 7860 w 9708"/>
                <a:gd name="connsiteY2" fmla="*/ 6038 h 10000"/>
                <a:gd name="connsiteX3" fmla="*/ 8001 w 9708"/>
                <a:gd name="connsiteY3" fmla="*/ 6298 h 10000"/>
                <a:gd name="connsiteX4" fmla="*/ 7970 w 9708"/>
                <a:gd name="connsiteY4" fmla="*/ 6865 h 10000"/>
                <a:gd name="connsiteX5" fmla="*/ 7890 w 9708"/>
                <a:gd name="connsiteY5" fmla="*/ 8202 h 10000"/>
                <a:gd name="connsiteX6" fmla="*/ 7890 w 9708"/>
                <a:gd name="connsiteY6" fmla="*/ 8293 h 10000"/>
                <a:gd name="connsiteX7" fmla="*/ 7390 w 9708"/>
                <a:gd name="connsiteY7" fmla="*/ 9873 h 10000"/>
                <a:gd name="connsiteX8" fmla="*/ 7338 w 9708"/>
                <a:gd name="connsiteY8" fmla="*/ 9891 h 10000"/>
                <a:gd name="connsiteX9" fmla="*/ 7169 w 9708"/>
                <a:gd name="connsiteY9" fmla="*/ 9864 h 10000"/>
                <a:gd name="connsiteX10" fmla="*/ 6701 w 9708"/>
                <a:gd name="connsiteY10" fmla="*/ 8185 h 10000"/>
                <a:gd name="connsiteX11" fmla="*/ 6952 w 9708"/>
                <a:gd name="connsiteY11" fmla="*/ 6253 h 10000"/>
                <a:gd name="connsiteX12" fmla="*/ 7169 w 9708"/>
                <a:gd name="connsiteY12" fmla="*/ 5957 h 10000"/>
                <a:gd name="connsiteX13" fmla="*/ 7199 w 9708"/>
                <a:gd name="connsiteY13" fmla="*/ 5885 h 10000"/>
                <a:gd name="connsiteX14" fmla="*/ 6594 w 9708"/>
                <a:gd name="connsiteY14" fmla="*/ 4098 h 10000"/>
                <a:gd name="connsiteX15" fmla="*/ 6313 w 9708"/>
                <a:gd name="connsiteY15" fmla="*/ 3073 h 10000"/>
                <a:gd name="connsiteX16" fmla="*/ 6980 w 9708"/>
                <a:gd name="connsiteY16" fmla="*/ 2004 h 10000"/>
                <a:gd name="connsiteX17" fmla="*/ 7390 w 9708"/>
                <a:gd name="connsiteY17" fmla="*/ 1600 h 10000"/>
                <a:gd name="connsiteX18" fmla="*/ 7474 w 9708"/>
                <a:gd name="connsiteY18" fmla="*/ 1493 h 10000"/>
                <a:gd name="connsiteX19" fmla="*/ 7113 w 9708"/>
                <a:gd name="connsiteY19" fmla="*/ 262 h 10000"/>
                <a:gd name="connsiteX20" fmla="*/ 5322 w 9708"/>
                <a:gd name="connsiteY20" fmla="*/ 1 h 10000"/>
                <a:gd name="connsiteX21" fmla="*/ 4357 w 9708"/>
                <a:gd name="connsiteY21" fmla="*/ 136 h 10000"/>
                <a:gd name="connsiteX22" fmla="*/ 4134 w 9708"/>
                <a:gd name="connsiteY22" fmla="*/ 621 h 10000"/>
                <a:gd name="connsiteX23" fmla="*/ 3858 w 9708"/>
                <a:gd name="connsiteY23" fmla="*/ 999 h 10000"/>
                <a:gd name="connsiteX24" fmla="*/ 2561 w 9708"/>
                <a:gd name="connsiteY24" fmla="*/ 703 h 10000"/>
                <a:gd name="connsiteX25" fmla="*/ 884 w 9708"/>
                <a:gd name="connsiteY25" fmla="*/ 307 h 10000"/>
                <a:gd name="connsiteX26" fmla="*/ 55 w 9708"/>
                <a:gd name="connsiteY26" fmla="*/ 280 h 10000"/>
                <a:gd name="connsiteX27" fmla="*/ 55 w 9708"/>
                <a:gd name="connsiteY27" fmla="*/ 280 h 10000"/>
                <a:gd name="connsiteX28" fmla="*/ 715 w 9708"/>
                <a:gd name="connsiteY28" fmla="*/ 432 h 10000"/>
                <a:gd name="connsiteX29" fmla="*/ 0 w 9708"/>
                <a:gd name="connsiteY29" fmla="*/ 603 h 10000"/>
                <a:gd name="connsiteX30" fmla="*/ 0 w 9708"/>
                <a:gd name="connsiteY30" fmla="*/ 603 h 10000"/>
                <a:gd name="connsiteX31" fmla="*/ 905 w 9708"/>
                <a:gd name="connsiteY31" fmla="*/ 586 h 10000"/>
                <a:gd name="connsiteX32" fmla="*/ 1984 w 9708"/>
                <a:gd name="connsiteY32" fmla="*/ 864 h 10000"/>
                <a:gd name="connsiteX33" fmla="*/ 4109 w 9708"/>
                <a:gd name="connsiteY33" fmla="*/ 1233 h 10000"/>
                <a:gd name="connsiteX34" fmla="*/ 4883 w 9708"/>
                <a:gd name="connsiteY34" fmla="*/ 594 h 10000"/>
                <a:gd name="connsiteX35" fmla="*/ 4937 w 9708"/>
                <a:gd name="connsiteY35" fmla="*/ 298 h 10000"/>
                <a:gd name="connsiteX36" fmla="*/ 5377 w 9708"/>
                <a:gd name="connsiteY36" fmla="*/ 253 h 10000"/>
                <a:gd name="connsiteX37" fmla="*/ 6535 w 9708"/>
                <a:gd name="connsiteY37" fmla="*/ 414 h 10000"/>
                <a:gd name="connsiteX38" fmla="*/ 6785 w 9708"/>
                <a:gd name="connsiteY38" fmla="*/ 1421 h 10000"/>
                <a:gd name="connsiteX39" fmla="*/ 6674 w 9708"/>
                <a:gd name="connsiteY39" fmla="*/ 1528 h 10000"/>
                <a:gd name="connsiteX40" fmla="*/ 6313 w 9708"/>
                <a:gd name="connsiteY40" fmla="*/ 1889 h 10000"/>
                <a:gd name="connsiteX41" fmla="*/ 5568 w 9708"/>
                <a:gd name="connsiteY41" fmla="*/ 3109 h 10000"/>
                <a:gd name="connsiteX42" fmla="*/ 5873 w 9708"/>
                <a:gd name="connsiteY42" fmla="*/ 4170 h 10000"/>
                <a:gd name="connsiteX43" fmla="*/ 6455 w 9708"/>
                <a:gd name="connsiteY43" fmla="*/ 5859 h 10000"/>
                <a:gd name="connsiteX44" fmla="*/ 6428 w 9708"/>
                <a:gd name="connsiteY44" fmla="*/ 5930 h 10000"/>
                <a:gd name="connsiteX45" fmla="*/ 6620 w 9708"/>
                <a:gd name="connsiteY45" fmla="*/ 6253 h 10000"/>
                <a:gd name="connsiteX46" fmla="*/ 6370 w 9708"/>
                <a:gd name="connsiteY46" fmla="*/ 8185 h 10000"/>
                <a:gd name="connsiteX47" fmla="*/ 6952 w 9708"/>
                <a:gd name="connsiteY47" fmla="*/ 9946 h 10000"/>
                <a:gd name="connsiteX48" fmla="*/ 7338 w 9708"/>
                <a:gd name="connsiteY48" fmla="*/ 10000 h 10000"/>
                <a:gd name="connsiteX49" fmla="*/ 7642 w 9708"/>
                <a:gd name="connsiteY49" fmla="*/ 9954 h 10000"/>
                <a:gd name="connsiteX50" fmla="*/ 8217 w 9708"/>
                <a:gd name="connsiteY50" fmla="*/ 8293 h 10000"/>
                <a:gd name="connsiteX51" fmla="*/ 8217 w 9708"/>
                <a:gd name="connsiteY51" fmla="*/ 8202 h 10000"/>
                <a:gd name="connsiteX52" fmla="*/ 8305 w 9708"/>
                <a:gd name="connsiteY52" fmla="*/ 6865 h 10000"/>
                <a:gd name="connsiteX53" fmla="*/ 8355 w 9708"/>
                <a:gd name="connsiteY53" fmla="*/ 6308 h 10000"/>
                <a:gd name="connsiteX54" fmla="*/ 8605 w 9708"/>
                <a:gd name="connsiteY54" fmla="*/ 6038 h 10000"/>
                <a:gd name="connsiteX55" fmla="*/ 9680 w 9708"/>
                <a:gd name="connsiteY55" fmla="*/ 4763 h 10000"/>
                <a:gd name="connsiteX0" fmla="*/ 8864 w 9559"/>
                <a:gd name="connsiteY0" fmla="*/ 6038 h 10000"/>
                <a:gd name="connsiteX1" fmla="*/ 9543 w 9559"/>
                <a:gd name="connsiteY1" fmla="*/ 4556 h 10000"/>
                <a:gd name="connsiteX2" fmla="*/ 8096 w 9559"/>
                <a:gd name="connsiteY2" fmla="*/ 6038 h 10000"/>
                <a:gd name="connsiteX3" fmla="*/ 8242 w 9559"/>
                <a:gd name="connsiteY3" fmla="*/ 6298 h 10000"/>
                <a:gd name="connsiteX4" fmla="*/ 8210 w 9559"/>
                <a:gd name="connsiteY4" fmla="*/ 6865 h 10000"/>
                <a:gd name="connsiteX5" fmla="*/ 8127 w 9559"/>
                <a:gd name="connsiteY5" fmla="*/ 8202 h 10000"/>
                <a:gd name="connsiteX6" fmla="*/ 8127 w 9559"/>
                <a:gd name="connsiteY6" fmla="*/ 8293 h 10000"/>
                <a:gd name="connsiteX7" fmla="*/ 7612 w 9559"/>
                <a:gd name="connsiteY7" fmla="*/ 9873 h 10000"/>
                <a:gd name="connsiteX8" fmla="*/ 7559 w 9559"/>
                <a:gd name="connsiteY8" fmla="*/ 9891 h 10000"/>
                <a:gd name="connsiteX9" fmla="*/ 7385 w 9559"/>
                <a:gd name="connsiteY9" fmla="*/ 9864 h 10000"/>
                <a:gd name="connsiteX10" fmla="*/ 6903 w 9559"/>
                <a:gd name="connsiteY10" fmla="*/ 8185 h 10000"/>
                <a:gd name="connsiteX11" fmla="*/ 7161 w 9559"/>
                <a:gd name="connsiteY11" fmla="*/ 6253 h 10000"/>
                <a:gd name="connsiteX12" fmla="*/ 7385 w 9559"/>
                <a:gd name="connsiteY12" fmla="*/ 5957 h 10000"/>
                <a:gd name="connsiteX13" fmla="*/ 7416 w 9559"/>
                <a:gd name="connsiteY13" fmla="*/ 5885 h 10000"/>
                <a:gd name="connsiteX14" fmla="*/ 6792 w 9559"/>
                <a:gd name="connsiteY14" fmla="*/ 4098 h 10000"/>
                <a:gd name="connsiteX15" fmla="*/ 6503 w 9559"/>
                <a:gd name="connsiteY15" fmla="*/ 3073 h 10000"/>
                <a:gd name="connsiteX16" fmla="*/ 7190 w 9559"/>
                <a:gd name="connsiteY16" fmla="*/ 2004 h 10000"/>
                <a:gd name="connsiteX17" fmla="*/ 7612 w 9559"/>
                <a:gd name="connsiteY17" fmla="*/ 1600 h 10000"/>
                <a:gd name="connsiteX18" fmla="*/ 7699 w 9559"/>
                <a:gd name="connsiteY18" fmla="*/ 1493 h 10000"/>
                <a:gd name="connsiteX19" fmla="*/ 7327 w 9559"/>
                <a:gd name="connsiteY19" fmla="*/ 262 h 10000"/>
                <a:gd name="connsiteX20" fmla="*/ 5482 w 9559"/>
                <a:gd name="connsiteY20" fmla="*/ 1 h 10000"/>
                <a:gd name="connsiteX21" fmla="*/ 4488 w 9559"/>
                <a:gd name="connsiteY21" fmla="*/ 136 h 10000"/>
                <a:gd name="connsiteX22" fmla="*/ 4258 w 9559"/>
                <a:gd name="connsiteY22" fmla="*/ 621 h 10000"/>
                <a:gd name="connsiteX23" fmla="*/ 3974 w 9559"/>
                <a:gd name="connsiteY23" fmla="*/ 999 h 10000"/>
                <a:gd name="connsiteX24" fmla="*/ 2638 w 9559"/>
                <a:gd name="connsiteY24" fmla="*/ 703 h 10000"/>
                <a:gd name="connsiteX25" fmla="*/ 911 w 9559"/>
                <a:gd name="connsiteY25" fmla="*/ 307 h 10000"/>
                <a:gd name="connsiteX26" fmla="*/ 57 w 9559"/>
                <a:gd name="connsiteY26" fmla="*/ 280 h 10000"/>
                <a:gd name="connsiteX27" fmla="*/ 57 w 9559"/>
                <a:gd name="connsiteY27" fmla="*/ 280 h 10000"/>
                <a:gd name="connsiteX28" fmla="*/ 737 w 9559"/>
                <a:gd name="connsiteY28" fmla="*/ 432 h 10000"/>
                <a:gd name="connsiteX29" fmla="*/ 0 w 9559"/>
                <a:gd name="connsiteY29" fmla="*/ 603 h 10000"/>
                <a:gd name="connsiteX30" fmla="*/ 0 w 9559"/>
                <a:gd name="connsiteY30" fmla="*/ 603 h 10000"/>
                <a:gd name="connsiteX31" fmla="*/ 932 w 9559"/>
                <a:gd name="connsiteY31" fmla="*/ 586 h 10000"/>
                <a:gd name="connsiteX32" fmla="*/ 2044 w 9559"/>
                <a:gd name="connsiteY32" fmla="*/ 864 h 10000"/>
                <a:gd name="connsiteX33" fmla="*/ 4233 w 9559"/>
                <a:gd name="connsiteY33" fmla="*/ 1233 h 10000"/>
                <a:gd name="connsiteX34" fmla="*/ 5030 w 9559"/>
                <a:gd name="connsiteY34" fmla="*/ 594 h 10000"/>
                <a:gd name="connsiteX35" fmla="*/ 5085 w 9559"/>
                <a:gd name="connsiteY35" fmla="*/ 298 h 10000"/>
                <a:gd name="connsiteX36" fmla="*/ 5539 w 9559"/>
                <a:gd name="connsiteY36" fmla="*/ 253 h 10000"/>
                <a:gd name="connsiteX37" fmla="*/ 6732 w 9559"/>
                <a:gd name="connsiteY37" fmla="*/ 414 h 10000"/>
                <a:gd name="connsiteX38" fmla="*/ 6989 w 9559"/>
                <a:gd name="connsiteY38" fmla="*/ 1421 h 10000"/>
                <a:gd name="connsiteX39" fmla="*/ 6875 w 9559"/>
                <a:gd name="connsiteY39" fmla="*/ 1528 h 10000"/>
                <a:gd name="connsiteX40" fmla="*/ 6503 w 9559"/>
                <a:gd name="connsiteY40" fmla="*/ 1889 h 10000"/>
                <a:gd name="connsiteX41" fmla="*/ 5735 w 9559"/>
                <a:gd name="connsiteY41" fmla="*/ 3109 h 10000"/>
                <a:gd name="connsiteX42" fmla="*/ 6050 w 9559"/>
                <a:gd name="connsiteY42" fmla="*/ 4170 h 10000"/>
                <a:gd name="connsiteX43" fmla="*/ 6649 w 9559"/>
                <a:gd name="connsiteY43" fmla="*/ 5859 h 10000"/>
                <a:gd name="connsiteX44" fmla="*/ 6621 w 9559"/>
                <a:gd name="connsiteY44" fmla="*/ 5930 h 10000"/>
                <a:gd name="connsiteX45" fmla="*/ 6819 w 9559"/>
                <a:gd name="connsiteY45" fmla="*/ 6253 h 10000"/>
                <a:gd name="connsiteX46" fmla="*/ 6562 w 9559"/>
                <a:gd name="connsiteY46" fmla="*/ 8185 h 10000"/>
                <a:gd name="connsiteX47" fmla="*/ 7161 w 9559"/>
                <a:gd name="connsiteY47" fmla="*/ 9946 h 10000"/>
                <a:gd name="connsiteX48" fmla="*/ 7559 w 9559"/>
                <a:gd name="connsiteY48" fmla="*/ 10000 h 10000"/>
                <a:gd name="connsiteX49" fmla="*/ 7872 w 9559"/>
                <a:gd name="connsiteY49" fmla="*/ 9954 h 10000"/>
                <a:gd name="connsiteX50" fmla="*/ 8464 w 9559"/>
                <a:gd name="connsiteY50" fmla="*/ 8293 h 10000"/>
                <a:gd name="connsiteX51" fmla="*/ 8464 w 9559"/>
                <a:gd name="connsiteY51" fmla="*/ 8202 h 10000"/>
                <a:gd name="connsiteX52" fmla="*/ 8555 w 9559"/>
                <a:gd name="connsiteY52" fmla="*/ 6865 h 10000"/>
                <a:gd name="connsiteX53" fmla="*/ 8606 w 9559"/>
                <a:gd name="connsiteY53" fmla="*/ 6308 h 10000"/>
                <a:gd name="connsiteX54" fmla="*/ 8864 w 9559"/>
                <a:gd name="connsiteY54" fmla="*/ 6038 h 10000"/>
                <a:gd name="connsiteX0" fmla="*/ 9273 w 9274"/>
                <a:gd name="connsiteY0" fmla="*/ 6038 h 10000"/>
                <a:gd name="connsiteX1" fmla="*/ 8470 w 9274"/>
                <a:gd name="connsiteY1" fmla="*/ 6038 h 10000"/>
                <a:gd name="connsiteX2" fmla="*/ 8622 w 9274"/>
                <a:gd name="connsiteY2" fmla="*/ 6298 h 10000"/>
                <a:gd name="connsiteX3" fmla="*/ 8589 w 9274"/>
                <a:gd name="connsiteY3" fmla="*/ 6865 h 10000"/>
                <a:gd name="connsiteX4" fmla="*/ 8502 w 9274"/>
                <a:gd name="connsiteY4" fmla="*/ 8202 h 10000"/>
                <a:gd name="connsiteX5" fmla="*/ 8502 w 9274"/>
                <a:gd name="connsiteY5" fmla="*/ 8293 h 10000"/>
                <a:gd name="connsiteX6" fmla="*/ 7963 w 9274"/>
                <a:gd name="connsiteY6" fmla="*/ 9873 h 10000"/>
                <a:gd name="connsiteX7" fmla="*/ 7908 w 9274"/>
                <a:gd name="connsiteY7" fmla="*/ 9891 h 10000"/>
                <a:gd name="connsiteX8" fmla="*/ 7726 w 9274"/>
                <a:gd name="connsiteY8" fmla="*/ 9864 h 10000"/>
                <a:gd name="connsiteX9" fmla="*/ 7221 w 9274"/>
                <a:gd name="connsiteY9" fmla="*/ 8185 h 10000"/>
                <a:gd name="connsiteX10" fmla="*/ 7491 w 9274"/>
                <a:gd name="connsiteY10" fmla="*/ 6253 h 10000"/>
                <a:gd name="connsiteX11" fmla="*/ 7726 w 9274"/>
                <a:gd name="connsiteY11" fmla="*/ 5957 h 10000"/>
                <a:gd name="connsiteX12" fmla="*/ 7758 w 9274"/>
                <a:gd name="connsiteY12" fmla="*/ 5885 h 10000"/>
                <a:gd name="connsiteX13" fmla="*/ 7105 w 9274"/>
                <a:gd name="connsiteY13" fmla="*/ 4098 h 10000"/>
                <a:gd name="connsiteX14" fmla="*/ 6803 w 9274"/>
                <a:gd name="connsiteY14" fmla="*/ 3073 h 10000"/>
                <a:gd name="connsiteX15" fmla="*/ 7522 w 9274"/>
                <a:gd name="connsiteY15" fmla="*/ 2004 h 10000"/>
                <a:gd name="connsiteX16" fmla="*/ 7963 w 9274"/>
                <a:gd name="connsiteY16" fmla="*/ 1600 h 10000"/>
                <a:gd name="connsiteX17" fmla="*/ 8054 w 9274"/>
                <a:gd name="connsiteY17" fmla="*/ 1493 h 10000"/>
                <a:gd name="connsiteX18" fmla="*/ 7665 w 9274"/>
                <a:gd name="connsiteY18" fmla="*/ 262 h 10000"/>
                <a:gd name="connsiteX19" fmla="*/ 5735 w 9274"/>
                <a:gd name="connsiteY19" fmla="*/ 1 h 10000"/>
                <a:gd name="connsiteX20" fmla="*/ 4695 w 9274"/>
                <a:gd name="connsiteY20" fmla="*/ 136 h 10000"/>
                <a:gd name="connsiteX21" fmla="*/ 4454 w 9274"/>
                <a:gd name="connsiteY21" fmla="*/ 621 h 10000"/>
                <a:gd name="connsiteX22" fmla="*/ 4157 w 9274"/>
                <a:gd name="connsiteY22" fmla="*/ 999 h 10000"/>
                <a:gd name="connsiteX23" fmla="*/ 2760 w 9274"/>
                <a:gd name="connsiteY23" fmla="*/ 703 h 10000"/>
                <a:gd name="connsiteX24" fmla="*/ 953 w 9274"/>
                <a:gd name="connsiteY24" fmla="*/ 307 h 10000"/>
                <a:gd name="connsiteX25" fmla="*/ 60 w 9274"/>
                <a:gd name="connsiteY25" fmla="*/ 280 h 10000"/>
                <a:gd name="connsiteX26" fmla="*/ 60 w 9274"/>
                <a:gd name="connsiteY26" fmla="*/ 280 h 10000"/>
                <a:gd name="connsiteX27" fmla="*/ 771 w 9274"/>
                <a:gd name="connsiteY27" fmla="*/ 432 h 10000"/>
                <a:gd name="connsiteX28" fmla="*/ 0 w 9274"/>
                <a:gd name="connsiteY28" fmla="*/ 603 h 10000"/>
                <a:gd name="connsiteX29" fmla="*/ 0 w 9274"/>
                <a:gd name="connsiteY29" fmla="*/ 603 h 10000"/>
                <a:gd name="connsiteX30" fmla="*/ 975 w 9274"/>
                <a:gd name="connsiteY30" fmla="*/ 586 h 10000"/>
                <a:gd name="connsiteX31" fmla="*/ 2138 w 9274"/>
                <a:gd name="connsiteY31" fmla="*/ 864 h 10000"/>
                <a:gd name="connsiteX32" fmla="*/ 4428 w 9274"/>
                <a:gd name="connsiteY32" fmla="*/ 1233 h 10000"/>
                <a:gd name="connsiteX33" fmla="*/ 5262 w 9274"/>
                <a:gd name="connsiteY33" fmla="*/ 594 h 10000"/>
                <a:gd name="connsiteX34" fmla="*/ 5320 w 9274"/>
                <a:gd name="connsiteY34" fmla="*/ 298 h 10000"/>
                <a:gd name="connsiteX35" fmla="*/ 5795 w 9274"/>
                <a:gd name="connsiteY35" fmla="*/ 253 h 10000"/>
                <a:gd name="connsiteX36" fmla="*/ 7043 w 9274"/>
                <a:gd name="connsiteY36" fmla="*/ 414 h 10000"/>
                <a:gd name="connsiteX37" fmla="*/ 7311 w 9274"/>
                <a:gd name="connsiteY37" fmla="*/ 1421 h 10000"/>
                <a:gd name="connsiteX38" fmla="*/ 7192 w 9274"/>
                <a:gd name="connsiteY38" fmla="*/ 1528 h 10000"/>
                <a:gd name="connsiteX39" fmla="*/ 6803 w 9274"/>
                <a:gd name="connsiteY39" fmla="*/ 1889 h 10000"/>
                <a:gd name="connsiteX40" fmla="*/ 6000 w 9274"/>
                <a:gd name="connsiteY40" fmla="*/ 3109 h 10000"/>
                <a:gd name="connsiteX41" fmla="*/ 6329 w 9274"/>
                <a:gd name="connsiteY41" fmla="*/ 4170 h 10000"/>
                <a:gd name="connsiteX42" fmla="*/ 6956 w 9274"/>
                <a:gd name="connsiteY42" fmla="*/ 5859 h 10000"/>
                <a:gd name="connsiteX43" fmla="*/ 6926 w 9274"/>
                <a:gd name="connsiteY43" fmla="*/ 5930 h 10000"/>
                <a:gd name="connsiteX44" fmla="*/ 7134 w 9274"/>
                <a:gd name="connsiteY44" fmla="*/ 6253 h 10000"/>
                <a:gd name="connsiteX45" fmla="*/ 6865 w 9274"/>
                <a:gd name="connsiteY45" fmla="*/ 8185 h 10000"/>
                <a:gd name="connsiteX46" fmla="*/ 7491 w 9274"/>
                <a:gd name="connsiteY46" fmla="*/ 9946 h 10000"/>
                <a:gd name="connsiteX47" fmla="*/ 7908 w 9274"/>
                <a:gd name="connsiteY47" fmla="*/ 10000 h 10000"/>
                <a:gd name="connsiteX48" fmla="*/ 8235 w 9274"/>
                <a:gd name="connsiteY48" fmla="*/ 9954 h 10000"/>
                <a:gd name="connsiteX49" fmla="*/ 8854 w 9274"/>
                <a:gd name="connsiteY49" fmla="*/ 8293 h 10000"/>
                <a:gd name="connsiteX50" fmla="*/ 8854 w 9274"/>
                <a:gd name="connsiteY50" fmla="*/ 8202 h 10000"/>
                <a:gd name="connsiteX51" fmla="*/ 8950 w 9274"/>
                <a:gd name="connsiteY51" fmla="*/ 6865 h 10000"/>
                <a:gd name="connsiteX52" fmla="*/ 9003 w 9274"/>
                <a:gd name="connsiteY52" fmla="*/ 6308 h 10000"/>
                <a:gd name="connsiteX53" fmla="*/ 9273 w 9274"/>
                <a:gd name="connsiteY53" fmla="*/ 6038 h 10000"/>
                <a:gd name="connsiteX0" fmla="*/ 9708 w 9738"/>
                <a:gd name="connsiteY0" fmla="*/ 6308 h 10000"/>
                <a:gd name="connsiteX1" fmla="*/ 9133 w 9738"/>
                <a:gd name="connsiteY1" fmla="*/ 6038 h 10000"/>
                <a:gd name="connsiteX2" fmla="*/ 9297 w 9738"/>
                <a:gd name="connsiteY2" fmla="*/ 6298 h 10000"/>
                <a:gd name="connsiteX3" fmla="*/ 9261 w 9738"/>
                <a:gd name="connsiteY3" fmla="*/ 6865 h 10000"/>
                <a:gd name="connsiteX4" fmla="*/ 9168 w 9738"/>
                <a:gd name="connsiteY4" fmla="*/ 8202 h 10000"/>
                <a:gd name="connsiteX5" fmla="*/ 9168 w 9738"/>
                <a:gd name="connsiteY5" fmla="*/ 8293 h 10000"/>
                <a:gd name="connsiteX6" fmla="*/ 8586 w 9738"/>
                <a:gd name="connsiteY6" fmla="*/ 9873 h 10000"/>
                <a:gd name="connsiteX7" fmla="*/ 8527 w 9738"/>
                <a:gd name="connsiteY7" fmla="*/ 9891 h 10000"/>
                <a:gd name="connsiteX8" fmla="*/ 8331 w 9738"/>
                <a:gd name="connsiteY8" fmla="*/ 9864 h 10000"/>
                <a:gd name="connsiteX9" fmla="*/ 7786 w 9738"/>
                <a:gd name="connsiteY9" fmla="*/ 8185 h 10000"/>
                <a:gd name="connsiteX10" fmla="*/ 8077 w 9738"/>
                <a:gd name="connsiteY10" fmla="*/ 6253 h 10000"/>
                <a:gd name="connsiteX11" fmla="*/ 8331 w 9738"/>
                <a:gd name="connsiteY11" fmla="*/ 5957 h 10000"/>
                <a:gd name="connsiteX12" fmla="*/ 8365 w 9738"/>
                <a:gd name="connsiteY12" fmla="*/ 5885 h 10000"/>
                <a:gd name="connsiteX13" fmla="*/ 7661 w 9738"/>
                <a:gd name="connsiteY13" fmla="*/ 4098 h 10000"/>
                <a:gd name="connsiteX14" fmla="*/ 7336 w 9738"/>
                <a:gd name="connsiteY14" fmla="*/ 3073 h 10000"/>
                <a:gd name="connsiteX15" fmla="*/ 8111 w 9738"/>
                <a:gd name="connsiteY15" fmla="*/ 2004 h 10000"/>
                <a:gd name="connsiteX16" fmla="*/ 8586 w 9738"/>
                <a:gd name="connsiteY16" fmla="*/ 1600 h 10000"/>
                <a:gd name="connsiteX17" fmla="*/ 8684 w 9738"/>
                <a:gd name="connsiteY17" fmla="*/ 1493 h 10000"/>
                <a:gd name="connsiteX18" fmla="*/ 8265 w 9738"/>
                <a:gd name="connsiteY18" fmla="*/ 262 h 10000"/>
                <a:gd name="connsiteX19" fmla="*/ 6184 w 9738"/>
                <a:gd name="connsiteY19" fmla="*/ 1 h 10000"/>
                <a:gd name="connsiteX20" fmla="*/ 5063 w 9738"/>
                <a:gd name="connsiteY20" fmla="*/ 136 h 10000"/>
                <a:gd name="connsiteX21" fmla="*/ 4803 w 9738"/>
                <a:gd name="connsiteY21" fmla="*/ 621 h 10000"/>
                <a:gd name="connsiteX22" fmla="*/ 4482 w 9738"/>
                <a:gd name="connsiteY22" fmla="*/ 999 h 10000"/>
                <a:gd name="connsiteX23" fmla="*/ 2976 w 9738"/>
                <a:gd name="connsiteY23" fmla="*/ 703 h 10000"/>
                <a:gd name="connsiteX24" fmla="*/ 1028 w 9738"/>
                <a:gd name="connsiteY24" fmla="*/ 307 h 10000"/>
                <a:gd name="connsiteX25" fmla="*/ 65 w 9738"/>
                <a:gd name="connsiteY25" fmla="*/ 280 h 10000"/>
                <a:gd name="connsiteX26" fmla="*/ 65 w 9738"/>
                <a:gd name="connsiteY26" fmla="*/ 280 h 10000"/>
                <a:gd name="connsiteX27" fmla="*/ 831 w 9738"/>
                <a:gd name="connsiteY27" fmla="*/ 432 h 10000"/>
                <a:gd name="connsiteX28" fmla="*/ 0 w 9738"/>
                <a:gd name="connsiteY28" fmla="*/ 603 h 10000"/>
                <a:gd name="connsiteX29" fmla="*/ 0 w 9738"/>
                <a:gd name="connsiteY29" fmla="*/ 603 h 10000"/>
                <a:gd name="connsiteX30" fmla="*/ 1051 w 9738"/>
                <a:gd name="connsiteY30" fmla="*/ 586 h 10000"/>
                <a:gd name="connsiteX31" fmla="*/ 2305 w 9738"/>
                <a:gd name="connsiteY31" fmla="*/ 864 h 10000"/>
                <a:gd name="connsiteX32" fmla="*/ 4775 w 9738"/>
                <a:gd name="connsiteY32" fmla="*/ 1233 h 10000"/>
                <a:gd name="connsiteX33" fmla="*/ 5674 w 9738"/>
                <a:gd name="connsiteY33" fmla="*/ 594 h 10000"/>
                <a:gd name="connsiteX34" fmla="*/ 5736 w 9738"/>
                <a:gd name="connsiteY34" fmla="*/ 298 h 10000"/>
                <a:gd name="connsiteX35" fmla="*/ 6249 w 9738"/>
                <a:gd name="connsiteY35" fmla="*/ 253 h 10000"/>
                <a:gd name="connsiteX36" fmla="*/ 7594 w 9738"/>
                <a:gd name="connsiteY36" fmla="*/ 414 h 10000"/>
                <a:gd name="connsiteX37" fmla="*/ 7883 w 9738"/>
                <a:gd name="connsiteY37" fmla="*/ 1421 h 10000"/>
                <a:gd name="connsiteX38" fmla="*/ 7755 w 9738"/>
                <a:gd name="connsiteY38" fmla="*/ 1528 h 10000"/>
                <a:gd name="connsiteX39" fmla="*/ 7336 w 9738"/>
                <a:gd name="connsiteY39" fmla="*/ 1889 h 10000"/>
                <a:gd name="connsiteX40" fmla="*/ 6470 w 9738"/>
                <a:gd name="connsiteY40" fmla="*/ 3109 h 10000"/>
                <a:gd name="connsiteX41" fmla="*/ 6824 w 9738"/>
                <a:gd name="connsiteY41" fmla="*/ 4170 h 10000"/>
                <a:gd name="connsiteX42" fmla="*/ 7501 w 9738"/>
                <a:gd name="connsiteY42" fmla="*/ 5859 h 10000"/>
                <a:gd name="connsiteX43" fmla="*/ 7468 w 9738"/>
                <a:gd name="connsiteY43" fmla="*/ 5930 h 10000"/>
                <a:gd name="connsiteX44" fmla="*/ 7692 w 9738"/>
                <a:gd name="connsiteY44" fmla="*/ 6253 h 10000"/>
                <a:gd name="connsiteX45" fmla="*/ 7402 w 9738"/>
                <a:gd name="connsiteY45" fmla="*/ 8185 h 10000"/>
                <a:gd name="connsiteX46" fmla="*/ 8077 w 9738"/>
                <a:gd name="connsiteY46" fmla="*/ 9946 h 10000"/>
                <a:gd name="connsiteX47" fmla="*/ 8527 w 9738"/>
                <a:gd name="connsiteY47" fmla="*/ 10000 h 10000"/>
                <a:gd name="connsiteX48" fmla="*/ 8880 w 9738"/>
                <a:gd name="connsiteY48" fmla="*/ 9954 h 10000"/>
                <a:gd name="connsiteX49" fmla="*/ 9547 w 9738"/>
                <a:gd name="connsiteY49" fmla="*/ 8293 h 10000"/>
                <a:gd name="connsiteX50" fmla="*/ 9547 w 9738"/>
                <a:gd name="connsiteY50" fmla="*/ 8202 h 10000"/>
                <a:gd name="connsiteX51" fmla="*/ 9651 w 9738"/>
                <a:gd name="connsiteY51" fmla="*/ 6865 h 10000"/>
                <a:gd name="connsiteX52" fmla="*/ 9708 w 9738"/>
                <a:gd name="connsiteY52" fmla="*/ 6308 h 10000"/>
                <a:gd name="connsiteX0" fmla="*/ 9969 w 10000"/>
                <a:gd name="connsiteY0" fmla="*/ 6308 h 10000"/>
                <a:gd name="connsiteX1" fmla="*/ 9547 w 10000"/>
                <a:gd name="connsiteY1" fmla="*/ 6298 h 10000"/>
                <a:gd name="connsiteX2" fmla="*/ 9510 w 10000"/>
                <a:gd name="connsiteY2" fmla="*/ 6865 h 10000"/>
                <a:gd name="connsiteX3" fmla="*/ 9415 w 10000"/>
                <a:gd name="connsiteY3" fmla="*/ 8202 h 10000"/>
                <a:gd name="connsiteX4" fmla="*/ 9415 w 10000"/>
                <a:gd name="connsiteY4" fmla="*/ 8293 h 10000"/>
                <a:gd name="connsiteX5" fmla="*/ 8817 w 10000"/>
                <a:gd name="connsiteY5" fmla="*/ 9873 h 10000"/>
                <a:gd name="connsiteX6" fmla="*/ 8756 w 10000"/>
                <a:gd name="connsiteY6" fmla="*/ 9891 h 10000"/>
                <a:gd name="connsiteX7" fmla="*/ 8555 w 10000"/>
                <a:gd name="connsiteY7" fmla="*/ 9864 h 10000"/>
                <a:gd name="connsiteX8" fmla="*/ 7995 w 10000"/>
                <a:gd name="connsiteY8" fmla="*/ 8185 h 10000"/>
                <a:gd name="connsiteX9" fmla="*/ 8294 w 10000"/>
                <a:gd name="connsiteY9" fmla="*/ 6253 h 10000"/>
                <a:gd name="connsiteX10" fmla="*/ 8555 w 10000"/>
                <a:gd name="connsiteY10" fmla="*/ 5957 h 10000"/>
                <a:gd name="connsiteX11" fmla="*/ 8590 w 10000"/>
                <a:gd name="connsiteY11" fmla="*/ 5885 h 10000"/>
                <a:gd name="connsiteX12" fmla="*/ 7867 w 10000"/>
                <a:gd name="connsiteY12" fmla="*/ 4098 h 10000"/>
                <a:gd name="connsiteX13" fmla="*/ 7533 w 10000"/>
                <a:gd name="connsiteY13" fmla="*/ 3073 h 10000"/>
                <a:gd name="connsiteX14" fmla="*/ 8329 w 10000"/>
                <a:gd name="connsiteY14" fmla="*/ 2004 h 10000"/>
                <a:gd name="connsiteX15" fmla="*/ 8817 w 10000"/>
                <a:gd name="connsiteY15" fmla="*/ 1600 h 10000"/>
                <a:gd name="connsiteX16" fmla="*/ 8918 w 10000"/>
                <a:gd name="connsiteY16" fmla="*/ 1493 h 10000"/>
                <a:gd name="connsiteX17" fmla="*/ 8487 w 10000"/>
                <a:gd name="connsiteY17" fmla="*/ 262 h 10000"/>
                <a:gd name="connsiteX18" fmla="*/ 6350 w 10000"/>
                <a:gd name="connsiteY18" fmla="*/ 1 h 10000"/>
                <a:gd name="connsiteX19" fmla="*/ 5199 w 10000"/>
                <a:gd name="connsiteY19" fmla="*/ 136 h 10000"/>
                <a:gd name="connsiteX20" fmla="*/ 4932 w 10000"/>
                <a:gd name="connsiteY20" fmla="*/ 621 h 10000"/>
                <a:gd name="connsiteX21" fmla="*/ 4603 w 10000"/>
                <a:gd name="connsiteY21" fmla="*/ 999 h 10000"/>
                <a:gd name="connsiteX22" fmla="*/ 3056 w 10000"/>
                <a:gd name="connsiteY22" fmla="*/ 703 h 10000"/>
                <a:gd name="connsiteX23" fmla="*/ 1056 w 10000"/>
                <a:gd name="connsiteY23" fmla="*/ 307 h 10000"/>
                <a:gd name="connsiteX24" fmla="*/ 67 w 10000"/>
                <a:gd name="connsiteY24" fmla="*/ 280 h 10000"/>
                <a:gd name="connsiteX25" fmla="*/ 67 w 10000"/>
                <a:gd name="connsiteY25" fmla="*/ 280 h 10000"/>
                <a:gd name="connsiteX26" fmla="*/ 853 w 10000"/>
                <a:gd name="connsiteY26" fmla="*/ 432 h 10000"/>
                <a:gd name="connsiteX27" fmla="*/ 0 w 10000"/>
                <a:gd name="connsiteY27" fmla="*/ 603 h 10000"/>
                <a:gd name="connsiteX28" fmla="*/ 0 w 10000"/>
                <a:gd name="connsiteY28" fmla="*/ 603 h 10000"/>
                <a:gd name="connsiteX29" fmla="*/ 1079 w 10000"/>
                <a:gd name="connsiteY29" fmla="*/ 586 h 10000"/>
                <a:gd name="connsiteX30" fmla="*/ 2367 w 10000"/>
                <a:gd name="connsiteY30" fmla="*/ 864 h 10000"/>
                <a:gd name="connsiteX31" fmla="*/ 4903 w 10000"/>
                <a:gd name="connsiteY31" fmla="*/ 1233 h 10000"/>
                <a:gd name="connsiteX32" fmla="*/ 5827 w 10000"/>
                <a:gd name="connsiteY32" fmla="*/ 594 h 10000"/>
                <a:gd name="connsiteX33" fmla="*/ 5890 w 10000"/>
                <a:gd name="connsiteY33" fmla="*/ 298 h 10000"/>
                <a:gd name="connsiteX34" fmla="*/ 6417 w 10000"/>
                <a:gd name="connsiteY34" fmla="*/ 253 h 10000"/>
                <a:gd name="connsiteX35" fmla="*/ 7798 w 10000"/>
                <a:gd name="connsiteY35" fmla="*/ 414 h 10000"/>
                <a:gd name="connsiteX36" fmla="*/ 8095 w 10000"/>
                <a:gd name="connsiteY36" fmla="*/ 1421 h 10000"/>
                <a:gd name="connsiteX37" fmla="*/ 7964 w 10000"/>
                <a:gd name="connsiteY37" fmla="*/ 1528 h 10000"/>
                <a:gd name="connsiteX38" fmla="*/ 7533 w 10000"/>
                <a:gd name="connsiteY38" fmla="*/ 1889 h 10000"/>
                <a:gd name="connsiteX39" fmla="*/ 6644 w 10000"/>
                <a:gd name="connsiteY39" fmla="*/ 3109 h 10000"/>
                <a:gd name="connsiteX40" fmla="*/ 7008 w 10000"/>
                <a:gd name="connsiteY40" fmla="*/ 4170 h 10000"/>
                <a:gd name="connsiteX41" fmla="*/ 7703 w 10000"/>
                <a:gd name="connsiteY41" fmla="*/ 5859 h 10000"/>
                <a:gd name="connsiteX42" fmla="*/ 7669 w 10000"/>
                <a:gd name="connsiteY42" fmla="*/ 5930 h 10000"/>
                <a:gd name="connsiteX43" fmla="*/ 7899 w 10000"/>
                <a:gd name="connsiteY43" fmla="*/ 6253 h 10000"/>
                <a:gd name="connsiteX44" fmla="*/ 7601 w 10000"/>
                <a:gd name="connsiteY44" fmla="*/ 8185 h 10000"/>
                <a:gd name="connsiteX45" fmla="*/ 8294 w 10000"/>
                <a:gd name="connsiteY45" fmla="*/ 9946 h 10000"/>
                <a:gd name="connsiteX46" fmla="*/ 8756 w 10000"/>
                <a:gd name="connsiteY46" fmla="*/ 10000 h 10000"/>
                <a:gd name="connsiteX47" fmla="*/ 9119 w 10000"/>
                <a:gd name="connsiteY47" fmla="*/ 9954 h 10000"/>
                <a:gd name="connsiteX48" fmla="*/ 9804 w 10000"/>
                <a:gd name="connsiteY48" fmla="*/ 8293 h 10000"/>
                <a:gd name="connsiteX49" fmla="*/ 9804 w 10000"/>
                <a:gd name="connsiteY49" fmla="*/ 8202 h 10000"/>
                <a:gd name="connsiteX50" fmla="*/ 9911 w 10000"/>
                <a:gd name="connsiteY50" fmla="*/ 6865 h 10000"/>
                <a:gd name="connsiteX51" fmla="*/ 9969 w 10000"/>
                <a:gd name="connsiteY51" fmla="*/ 6308 h 10000"/>
                <a:gd name="connsiteX0" fmla="*/ 9911 w 9911"/>
                <a:gd name="connsiteY0" fmla="*/ 6865 h 10000"/>
                <a:gd name="connsiteX1" fmla="*/ 9547 w 9911"/>
                <a:gd name="connsiteY1" fmla="*/ 6298 h 10000"/>
                <a:gd name="connsiteX2" fmla="*/ 9510 w 9911"/>
                <a:gd name="connsiteY2" fmla="*/ 6865 h 10000"/>
                <a:gd name="connsiteX3" fmla="*/ 9415 w 9911"/>
                <a:gd name="connsiteY3" fmla="*/ 8202 h 10000"/>
                <a:gd name="connsiteX4" fmla="*/ 9415 w 9911"/>
                <a:gd name="connsiteY4" fmla="*/ 8293 h 10000"/>
                <a:gd name="connsiteX5" fmla="*/ 8817 w 9911"/>
                <a:gd name="connsiteY5" fmla="*/ 9873 h 10000"/>
                <a:gd name="connsiteX6" fmla="*/ 8756 w 9911"/>
                <a:gd name="connsiteY6" fmla="*/ 9891 h 10000"/>
                <a:gd name="connsiteX7" fmla="*/ 8555 w 9911"/>
                <a:gd name="connsiteY7" fmla="*/ 9864 h 10000"/>
                <a:gd name="connsiteX8" fmla="*/ 7995 w 9911"/>
                <a:gd name="connsiteY8" fmla="*/ 8185 h 10000"/>
                <a:gd name="connsiteX9" fmla="*/ 8294 w 9911"/>
                <a:gd name="connsiteY9" fmla="*/ 6253 h 10000"/>
                <a:gd name="connsiteX10" fmla="*/ 8555 w 9911"/>
                <a:gd name="connsiteY10" fmla="*/ 5957 h 10000"/>
                <a:gd name="connsiteX11" fmla="*/ 8590 w 9911"/>
                <a:gd name="connsiteY11" fmla="*/ 5885 h 10000"/>
                <a:gd name="connsiteX12" fmla="*/ 7867 w 9911"/>
                <a:gd name="connsiteY12" fmla="*/ 4098 h 10000"/>
                <a:gd name="connsiteX13" fmla="*/ 7533 w 9911"/>
                <a:gd name="connsiteY13" fmla="*/ 3073 h 10000"/>
                <a:gd name="connsiteX14" fmla="*/ 8329 w 9911"/>
                <a:gd name="connsiteY14" fmla="*/ 2004 h 10000"/>
                <a:gd name="connsiteX15" fmla="*/ 8817 w 9911"/>
                <a:gd name="connsiteY15" fmla="*/ 1600 h 10000"/>
                <a:gd name="connsiteX16" fmla="*/ 8918 w 9911"/>
                <a:gd name="connsiteY16" fmla="*/ 1493 h 10000"/>
                <a:gd name="connsiteX17" fmla="*/ 8487 w 9911"/>
                <a:gd name="connsiteY17" fmla="*/ 262 h 10000"/>
                <a:gd name="connsiteX18" fmla="*/ 6350 w 9911"/>
                <a:gd name="connsiteY18" fmla="*/ 1 h 10000"/>
                <a:gd name="connsiteX19" fmla="*/ 5199 w 9911"/>
                <a:gd name="connsiteY19" fmla="*/ 136 h 10000"/>
                <a:gd name="connsiteX20" fmla="*/ 4932 w 9911"/>
                <a:gd name="connsiteY20" fmla="*/ 621 h 10000"/>
                <a:gd name="connsiteX21" fmla="*/ 4603 w 9911"/>
                <a:gd name="connsiteY21" fmla="*/ 999 h 10000"/>
                <a:gd name="connsiteX22" fmla="*/ 3056 w 9911"/>
                <a:gd name="connsiteY22" fmla="*/ 703 h 10000"/>
                <a:gd name="connsiteX23" fmla="*/ 1056 w 9911"/>
                <a:gd name="connsiteY23" fmla="*/ 307 h 10000"/>
                <a:gd name="connsiteX24" fmla="*/ 67 w 9911"/>
                <a:gd name="connsiteY24" fmla="*/ 280 h 10000"/>
                <a:gd name="connsiteX25" fmla="*/ 67 w 9911"/>
                <a:gd name="connsiteY25" fmla="*/ 280 h 10000"/>
                <a:gd name="connsiteX26" fmla="*/ 853 w 9911"/>
                <a:gd name="connsiteY26" fmla="*/ 432 h 10000"/>
                <a:gd name="connsiteX27" fmla="*/ 0 w 9911"/>
                <a:gd name="connsiteY27" fmla="*/ 603 h 10000"/>
                <a:gd name="connsiteX28" fmla="*/ 0 w 9911"/>
                <a:gd name="connsiteY28" fmla="*/ 603 h 10000"/>
                <a:gd name="connsiteX29" fmla="*/ 1079 w 9911"/>
                <a:gd name="connsiteY29" fmla="*/ 586 h 10000"/>
                <a:gd name="connsiteX30" fmla="*/ 2367 w 9911"/>
                <a:gd name="connsiteY30" fmla="*/ 864 h 10000"/>
                <a:gd name="connsiteX31" fmla="*/ 4903 w 9911"/>
                <a:gd name="connsiteY31" fmla="*/ 1233 h 10000"/>
                <a:gd name="connsiteX32" fmla="*/ 5827 w 9911"/>
                <a:gd name="connsiteY32" fmla="*/ 594 h 10000"/>
                <a:gd name="connsiteX33" fmla="*/ 5890 w 9911"/>
                <a:gd name="connsiteY33" fmla="*/ 298 h 10000"/>
                <a:gd name="connsiteX34" fmla="*/ 6417 w 9911"/>
                <a:gd name="connsiteY34" fmla="*/ 253 h 10000"/>
                <a:gd name="connsiteX35" fmla="*/ 7798 w 9911"/>
                <a:gd name="connsiteY35" fmla="*/ 414 h 10000"/>
                <a:gd name="connsiteX36" fmla="*/ 8095 w 9911"/>
                <a:gd name="connsiteY36" fmla="*/ 1421 h 10000"/>
                <a:gd name="connsiteX37" fmla="*/ 7964 w 9911"/>
                <a:gd name="connsiteY37" fmla="*/ 1528 h 10000"/>
                <a:gd name="connsiteX38" fmla="*/ 7533 w 9911"/>
                <a:gd name="connsiteY38" fmla="*/ 1889 h 10000"/>
                <a:gd name="connsiteX39" fmla="*/ 6644 w 9911"/>
                <a:gd name="connsiteY39" fmla="*/ 3109 h 10000"/>
                <a:gd name="connsiteX40" fmla="*/ 7008 w 9911"/>
                <a:gd name="connsiteY40" fmla="*/ 4170 h 10000"/>
                <a:gd name="connsiteX41" fmla="*/ 7703 w 9911"/>
                <a:gd name="connsiteY41" fmla="*/ 5859 h 10000"/>
                <a:gd name="connsiteX42" fmla="*/ 7669 w 9911"/>
                <a:gd name="connsiteY42" fmla="*/ 5930 h 10000"/>
                <a:gd name="connsiteX43" fmla="*/ 7899 w 9911"/>
                <a:gd name="connsiteY43" fmla="*/ 6253 h 10000"/>
                <a:gd name="connsiteX44" fmla="*/ 7601 w 9911"/>
                <a:gd name="connsiteY44" fmla="*/ 8185 h 10000"/>
                <a:gd name="connsiteX45" fmla="*/ 8294 w 9911"/>
                <a:gd name="connsiteY45" fmla="*/ 9946 h 10000"/>
                <a:gd name="connsiteX46" fmla="*/ 8756 w 9911"/>
                <a:gd name="connsiteY46" fmla="*/ 10000 h 10000"/>
                <a:gd name="connsiteX47" fmla="*/ 9119 w 9911"/>
                <a:gd name="connsiteY47" fmla="*/ 9954 h 10000"/>
                <a:gd name="connsiteX48" fmla="*/ 9804 w 9911"/>
                <a:gd name="connsiteY48" fmla="*/ 8293 h 10000"/>
                <a:gd name="connsiteX49" fmla="*/ 9804 w 9911"/>
                <a:gd name="connsiteY49" fmla="*/ 8202 h 10000"/>
                <a:gd name="connsiteX50" fmla="*/ 9911 w 9911"/>
                <a:gd name="connsiteY50" fmla="*/ 6865 h 10000"/>
                <a:gd name="connsiteX0" fmla="*/ 10000 w 10000"/>
                <a:gd name="connsiteY0" fmla="*/ 6865 h 10000"/>
                <a:gd name="connsiteX1" fmla="*/ 9595 w 10000"/>
                <a:gd name="connsiteY1" fmla="*/ 6865 h 10000"/>
                <a:gd name="connsiteX2" fmla="*/ 9500 w 10000"/>
                <a:gd name="connsiteY2" fmla="*/ 8202 h 10000"/>
                <a:gd name="connsiteX3" fmla="*/ 9500 w 10000"/>
                <a:gd name="connsiteY3" fmla="*/ 8293 h 10000"/>
                <a:gd name="connsiteX4" fmla="*/ 8896 w 10000"/>
                <a:gd name="connsiteY4" fmla="*/ 9873 h 10000"/>
                <a:gd name="connsiteX5" fmla="*/ 8835 w 10000"/>
                <a:gd name="connsiteY5" fmla="*/ 9891 h 10000"/>
                <a:gd name="connsiteX6" fmla="*/ 8632 w 10000"/>
                <a:gd name="connsiteY6" fmla="*/ 9864 h 10000"/>
                <a:gd name="connsiteX7" fmla="*/ 8067 w 10000"/>
                <a:gd name="connsiteY7" fmla="*/ 8185 h 10000"/>
                <a:gd name="connsiteX8" fmla="*/ 8368 w 10000"/>
                <a:gd name="connsiteY8" fmla="*/ 6253 h 10000"/>
                <a:gd name="connsiteX9" fmla="*/ 8632 w 10000"/>
                <a:gd name="connsiteY9" fmla="*/ 5957 h 10000"/>
                <a:gd name="connsiteX10" fmla="*/ 8667 w 10000"/>
                <a:gd name="connsiteY10" fmla="*/ 5885 h 10000"/>
                <a:gd name="connsiteX11" fmla="*/ 7938 w 10000"/>
                <a:gd name="connsiteY11" fmla="*/ 4098 h 10000"/>
                <a:gd name="connsiteX12" fmla="*/ 7601 w 10000"/>
                <a:gd name="connsiteY12" fmla="*/ 3073 h 10000"/>
                <a:gd name="connsiteX13" fmla="*/ 8404 w 10000"/>
                <a:gd name="connsiteY13" fmla="*/ 2004 h 10000"/>
                <a:gd name="connsiteX14" fmla="*/ 8896 w 10000"/>
                <a:gd name="connsiteY14" fmla="*/ 1600 h 10000"/>
                <a:gd name="connsiteX15" fmla="*/ 8998 w 10000"/>
                <a:gd name="connsiteY15" fmla="*/ 1493 h 10000"/>
                <a:gd name="connsiteX16" fmla="*/ 8563 w 10000"/>
                <a:gd name="connsiteY16" fmla="*/ 262 h 10000"/>
                <a:gd name="connsiteX17" fmla="*/ 6407 w 10000"/>
                <a:gd name="connsiteY17" fmla="*/ 1 h 10000"/>
                <a:gd name="connsiteX18" fmla="*/ 5246 w 10000"/>
                <a:gd name="connsiteY18" fmla="*/ 136 h 10000"/>
                <a:gd name="connsiteX19" fmla="*/ 4976 w 10000"/>
                <a:gd name="connsiteY19" fmla="*/ 621 h 10000"/>
                <a:gd name="connsiteX20" fmla="*/ 4644 w 10000"/>
                <a:gd name="connsiteY20" fmla="*/ 999 h 10000"/>
                <a:gd name="connsiteX21" fmla="*/ 3083 w 10000"/>
                <a:gd name="connsiteY21" fmla="*/ 703 h 10000"/>
                <a:gd name="connsiteX22" fmla="*/ 1065 w 10000"/>
                <a:gd name="connsiteY22" fmla="*/ 307 h 10000"/>
                <a:gd name="connsiteX23" fmla="*/ 68 w 10000"/>
                <a:gd name="connsiteY23" fmla="*/ 280 h 10000"/>
                <a:gd name="connsiteX24" fmla="*/ 68 w 10000"/>
                <a:gd name="connsiteY24" fmla="*/ 280 h 10000"/>
                <a:gd name="connsiteX25" fmla="*/ 861 w 10000"/>
                <a:gd name="connsiteY25" fmla="*/ 432 h 10000"/>
                <a:gd name="connsiteX26" fmla="*/ 0 w 10000"/>
                <a:gd name="connsiteY26" fmla="*/ 603 h 10000"/>
                <a:gd name="connsiteX27" fmla="*/ 0 w 10000"/>
                <a:gd name="connsiteY27" fmla="*/ 603 h 10000"/>
                <a:gd name="connsiteX28" fmla="*/ 1089 w 10000"/>
                <a:gd name="connsiteY28" fmla="*/ 586 h 10000"/>
                <a:gd name="connsiteX29" fmla="*/ 2388 w 10000"/>
                <a:gd name="connsiteY29" fmla="*/ 864 h 10000"/>
                <a:gd name="connsiteX30" fmla="*/ 4947 w 10000"/>
                <a:gd name="connsiteY30" fmla="*/ 1233 h 10000"/>
                <a:gd name="connsiteX31" fmla="*/ 5879 w 10000"/>
                <a:gd name="connsiteY31" fmla="*/ 594 h 10000"/>
                <a:gd name="connsiteX32" fmla="*/ 5943 w 10000"/>
                <a:gd name="connsiteY32" fmla="*/ 298 h 10000"/>
                <a:gd name="connsiteX33" fmla="*/ 6475 w 10000"/>
                <a:gd name="connsiteY33" fmla="*/ 253 h 10000"/>
                <a:gd name="connsiteX34" fmla="*/ 7868 w 10000"/>
                <a:gd name="connsiteY34" fmla="*/ 414 h 10000"/>
                <a:gd name="connsiteX35" fmla="*/ 8168 w 10000"/>
                <a:gd name="connsiteY35" fmla="*/ 1421 h 10000"/>
                <a:gd name="connsiteX36" fmla="*/ 8036 w 10000"/>
                <a:gd name="connsiteY36" fmla="*/ 1528 h 10000"/>
                <a:gd name="connsiteX37" fmla="*/ 7601 w 10000"/>
                <a:gd name="connsiteY37" fmla="*/ 1889 h 10000"/>
                <a:gd name="connsiteX38" fmla="*/ 6704 w 10000"/>
                <a:gd name="connsiteY38" fmla="*/ 3109 h 10000"/>
                <a:gd name="connsiteX39" fmla="*/ 7071 w 10000"/>
                <a:gd name="connsiteY39" fmla="*/ 4170 h 10000"/>
                <a:gd name="connsiteX40" fmla="*/ 7772 w 10000"/>
                <a:gd name="connsiteY40" fmla="*/ 5859 h 10000"/>
                <a:gd name="connsiteX41" fmla="*/ 7738 w 10000"/>
                <a:gd name="connsiteY41" fmla="*/ 5930 h 10000"/>
                <a:gd name="connsiteX42" fmla="*/ 7970 w 10000"/>
                <a:gd name="connsiteY42" fmla="*/ 6253 h 10000"/>
                <a:gd name="connsiteX43" fmla="*/ 7669 w 10000"/>
                <a:gd name="connsiteY43" fmla="*/ 8185 h 10000"/>
                <a:gd name="connsiteX44" fmla="*/ 8368 w 10000"/>
                <a:gd name="connsiteY44" fmla="*/ 9946 h 10000"/>
                <a:gd name="connsiteX45" fmla="*/ 8835 w 10000"/>
                <a:gd name="connsiteY45" fmla="*/ 10000 h 10000"/>
                <a:gd name="connsiteX46" fmla="*/ 9201 w 10000"/>
                <a:gd name="connsiteY46" fmla="*/ 9954 h 10000"/>
                <a:gd name="connsiteX47" fmla="*/ 9892 w 10000"/>
                <a:gd name="connsiteY47" fmla="*/ 8293 h 10000"/>
                <a:gd name="connsiteX48" fmla="*/ 9892 w 10000"/>
                <a:gd name="connsiteY48" fmla="*/ 8202 h 10000"/>
                <a:gd name="connsiteX49" fmla="*/ 10000 w 10000"/>
                <a:gd name="connsiteY49" fmla="*/ 6865 h 10000"/>
                <a:gd name="connsiteX0" fmla="*/ 10000 w 10000"/>
                <a:gd name="connsiteY0" fmla="*/ 6865 h 10000"/>
                <a:gd name="connsiteX1" fmla="*/ 9500 w 10000"/>
                <a:gd name="connsiteY1" fmla="*/ 8202 h 10000"/>
                <a:gd name="connsiteX2" fmla="*/ 9500 w 10000"/>
                <a:gd name="connsiteY2" fmla="*/ 8293 h 10000"/>
                <a:gd name="connsiteX3" fmla="*/ 8896 w 10000"/>
                <a:gd name="connsiteY3" fmla="*/ 9873 h 10000"/>
                <a:gd name="connsiteX4" fmla="*/ 8835 w 10000"/>
                <a:gd name="connsiteY4" fmla="*/ 9891 h 10000"/>
                <a:gd name="connsiteX5" fmla="*/ 8632 w 10000"/>
                <a:gd name="connsiteY5" fmla="*/ 9864 h 10000"/>
                <a:gd name="connsiteX6" fmla="*/ 8067 w 10000"/>
                <a:gd name="connsiteY6" fmla="*/ 8185 h 10000"/>
                <a:gd name="connsiteX7" fmla="*/ 8368 w 10000"/>
                <a:gd name="connsiteY7" fmla="*/ 6253 h 10000"/>
                <a:gd name="connsiteX8" fmla="*/ 8632 w 10000"/>
                <a:gd name="connsiteY8" fmla="*/ 5957 h 10000"/>
                <a:gd name="connsiteX9" fmla="*/ 8667 w 10000"/>
                <a:gd name="connsiteY9" fmla="*/ 5885 h 10000"/>
                <a:gd name="connsiteX10" fmla="*/ 7938 w 10000"/>
                <a:gd name="connsiteY10" fmla="*/ 4098 h 10000"/>
                <a:gd name="connsiteX11" fmla="*/ 7601 w 10000"/>
                <a:gd name="connsiteY11" fmla="*/ 3073 h 10000"/>
                <a:gd name="connsiteX12" fmla="*/ 8404 w 10000"/>
                <a:gd name="connsiteY12" fmla="*/ 2004 h 10000"/>
                <a:gd name="connsiteX13" fmla="*/ 8896 w 10000"/>
                <a:gd name="connsiteY13" fmla="*/ 1600 h 10000"/>
                <a:gd name="connsiteX14" fmla="*/ 8998 w 10000"/>
                <a:gd name="connsiteY14" fmla="*/ 1493 h 10000"/>
                <a:gd name="connsiteX15" fmla="*/ 8563 w 10000"/>
                <a:gd name="connsiteY15" fmla="*/ 262 h 10000"/>
                <a:gd name="connsiteX16" fmla="*/ 6407 w 10000"/>
                <a:gd name="connsiteY16" fmla="*/ 1 h 10000"/>
                <a:gd name="connsiteX17" fmla="*/ 5246 w 10000"/>
                <a:gd name="connsiteY17" fmla="*/ 136 h 10000"/>
                <a:gd name="connsiteX18" fmla="*/ 4976 w 10000"/>
                <a:gd name="connsiteY18" fmla="*/ 621 h 10000"/>
                <a:gd name="connsiteX19" fmla="*/ 4644 w 10000"/>
                <a:gd name="connsiteY19" fmla="*/ 999 h 10000"/>
                <a:gd name="connsiteX20" fmla="*/ 3083 w 10000"/>
                <a:gd name="connsiteY20" fmla="*/ 703 h 10000"/>
                <a:gd name="connsiteX21" fmla="*/ 1065 w 10000"/>
                <a:gd name="connsiteY21" fmla="*/ 307 h 10000"/>
                <a:gd name="connsiteX22" fmla="*/ 68 w 10000"/>
                <a:gd name="connsiteY22" fmla="*/ 280 h 10000"/>
                <a:gd name="connsiteX23" fmla="*/ 68 w 10000"/>
                <a:gd name="connsiteY23" fmla="*/ 280 h 10000"/>
                <a:gd name="connsiteX24" fmla="*/ 861 w 10000"/>
                <a:gd name="connsiteY24" fmla="*/ 432 h 10000"/>
                <a:gd name="connsiteX25" fmla="*/ 0 w 10000"/>
                <a:gd name="connsiteY25" fmla="*/ 603 h 10000"/>
                <a:gd name="connsiteX26" fmla="*/ 0 w 10000"/>
                <a:gd name="connsiteY26" fmla="*/ 603 h 10000"/>
                <a:gd name="connsiteX27" fmla="*/ 1089 w 10000"/>
                <a:gd name="connsiteY27" fmla="*/ 586 h 10000"/>
                <a:gd name="connsiteX28" fmla="*/ 2388 w 10000"/>
                <a:gd name="connsiteY28" fmla="*/ 864 h 10000"/>
                <a:gd name="connsiteX29" fmla="*/ 4947 w 10000"/>
                <a:gd name="connsiteY29" fmla="*/ 1233 h 10000"/>
                <a:gd name="connsiteX30" fmla="*/ 5879 w 10000"/>
                <a:gd name="connsiteY30" fmla="*/ 594 h 10000"/>
                <a:gd name="connsiteX31" fmla="*/ 5943 w 10000"/>
                <a:gd name="connsiteY31" fmla="*/ 298 h 10000"/>
                <a:gd name="connsiteX32" fmla="*/ 6475 w 10000"/>
                <a:gd name="connsiteY32" fmla="*/ 253 h 10000"/>
                <a:gd name="connsiteX33" fmla="*/ 7868 w 10000"/>
                <a:gd name="connsiteY33" fmla="*/ 414 h 10000"/>
                <a:gd name="connsiteX34" fmla="*/ 8168 w 10000"/>
                <a:gd name="connsiteY34" fmla="*/ 1421 h 10000"/>
                <a:gd name="connsiteX35" fmla="*/ 8036 w 10000"/>
                <a:gd name="connsiteY35" fmla="*/ 1528 h 10000"/>
                <a:gd name="connsiteX36" fmla="*/ 7601 w 10000"/>
                <a:gd name="connsiteY36" fmla="*/ 1889 h 10000"/>
                <a:gd name="connsiteX37" fmla="*/ 6704 w 10000"/>
                <a:gd name="connsiteY37" fmla="*/ 3109 h 10000"/>
                <a:gd name="connsiteX38" fmla="*/ 7071 w 10000"/>
                <a:gd name="connsiteY38" fmla="*/ 4170 h 10000"/>
                <a:gd name="connsiteX39" fmla="*/ 7772 w 10000"/>
                <a:gd name="connsiteY39" fmla="*/ 5859 h 10000"/>
                <a:gd name="connsiteX40" fmla="*/ 7738 w 10000"/>
                <a:gd name="connsiteY40" fmla="*/ 5930 h 10000"/>
                <a:gd name="connsiteX41" fmla="*/ 7970 w 10000"/>
                <a:gd name="connsiteY41" fmla="*/ 6253 h 10000"/>
                <a:gd name="connsiteX42" fmla="*/ 7669 w 10000"/>
                <a:gd name="connsiteY42" fmla="*/ 8185 h 10000"/>
                <a:gd name="connsiteX43" fmla="*/ 8368 w 10000"/>
                <a:gd name="connsiteY43" fmla="*/ 9946 h 10000"/>
                <a:gd name="connsiteX44" fmla="*/ 8835 w 10000"/>
                <a:gd name="connsiteY44" fmla="*/ 10000 h 10000"/>
                <a:gd name="connsiteX45" fmla="*/ 9201 w 10000"/>
                <a:gd name="connsiteY45" fmla="*/ 9954 h 10000"/>
                <a:gd name="connsiteX46" fmla="*/ 9892 w 10000"/>
                <a:gd name="connsiteY46" fmla="*/ 8293 h 10000"/>
                <a:gd name="connsiteX47" fmla="*/ 9892 w 10000"/>
                <a:gd name="connsiteY47" fmla="*/ 8202 h 10000"/>
                <a:gd name="connsiteX48" fmla="*/ 10000 w 10000"/>
                <a:gd name="connsiteY48" fmla="*/ 6865 h 10000"/>
                <a:gd name="connsiteX0" fmla="*/ 9892 w 9920"/>
                <a:gd name="connsiteY0" fmla="*/ 8202 h 10000"/>
                <a:gd name="connsiteX1" fmla="*/ 9500 w 9920"/>
                <a:gd name="connsiteY1" fmla="*/ 8202 h 10000"/>
                <a:gd name="connsiteX2" fmla="*/ 9500 w 9920"/>
                <a:gd name="connsiteY2" fmla="*/ 8293 h 10000"/>
                <a:gd name="connsiteX3" fmla="*/ 8896 w 9920"/>
                <a:gd name="connsiteY3" fmla="*/ 9873 h 10000"/>
                <a:gd name="connsiteX4" fmla="*/ 8835 w 9920"/>
                <a:gd name="connsiteY4" fmla="*/ 9891 h 10000"/>
                <a:gd name="connsiteX5" fmla="*/ 8632 w 9920"/>
                <a:gd name="connsiteY5" fmla="*/ 9864 h 10000"/>
                <a:gd name="connsiteX6" fmla="*/ 8067 w 9920"/>
                <a:gd name="connsiteY6" fmla="*/ 8185 h 10000"/>
                <a:gd name="connsiteX7" fmla="*/ 8368 w 9920"/>
                <a:gd name="connsiteY7" fmla="*/ 6253 h 10000"/>
                <a:gd name="connsiteX8" fmla="*/ 8632 w 9920"/>
                <a:gd name="connsiteY8" fmla="*/ 5957 h 10000"/>
                <a:gd name="connsiteX9" fmla="*/ 8667 w 9920"/>
                <a:gd name="connsiteY9" fmla="*/ 5885 h 10000"/>
                <a:gd name="connsiteX10" fmla="*/ 7938 w 9920"/>
                <a:gd name="connsiteY10" fmla="*/ 4098 h 10000"/>
                <a:gd name="connsiteX11" fmla="*/ 7601 w 9920"/>
                <a:gd name="connsiteY11" fmla="*/ 3073 h 10000"/>
                <a:gd name="connsiteX12" fmla="*/ 8404 w 9920"/>
                <a:gd name="connsiteY12" fmla="*/ 2004 h 10000"/>
                <a:gd name="connsiteX13" fmla="*/ 8896 w 9920"/>
                <a:gd name="connsiteY13" fmla="*/ 1600 h 10000"/>
                <a:gd name="connsiteX14" fmla="*/ 8998 w 9920"/>
                <a:gd name="connsiteY14" fmla="*/ 1493 h 10000"/>
                <a:gd name="connsiteX15" fmla="*/ 8563 w 9920"/>
                <a:gd name="connsiteY15" fmla="*/ 262 h 10000"/>
                <a:gd name="connsiteX16" fmla="*/ 6407 w 9920"/>
                <a:gd name="connsiteY16" fmla="*/ 1 h 10000"/>
                <a:gd name="connsiteX17" fmla="*/ 5246 w 9920"/>
                <a:gd name="connsiteY17" fmla="*/ 136 h 10000"/>
                <a:gd name="connsiteX18" fmla="*/ 4976 w 9920"/>
                <a:gd name="connsiteY18" fmla="*/ 621 h 10000"/>
                <a:gd name="connsiteX19" fmla="*/ 4644 w 9920"/>
                <a:gd name="connsiteY19" fmla="*/ 999 h 10000"/>
                <a:gd name="connsiteX20" fmla="*/ 3083 w 9920"/>
                <a:gd name="connsiteY20" fmla="*/ 703 h 10000"/>
                <a:gd name="connsiteX21" fmla="*/ 1065 w 9920"/>
                <a:gd name="connsiteY21" fmla="*/ 307 h 10000"/>
                <a:gd name="connsiteX22" fmla="*/ 68 w 9920"/>
                <a:gd name="connsiteY22" fmla="*/ 280 h 10000"/>
                <a:gd name="connsiteX23" fmla="*/ 68 w 9920"/>
                <a:gd name="connsiteY23" fmla="*/ 280 h 10000"/>
                <a:gd name="connsiteX24" fmla="*/ 861 w 9920"/>
                <a:gd name="connsiteY24" fmla="*/ 432 h 10000"/>
                <a:gd name="connsiteX25" fmla="*/ 0 w 9920"/>
                <a:gd name="connsiteY25" fmla="*/ 603 h 10000"/>
                <a:gd name="connsiteX26" fmla="*/ 0 w 9920"/>
                <a:gd name="connsiteY26" fmla="*/ 603 h 10000"/>
                <a:gd name="connsiteX27" fmla="*/ 1089 w 9920"/>
                <a:gd name="connsiteY27" fmla="*/ 586 h 10000"/>
                <a:gd name="connsiteX28" fmla="*/ 2388 w 9920"/>
                <a:gd name="connsiteY28" fmla="*/ 864 h 10000"/>
                <a:gd name="connsiteX29" fmla="*/ 4947 w 9920"/>
                <a:gd name="connsiteY29" fmla="*/ 1233 h 10000"/>
                <a:gd name="connsiteX30" fmla="*/ 5879 w 9920"/>
                <a:gd name="connsiteY30" fmla="*/ 594 h 10000"/>
                <a:gd name="connsiteX31" fmla="*/ 5943 w 9920"/>
                <a:gd name="connsiteY31" fmla="*/ 298 h 10000"/>
                <a:gd name="connsiteX32" fmla="*/ 6475 w 9920"/>
                <a:gd name="connsiteY32" fmla="*/ 253 h 10000"/>
                <a:gd name="connsiteX33" fmla="*/ 7868 w 9920"/>
                <a:gd name="connsiteY33" fmla="*/ 414 h 10000"/>
                <a:gd name="connsiteX34" fmla="*/ 8168 w 9920"/>
                <a:gd name="connsiteY34" fmla="*/ 1421 h 10000"/>
                <a:gd name="connsiteX35" fmla="*/ 8036 w 9920"/>
                <a:gd name="connsiteY35" fmla="*/ 1528 h 10000"/>
                <a:gd name="connsiteX36" fmla="*/ 7601 w 9920"/>
                <a:gd name="connsiteY36" fmla="*/ 1889 h 10000"/>
                <a:gd name="connsiteX37" fmla="*/ 6704 w 9920"/>
                <a:gd name="connsiteY37" fmla="*/ 3109 h 10000"/>
                <a:gd name="connsiteX38" fmla="*/ 7071 w 9920"/>
                <a:gd name="connsiteY38" fmla="*/ 4170 h 10000"/>
                <a:gd name="connsiteX39" fmla="*/ 7772 w 9920"/>
                <a:gd name="connsiteY39" fmla="*/ 5859 h 10000"/>
                <a:gd name="connsiteX40" fmla="*/ 7738 w 9920"/>
                <a:gd name="connsiteY40" fmla="*/ 5930 h 10000"/>
                <a:gd name="connsiteX41" fmla="*/ 7970 w 9920"/>
                <a:gd name="connsiteY41" fmla="*/ 6253 h 10000"/>
                <a:gd name="connsiteX42" fmla="*/ 7669 w 9920"/>
                <a:gd name="connsiteY42" fmla="*/ 8185 h 10000"/>
                <a:gd name="connsiteX43" fmla="*/ 8368 w 9920"/>
                <a:gd name="connsiteY43" fmla="*/ 9946 h 10000"/>
                <a:gd name="connsiteX44" fmla="*/ 8835 w 9920"/>
                <a:gd name="connsiteY44" fmla="*/ 10000 h 10000"/>
                <a:gd name="connsiteX45" fmla="*/ 9201 w 9920"/>
                <a:gd name="connsiteY45" fmla="*/ 9954 h 10000"/>
                <a:gd name="connsiteX46" fmla="*/ 9892 w 9920"/>
                <a:gd name="connsiteY46" fmla="*/ 8293 h 10000"/>
                <a:gd name="connsiteX47" fmla="*/ 9892 w 9920"/>
                <a:gd name="connsiteY47" fmla="*/ 8202 h 10000"/>
                <a:gd name="connsiteX0" fmla="*/ 9972 w 9976"/>
                <a:gd name="connsiteY0" fmla="*/ 8293 h 10000"/>
                <a:gd name="connsiteX1" fmla="*/ 9577 w 9976"/>
                <a:gd name="connsiteY1" fmla="*/ 8202 h 10000"/>
                <a:gd name="connsiteX2" fmla="*/ 9577 w 9976"/>
                <a:gd name="connsiteY2" fmla="*/ 8293 h 10000"/>
                <a:gd name="connsiteX3" fmla="*/ 8968 w 9976"/>
                <a:gd name="connsiteY3" fmla="*/ 9873 h 10000"/>
                <a:gd name="connsiteX4" fmla="*/ 8906 w 9976"/>
                <a:gd name="connsiteY4" fmla="*/ 9891 h 10000"/>
                <a:gd name="connsiteX5" fmla="*/ 8702 w 9976"/>
                <a:gd name="connsiteY5" fmla="*/ 9864 h 10000"/>
                <a:gd name="connsiteX6" fmla="*/ 8132 w 9976"/>
                <a:gd name="connsiteY6" fmla="*/ 8185 h 10000"/>
                <a:gd name="connsiteX7" fmla="*/ 8435 w 9976"/>
                <a:gd name="connsiteY7" fmla="*/ 6253 h 10000"/>
                <a:gd name="connsiteX8" fmla="*/ 8702 w 9976"/>
                <a:gd name="connsiteY8" fmla="*/ 5957 h 10000"/>
                <a:gd name="connsiteX9" fmla="*/ 8737 w 9976"/>
                <a:gd name="connsiteY9" fmla="*/ 5885 h 10000"/>
                <a:gd name="connsiteX10" fmla="*/ 8002 w 9976"/>
                <a:gd name="connsiteY10" fmla="*/ 4098 h 10000"/>
                <a:gd name="connsiteX11" fmla="*/ 7662 w 9976"/>
                <a:gd name="connsiteY11" fmla="*/ 3073 h 10000"/>
                <a:gd name="connsiteX12" fmla="*/ 8472 w 9976"/>
                <a:gd name="connsiteY12" fmla="*/ 2004 h 10000"/>
                <a:gd name="connsiteX13" fmla="*/ 8968 w 9976"/>
                <a:gd name="connsiteY13" fmla="*/ 1600 h 10000"/>
                <a:gd name="connsiteX14" fmla="*/ 9071 w 9976"/>
                <a:gd name="connsiteY14" fmla="*/ 1493 h 10000"/>
                <a:gd name="connsiteX15" fmla="*/ 8632 w 9976"/>
                <a:gd name="connsiteY15" fmla="*/ 262 h 10000"/>
                <a:gd name="connsiteX16" fmla="*/ 6459 w 9976"/>
                <a:gd name="connsiteY16" fmla="*/ 1 h 10000"/>
                <a:gd name="connsiteX17" fmla="*/ 5288 w 9976"/>
                <a:gd name="connsiteY17" fmla="*/ 136 h 10000"/>
                <a:gd name="connsiteX18" fmla="*/ 5016 w 9976"/>
                <a:gd name="connsiteY18" fmla="*/ 621 h 10000"/>
                <a:gd name="connsiteX19" fmla="*/ 4681 w 9976"/>
                <a:gd name="connsiteY19" fmla="*/ 999 h 10000"/>
                <a:gd name="connsiteX20" fmla="*/ 3108 w 9976"/>
                <a:gd name="connsiteY20" fmla="*/ 703 h 10000"/>
                <a:gd name="connsiteX21" fmla="*/ 1074 w 9976"/>
                <a:gd name="connsiteY21" fmla="*/ 307 h 10000"/>
                <a:gd name="connsiteX22" fmla="*/ 69 w 9976"/>
                <a:gd name="connsiteY22" fmla="*/ 280 h 10000"/>
                <a:gd name="connsiteX23" fmla="*/ 69 w 9976"/>
                <a:gd name="connsiteY23" fmla="*/ 280 h 10000"/>
                <a:gd name="connsiteX24" fmla="*/ 868 w 9976"/>
                <a:gd name="connsiteY24" fmla="*/ 432 h 10000"/>
                <a:gd name="connsiteX25" fmla="*/ 0 w 9976"/>
                <a:gd name="connsiteY25" fmla="*/ 603 h 10000"/>
                <a:gd name="connsiteX26" fmla="*/ 0 w 9976"/>
                <a:gd name="connsiteY26" fmla="*/ 603 h 10000"/>
                <a:gd name="connsiteX27" fmla="*/ 1098 w 9976"/>
                <a:gd name="connsiteY27" fmla="*/ 586 h 10000"/>
                <a:gd name="connsiteX28" fmla="*/ 2407 w 9976"/>
                <a:gd name="connsiteY28" fmla="*/ 864 h 10000"/>
                <a:gd name="connsiteX29" fmla="*/ 4987 w 9976"/>
                <a:gd name="connsiteY29" fmla="*/ 1233 h 10000"/>
                <a:gd name="connsiteX30" fmla="*/ 5926 w 9976"/>
                <a:gd name="connsiteY30" fmla="*/ 594 h 10000"/>
                <a:gd name="connsiteX31" fmla="*/ 5991 w 9976"/>
                <a:gd name="connsiteY31" fmla="*/ 298 h 10000"/>
                <a:gd name="connsiteX32" fmla="*/ 6527 w 9976"/>
                <a:gd name="connsiteY32" fmla="*/ 253 h 10000"/>
                <a:gd name="connsiteX33" fmla="*/ 7931 w 9976"/>
                <a:gd name="connsiteY33" fmla="*/ 414 h 10000"/>
                <a:gd name="connsiteX34" fmla="*/ 8234 w 9976"/>
                <a:gd name="connsiteY34" fmla="*/ 1421 h 10000"/>
                <a:gd name="connsiteX35" fmla="*/ 8101 w 9976"/>
                <a:gd name="connsiteY35" fmla="*/ 1528 h 10000"/>
                <a:gd name="connsiteX36" fmla="*/ 7662 w 9976"/>
                <a:gd name="connsiteY36" fmla="*/ 1889 h 10000"/>
                <a:gd name="connsiteX37" fmla="*/ 6758 w 9976"/>
                <a:gd name="connsiteY37" fmla="*/ 3109 h 10000"/>
                <a:gd name="connsiteX38" fmla="*/ 7128 w 9976"/>
                <a:gd name="connsiteY38" fmla="*/ 4170 h 10000"/>
                <a:gd name="connsiteX39" fmla="*/ 7835 w 9976"/>
                <a:gd name="connsiteY39" fmla="*/ 5859 h 10000"/>
                <a:gd name="connsiteX40" fmla="*/ 7800 w 9976"/>
                <a:gd name="connsiteY40" fmla="*/ 5930 h 10000"/>
                <a:gd name="connsiteX41" fmla="*/ 8034 w 9976"/>
                <a:gd name="connsiteY41" fmla="*/ 6253 h 10000"/>
                <a:gd name="connsiteX42" fmla="*/ 7731 w 9976"/>
                <a:gd name="connsiteY42" fmla="*/ 8185 h 10000"/>
                <a:gd name="connsiteX43" fmla="*/ 8435 w 9976"/>
                <a:gd name="connsiteY43" fmla="*/ 9946 h 10000"/>
                <a:gd name="connsiteX44" fmla="*/ 8906 w 9976"/>
                <a:gd name="connsiteY44" fmla="*/ 10000 h 10000"/>
                <a:gd name="connsiteX45" fmla="*/ 9275 w 9976"/>
                <a:gd name="connsiteY45" fmla="*/ 9954 h 10000"/>
                <a:gd name="connsiteX46" fmla="*/ 9972 w 9976"/>
                <a:gd name="connsiteY46" fmla="*/ 8293 h 10000"/>
                <a:gd name="connsiteX0" fmla="*/ 9996 w 10001"/>
                <a:gd name="connsiteY0" fmla="*/ 8293 h 10000"/>
                <a:gd name="connsiteX1" fmla="*/ 9600 w 10001"/>
                <a:gd name="connsiteY1" fmla="*/ 8202 h 10000"/>
                <a:gd name="connsiteX2" fmla="*/ 8990 w 10001"/>
                <a:gd name="connsiteY2" fmla="*/ 9873 h 10000"/>
                <a:gd name="connsiteX3" fmla="*/ 8927 w 10001"/>
                <a:gd name="connsiteY3" fmla="*/ 9891 h 10000"/>
                <a:gd name="connsiteX4" fmla="*/ 8723 w 10001"/>
                <a:gd name="connsiteY4" fmla="*/ 9864 h 10000"/>
                <a:gd name="connsiteX5" fmla="*/ 8152 w 10001"/>
                <a:gd name="connsiteY5" fmla="*/ 8185 h 10000"/>
                <a:gd name="connsiteX6" fmla="*/ 8455 w 10001"/>
                <a:gd name="connsiteY6" fmla="*/ 6253 h 10000"/>
                <a:gd name="connsiteX7" fmla="*/ 8723 w 10001"/>
                <a:gd name="connsiteY7" fmla="*/ 5957 h 10000"/>
                <a:gd name="connsiteX8" fmla="*/ 8758 w 10001"/>
                <a:gd name="connsiteY8" fmla="*/ 5885 h 10000"/>
                <a:gd name="connsiteX9" fmla="*/ 8021 w 10001"/>
                <a:gd name="connsiteY9" fmla="*/ 4098 h 10000"/>
                <a:gd name="connsiteX10" fmla="*/ 7680 w 10001"/>
                <a:gd name="connsiteY10" fmla="*/ 3073 h 10000"/>
                <a:gd name="connsiteX11" fmla="*/ 8492 w 10001"/>
                <a:gd name="connsiteY11" fmla="*/ 2004 h 10000"/>
                <a:gd name="connsiteX12" fmla="*/ 8990 w 10001"/>
                <a:gd name="connsiteY12" fmla="*/ 1600 h 10000"/>
                <a:gd name="connsiteX13" fmla="*/ 9093 w 10001"/>
                <a:gd name="connsiteY13" fmla="*/ 1493 h 10000"/>
                <a:gd name="connsiteX14" fmla="*/ 8653 w 10001"/>
                <a:gd name="connsiteY14" fmla="*/ 262 h 10000"/>
                <a:gd name="connsiteX15" fmla="*/ 6475 w 10001"/>
                <a:gd name="connsiteY15" fmla="*/ 1 h 10000"/>
                <a:gd name="connsiteX16" fmla="*/ 5301 w 10001"/>
                <a:gd name="connsiteY16" fmla="*/ 136 h 10000"/>
                <a:gd name="connsiteX17" fmla="*/ 5028 w 10001"/>
                <a:gd name="connsiteY17" fmla="*/ 621 h 10000"/>
                <a:gd name="connsiteX18" fmla="*/ 4692 w 10001"/>
                <a:gd name="connsiteY18" fmla="*/ 999 h 10000"/>
                <a:gd name="connsiteX19" fmla="*/ 3115 w 10001"/>
                <a:gd name="connsiteY19" fmla="*/ 703 h 10000"/>
                <a:gd name="connsiteX20" fmla="*/ 1077 w 10001"/>
                <a:gd name="connsiteY20" fmla="*/ 307 h 10000"/>
                <a:gd name="connsiteX21" fmla="*/ 69 w 10001"/>
                <a:gd name="connsiteY21" fmla="*/ 280 h 10000"/>
                <a:gd name="connsiteX22" fmla="*/ 69 w 10001"/>
                <a:gd name="connsiteY22" fmla="*/ 280 h 10000"/>
                <a:gd name="connsiteX23" fmla="*/ 870 w 10001"/>
                <a:gd name="connsiteY23" fmla="*/ 432 h 10000"/>
                <a:gd name="connsiteX24" fmla="*/ 0 w 10001"/>
                <a:gd name="connsiteY24" fmla="*/ 603 h 10000"/>
                <a:gd name="connsiteX25" fmla="*/ 0 w 10001"/>
                <a:gd name="connsiteY25" fmla="*/ 603 h 10000"/>
                <a:gd name="connsiteX26" fmla="*/ 1101 w 10001"/>
                <a:gd name="connsiteY26" fmla="*/ 586 h 10000"/>
                <a:gd name="connsiteX27" fmla="*/ 2413 w 10001"/>
                <a:gd name="connsiteY27" fmla="*/ 864 h 10000"/>
                <a:gd name="connsiteX28" fmla="*/ 4999 w 10001"/>
                <a:gd name="connsiteY28" fmla="*/ 1233 h 10000"/>
                <a:gd name="connsiteX29" fmla="*/ 5940 w 10001"/>
                <a:gd name="connsiteY29" fmla="*/ 594 h 10000"/>
                <a:gd name="connsiteX30" fmla="*/ 6005 w 10001"/>
                <a:gd name="connsiteY30" fmla="*/ 298 h 10000"/>
                <a:gd name="connsiteX31" fmla="*/ 6543 w 10001"/>
                <a:gd name="connsiteY31" fmla="*/ 253 h 10000"/>
                <a:gd name="connsiteX32" fmla="*/ 7950 w 10001"/>
                <a:gd name="connsiteY32" fmla="*/ 414 h 10000"/>
                <a:gd name="connsiteX33" fmla="*/ 8254 w 10001"/>
                <a:gd name="connsiteY33" fmla="*/ 1421 h 10000"/>
                <a:gd name="connsiteX34" fmla="*/ 8120 w 10001"/>
                <a:gd name="connsiteY34" fmla="*/ 1528 h 10000"/>
                <a:gd name="connsiteX35" fmla="*/ 7680 w 10001"/>
                <a:gd name="connsiteY35" fmla="*/ 1889 h 10000"/>
                <a:gd name="connsiteX36" fmla="*/ 6774 w 10001"/>
                <a:gd name="connsiteY36" fmla="*/ 3109 h 10000"/>
                <a:gd name="connsiteX37" fmla="*/ 7145 w 10001"/>
                <a:gd name="connsiteY37" fmla="*/ 4170 h 10000"/>
                <a:gd name="connsiteX38" fmla="*/ 7854 w 10001"/>
                <a:gd name="connsiteY38" fmla="*/ 5859 h 10000"/>
                <a:gd name="connsiteX39" fmla="*/ 7819 w 10001"/>
                <a:gd name="connsiteY39" fmla="*/ 5930 h 10000"/>
                <a:gd name="connsiteX40" fmla="*/ 8053 w 10001"/>
                <a:gd name="connsiteY40" fmla="*/ 6253 h 10000"/>
                <a:gd name="connsiteX41" fmla="*/ 7750 w 10001"/>
                <a:gd name="connsiteY41" fmla="*/ 8185 h 10000"/>
                <a:gd name="connsiteX42" fmla="*/ 8455 w 10001"/>
                <a:gd name="connsiteY42" fmla="*/ 9946 h 10000"/>
                <a:gd name="connsiteX43" fmla="*/ 8927 w 10001"/>
                <a:gd name="connsiteY43" fmla="*/ 10000 h 10000"/>
                <a:gd name="connsiteX44" fmla="*/ 9297 w 10001"/>
                <a:gd name="connsiteY44" fmla="*/ 9954 h 10000"/>
                <a:gd name="connsiteX45" fmla="*/ 9996 w 10001"/>
                <a:gd name="connsiteY45" fmla="*/ 8293 h 10000"/>
                <a:gd name="connsiteX0" fmla="*/ 9297 w 9606"/>
                <a:gd name="connsiteY0" fmla="*/ 9954 h 10100"/>
                <a:gd name="connsiteX1" fmla="*/ 9600 w 9606"/>
                <a:gd name="connsiteY1" fmla="*/ 8202 h 10100"/>
                <a:gd name="connsiteX2" fmla="*/ 8990 w 9606"/>
                <a:gd name="connsiteY2" fmla="*/ 9873 h 10100"/>
                <a:gd name="connsiteX3" fmla="*/ 8927 w 9606"/>
                <a:gd name="connsiteY3" fmla="*/ 9891 h 10100"/>
                <a:gd name="connsiteX4" fmla="*/ 8723 w 9606"/>
                <a:gd name="connsiteY4" fmla="*/ 9864 h 10100"/>
                <a:gd name="connsiteX5" fmla="*/ 8152 w 9606"/>
                <a:gd name="connsiteY5" fmla="*/ 8185 h 10100"/>
                <a:gd name="connsiteX6" fmla="*/ 8455 w 9606"/>
                <a:gd name="connsiteY6" fmla="*/ 6253 h 10100"/>
                <a:gd name="connsiteX7" fmla="*/ 8723 w 9606"/>
                <a:gd name="connsiteY7" fmla="*/ 5957 h 10100"/>
                <a:gd name="connsiteX8" fmla="*/ 8758 w 9606"/>
                <a:gd name="connsiteY8" fmla="*/ 5885 h 10100"/>
                <a:gd name="connsiteX9" fmla="*/ 8021 w 9606"/>
                <a:gd name="connsiteY9" fmla="*/ 4098 h 10100"/>
                <a:gd name="connsiteX10" fmla="*/ 7680 w 9606"/>
                <a:gd name="connsiteY10" fmla="*/ 3073 h 10100"/>
                <a:gd name="connsiteX11" fmla="*/ 8492 w 9606"/>
                <a:gd name="connsiteY11" fmla="*/ 2004 h 10100"/>
                <a:gd name="connsiteX12" fmla="*/ 8990 w 9606"/>
                <a:gd name="connsiteY12" fmla="*/ 1600 h 10100"/>
                <a:gd name="connsiteX13" fmla="*/ 9093 w 9606"/>
                <a:gd name="connsiteY13" fmla="*/ 1493 h 10100"/>
                <a:gd name="connsiteX14" fmla="*/ 8653 w 9606"/>
                <a:gd name="connsiteY14" fmla="*/ 262 h 10100"/>
                <a:gd name="connsiteX15" fmla="*/ 6475 w 9606"/>
                <a:gd name="connsiteY15" fmla="*/ 1 h 10100"/>
                <a:gd name="connsiteX16" fmla="*/ 5301 w 9606"/>
                <a:gd name="connsiteY16" fmla="*/ 136 h 10100"/>
                <a:gd name="connsiteX17" fmla="*/ 5028 w 9606"/>
                <a:gd name="connsiteY17" fmla="*/ 621 h 10100"/>
                <a:gd name="connsiteX18" fmla="*/ 4692 w 9606"/>
                <a:gd name="connsiteY18" fmla="*/ 999 h 10100"/>
                <a:gd name="connsiteX19" fmla="*/ 3115 w 9606"/>
                <a:gd name="connsiteY19" fmla="*/ 703 h 10100"/>
                <a:gd name="connsiteX20" fmla="*/ 1077 w 9606"/>
                <a:gd name="connsiteY20" fmla="*/ 307 h 10100"/>
                <a:gd name="connsiteX21" fmla="*/ 69 w 9606"/>
                <a:gd name="connsiteY21" fmla="*/ 280 h 10100"/>
                <a:gd name="connsiteX22" fmla="*/ 69 w 9606"/>
                <a:gd name="connsiteY22" fmla="*/ 280 h 10100"/>
                <a:gd name="connsiteX23" fmla="*/ 870 w 9606"/>
                <a:gd name="connsiteY23" fmla="*/ 432 h 10100"/>
                <a:gd name="connsiteX24" fmla="*/ 0 w 9606"/>
                <a:gd name="connsiteY24" fmla="*/ 603 h 10100"/>
                <a:gd name="connsiteX25" fmla="*/ 0 w 9606"/>
                <a:gd name="connsiteY25" fmla="*/ 603 h 10100"/>
                <a:gd name="connsiteX26" fmla="*/ 1101 w 9606"/>
                <a:gd name="connsiteY26" fmla="*/ 586 h 10100"/>
                <a:gd name="connsiteX27" fmla="*/ 2413 w 9606"/>
                <a:gd name="connsiteY27" fmla="*/ 864 h 10100"/>
                <a:gd name="connsiteX28" fmla="*/ 4999 w 9606"/>
                <a:gd name="connsiteY28" fmla="*/ 1233 h 10100"/>
                <a:gd name="connsiteX29" fmla="*/ 5940 w 9606"/>
                <a:gd name="connsiteY29" fmla="*/ 594 h 10100"/>
                <a:gd name="connsiteX30" fmla="*/ 6005 w 9606"/>
                <a:gd name="connsiteY30" fmla="*/ 298 h 10100"/>
                <a:gd name="connsiteX31" fmla="*/ 6543 w 9606"/>
                <a:gd name="connsiteY31" fmla="*/ 253 h 10100"/>
                <a:gd name="connsiteX32" fmla="*/ 7950 w 9606"/>
                <a:gd name="connsiteY32" fmla="*/ 414 h 10100"/>
                <a:gd name="connsiteX33" fmla="*/ 8254 w 9606"/>
                <a:gd name="connsiteY33" fmla="*/ 1421 h 10100"/>
                <a:gd name="connsiteX34" fmla="*/ 8120 w 9606"/>
                <a:gd name="connsiteY34" fmla="*/ 1528 h 10100"/>
                <a:gd name="connsiteX35" fmla="*/ 7680 w 9606"/>
                <a:gd name="connsiteY35" fmla="*/ 1889 h 10100"/>
                <a:gd name="connsiteX36" fmla="*/ 6774 w 9606"/>
                <a:gd name="connsiteY36" fmla="*/ 3109 h 10100"/>
                <a:gd name="connsiteX37" fmla="*/ 7145 w 9606"/>
                <a:gd name="connsiteY37" fmla="*/ 4170 h 10100"/>
                <a:gd name="connsiteX38" fmla="*/ 7854 w 9606"/>
                <a:gd name="connsiteY38" fmla="*/ 5859 h 10100"/>
                <a:gd name="connsiteX39" fmla="*/ 7819 w 9606"/>
                <a:gd name="connsiteY39" fmla="*/ 5930 h 10100"/>
                <a:gd name="connsiteX40" fmla="*/ 8053 w 9606"/>
                <a:gd name="connsiteY40" fmla="*/ 6253 h 10100"/>
                <a:gd name="connsiteX41" fmla="*/ 7750 w 9606"/>
                <a:gd name="connsiteY41" fmla="*/ 8185 h 10100"/>
                <a:gd name="connsiteX42" fmla="*/ 8455 w 9606"/>
                <a:gd name="connsiteY42" fmla="*/ 9946 h 10100"/>
                <a:gd name="connsiteX43" fmla="*/ 8927 w 9606"/>
                <a:gd name="connsiteY43" fmla="*/ 10000 h 10100"/>
                <a:gd name="connsiteX44" fmla="*/ 9297 w 9606"/>
                <a:gd name="connsiteY44" fmla="*/ 9954 h 10100"/>
                <a:gd name="connsiteX0" fmla="*/ 9678 w 9803"/>
                <a:gd name="connsiteY0" fmla="*/ 9855 h 10000"/>
                <a:gd name="connsiteX1" fmla="*/ 9359 w 9803"/>
                <a:gd name="connsiteY1" fmla="*/ 9775 h 10000"/>
                <a:gd name="connsiteX2" fmla="*/ 9293 w 9803"/>
                <a:gd name="connsiteY2" fmla="*/ 9793 h 10000"/>
                <a:gd name="connsiteX3" fmla="*/ 9081 w 9803"/>
                <a:gd name="connsiteY3" fmla="*/ 9766 h 10000"/>
                <a:gd name="connsiteX4" fmla="*/ 8486 w 9803"/>
                <a:gd name="connsiteY4" fmla="*/ 8104 h 10000"/>
                <a:gd name="connsiteX5" fmla="*/ 8802 w 9803"/>
                <a:gd name="connsiteY5" fmla="*/ 6191 h 10000"/>
                <a:gd name="connsiteX6" fmla="*/ 9081 w 9803"/>
                <a:gd name="connsiteY6" fmla="*/ 5898 h 10000"/>
                <a:gd name="connsiteX7" fmla="*/ 9117 w 9803"/>
                <a:gd name="connsiteY7" fmla="*/ 5827 h 10000"/>
                <a:gd name="connsiteX8" fmla="*/ 8350 w 9803"/>
                <a:gd name="connsiteY8" fmla="*/ 4057 h 10000"/>
                <a:gd name="connsiteX9" fmla="*/ 7995 w 9803"/>
                <a:gd name="connsiteY9" fmla="*/ 3043 h 10000"/>
                <a:gd name="connsiteX10" fmla="*/ 8840 w 9803"/>
                <a:gd name="connsiteY10" fmla="*/ 1984 h 10000"/>
                <a:gd name="connsiteX11" fmla="*/ 9359 w 9803"/>
                <a:gd name="connsiteY11" fmla="*/ 1584 h 10000"/>
                <a:gd name="connsiteX12" fmla="*/ 9466 w 9803"/>
                <a:gd name="connsiteY12" fmla="*/ 1478 h 10000"/>
                <a:gd name="connsiteX13" fmla="*/ 9008 w 9803"/>
                <a:gd name="connsiteY13" fmla="*/ 259 h 10000"/>
                <a:gd name="connsiteX14" fmla="*/ 6741 w 9803"/>
                <a:gd name="connsiteY14" fmla="*/ 1 h 10000"/>
                <a:gd name="connsiteX15" fmla="*/ 5518 w 9803"/>
                <a:gd name="connsiteY15" fmla="*/ 135 h 10000"/>
                <a:gd name="connsiteX16" fmla="*/ 5234 w 9803"/>
                <a:gd name="connsiteY16" fmla="*/ 615 h 10000"/>
                <a:gd name="connsiteX17" fmla="*/ 4884 w 9803"/>
                <a:gd name="connsiteY17" fmla="*/ 989 h 10000"/>
                <a:gd name="connsiteX18" fmla="*/ 3243 w 9803"/>
                <a:gd name="connsiteY18" fmla="*/ 696 h 10000"/>
                <a:gd name="connsiteX19" fmla="*/ 1121 w 9803"/>
                <a:gd name="connsiteY19" fmla="*/ 304 h 10000"/>
                <a:gd name="connsiteX20" fmla="*/ 72 w 9803"/>
                <a:gd name="connsiteY20" fmla="*/ 277 h 10000"/>
                <a:gd name="connsiteX21" fmla="*/ 72 w 9803"/>
                <a:gd name="connsiteY21" fmla="*/ 277 h 10000"/>
                <a:gd name="connsiteX22" fmla="*/ 906 w 9803"/>
                <a:gd name="connsiteY22" fmla="*/ 428 h 10000"/>
                <a:gd name="connsiteX23" fmla="*/ 0 w 9803"/>
                <a:gd name="connsiteY23" fmla="*/ 597 h 10000"/>
                <a:gd name="connsiteX24" fmla="*/ 0 w 9803"/>
                <a:gd name="connsiteY24" fmla="*/ 597 h 10000"/>
                <a:gd name="connsiteX25" fmla="*/ 1146 w 9803"/>
                <a:gd name="connsiteY25" fmla="*/ 580 h 10000"/>
                <a:gd name="connsiteX26" fmla="*/ 2512 w 9803"/>
                <a:gd name="connsiteY26" fmla="*/ 855 h 10000"/>
                <a:gd name="connsiteX27" fmla="*/ 5204 w 9803"/>
                <a:gd name="connsiteY27" fmla="*/ 1221 h 10000"/>
                <a:gd name="connsiteX28" fmla="*/ 6184 w 9803"/>
                <a:gd name="connsiteY28" fmla="*/ 588 h 10000"/>
                <a:gd name="connsiteX29" fmla="*/ 6251 w 9803"/>
                <a:gd name="connsiteY29" fmla="*/ 295 h 10000"/>
                <a:gd name="connsiteX30" fmla="*/ 6811 w 9803"/>
                <a:gd name="connsiteY30" fmla="*/ 250 h 10000"/>
                <a:gd name="connsiteX31" fmla="*/ 8276 w 9803"/>
                <a:gd name="connsiteY31" fmla="*/ 410 h 10000"/>
                <a:gd name="connsiteX32" fmla="*/ 8593 w 9803"/>
                <a:gd name="connsiteY32" fmla="*/ 1407 h 10000"/>
                <a:gd name="connsiteX33" fmla="*/ 8453 w 9803"/>
                <a:gd name="connsiteY33" fmla="*/ 1513 h 10000"/>
                <a:gd name="connsiteX34" fmla="*/ 7995 w 9803"/>
                <a:gd name="connsiteY34" fmla="*/ 1870 h 10000"/>
                <a:gd name="connsiteX35" fmla="*/ 7052 w 9803"/>
                <a:gd name="connsiteY35" fmla="*/ 3078 h 10000"/>
                <a:gd name="connsiteX36" fmla="*/ 7438 w 9803"/>
                <a:gd name="connsiteY36" fmla="*/ 4129 h 10000"/>
                <a:gd name="connsiteX37" fmla="*/ 8176 w 9803"/>
                <a:gd name="connsiteY37" fmla="*/ 5801 h 10000"/>
                <a:gd name="connsiteX38" fmla="*/ 8140 w 9803"/>
                <a:gd name="connsiteY38" fmla="*/ 5871 h 10000"/>
                <a:gd name="connsiteX39" fmla="*/ 8383 w 9803"/>
                <a:gd name="connsiteY39" fmla="*/ 6191 h 10000"/>
                <a:gd name="connsiteX40" fmla="*/ 8068 w 9803"/>
                <a:gd name="connsiteY40" fmla="*/ 8104 h 10000"/>
                <a:gd name="connsiteX41" fmla="*/ 8802 w 9803"/>
                <a:gd name="connsiteY41" fmla="*/ 9848 h 10000"/>
                <a:gd name="connsiteX42" fmla="*/ 9293 w 9803"/>
                <a:gd name="connsiteY42" fmla="*/ 9901 h 10000"/>
                <a:gd name="connsiteX43" fmla="*/ 9678 w 9803"/>
                <a:gd name="connsiteY43" fmla="*/ 9855 h 10000"/>
                <a:gd name="connsiteX0" fmla="*/ 9480 w 10000"/>
                <a:gd name="connsiteY0" fmla="*/ 9901 h 9903"/>
                <a:gd name="connsiteX1" fmla="*/ 9547 w 10000"/>
                <a:gd name="connsiteY1" fmla="*/ 9775 h 9903"/>
                <a:gd name="connsiteX2" fmla="*/ 9480 w 10000"/>
                <a:gd name="connsiteY2" fmla="*/ 9793 h 9903"/>
                <a:gd name="connsiteX3" fmla="*/ 9263 w 10000"/>
                <a:gd name="connsiteY3" fmla="*/ 9766 h 9903"/>
                <a:gd name="connsiteX4" fmla="*/ 8657 w 10000"/>
                <a:gd name="connsiteY4" fmla="*/ 8104 h 9903"/>
                <a:gd name="connsiteX5" fmla="*/ 8979 w 10000"/>
                <a:gd name="connsiteY5" fmla="*/ 6191 h 9903"/>
                <a:gd name="connsiteX6" fmla="*/ 9263 w 10000"/>
                <a:gd name="connsiteY6" fmla="*/ 5898 h 9903"/>
                <a:gd name="connsiteX7" fmla="*/ 9300 w 10000"/>
                <a:gd name="connsiteY7" fmla="*/ 5827 h 9903"/>
                <a:gd name="connsiteX8" fmla="*/ 8518 w 10000"/>
                <a:gd name="connsiteY8" fmla="*/ 4057 h 9903"/>
                <a:gd name="connsiteX9" fmla="*/ 8156 w 10000"/>
                <a:gd name="connsiteY9" fmla="*/ 3043 h 9903"/>
                <a:gd name="connsiteX10" fmla="*/ 9018 w 10000"/>
                <a:gd name="connsiteY10" fmla="*/ 1984 h 9903"/>
                <a:gd name="connsiteX11" fmla="*/ 9547 w 10000"/>
                <a:gd name="connsiteY11" fmla="*/ 1584 h 9903"/>
                <a:gd name="connsiteX12" fmla="*/ 9656 w 10000"/>
                <a:gd name="connsiteY12" fmla="*/ 1478 h 9903"/>
                <a:gd name="connsiteX13" fmla="*/ 9189 w 10000"/>
                <a:gd name="connsiteY13" fmla="*/ 259 h 9903"/>
                <a:gd name="connsiteX14" fmla="*/ 6876 w 10000"/>
                <a:gd name="connsiteY14" fmla="*/ 1 h 9903"/>
                <a:gd name="connsiteX15" fmla="*/ 5629 w 10000"/>
                <a:gd name="connsiteY15" fmla="*/ 135 h 9903"/>
                <a:gd name="connsiteX16" fmla="*/ 5339 w 10000"/>
                <a:gd name="connsiteY16" fmla="*/ 615 h 9903"/>
                <a:gd name="connsiteX17" fmla="*/ 4982 w 10000"/>
                <a:gd name="connsiteY17" fmla="*/ 989 h 9903"/>
                <a:gd name="connsiteX18" fmla="*/ 3308 w 10000"/>
                <a:gd name="connsiteY18" fmla="*/ 696 h 9903"/>
                <a:gd name="connsiteX19" fmla="*/ 1144 w 10000"/>
                <a:gd name="connsiteY19" fmla="*/ 304 h 9903"/>
                <a:gd name="connsiteX20" fmla="*/ 73 w 10000"/>
                <a:gd name="connsiteY20" fmla="*/ 277 h 9903"/>
                <a:gd name="connsiteX21" fmla="*/ 73 w 10000"/>
                <a:gd name="connsiteY21" fmla="*/ 277 h 9903"/>
                <a:gd name="connsiteX22" fmla="*/ 924 w 10000"/>
                <a:gd name="connsiteY22" fmla="*/ 428 h 9903"/>
                <a:gd name="connsiteX23" fmla="*/ 0 w 10000"/>
                <a:gd name="connsiteY23" fmla="*/ 597 h 9903"/>
                <a:gd name="connsiteX24" fmla="*/ 0 w 10000"/>
                <a:gd name="connsiteY24" fmla="*/ 597 h 9903"/>
                <a:gd name="connsiteX25" fmla="*/ 1169 w 10000"/>
                <a:gd name="connsiteY25" fmla="*/ 580 h 9903"/>
                <a:gd name="connsiteX26" fmla="*/ 2562 w 10000"/>
                <a:gd name="connsiteY26" fmla="*/ 855 h 9903"/>
                <a:gd name="connsiteX27" fmla="*/ 5309 w 10000"/>
                <a:gd name="connsiteY27" fmla="*/ 1221 h 9903"/>
                <a:gd name="connsiteX28" fmla="*/ 6308 w 10000"/>
                <a:gd name="connsiteY28" fmla="*/ 588 h 9903"/>
                <a:gd name="connsiteX29" fmla="*/ 6377 w 10000"/>
                <a:gd name="connsiteY29" fmla="*/ 295 h 9903"/>
                <a:gd name="connsiteX30" fmla="*/ 6948 w 10000"/>
                <a:gd name="connsiteY30" fmla="*/ 250 h 9903"/>
                <a:gd name="connsiteX31" fmla="*/ 8442 w 10000"/>
                <a:gd name="connsiteY31" fmla="*/ 410 h 9903"/>
                <a:gd name="connsiteX32" fmla="*/ 8766 w 10000"/>
                <a:gd name="connsiteY32" fmla="*/ 1407 h 9903"/>
                <a:gd name="connsiteX33" fmla="*/ 8623 w 10000"/>
                <a:gd name="connsiteY33" fmla="*/ 1513 h 9903"/>
                <a:gd name="connsiteX34" fmla="*/ 8156 w 10000"/>
                <a:gd name="connsiteY34" fmla="*/ 1870 h 9903"/>
                <a:gd name="connsiteX35" fmla="*/ 7194 w 10000"/>
                <a:gd name="connsiteY35" fmla="*/ 3078 h 9903"/>
                <a:gd name="connsiteX36" fmla="*/ 7587 w 10000"/>
                <a:gd name="connsiteY36" fmla="*/ 4129 h 9903"/>
                <a:gd name="connsiteX37" fmla="*/ 8340 w 10000"/>
                <a:gd name="connsiteY37" fmla="*/ 5801 h 9903"/>
                <a:gd name="connsiteX38" fmla="*/ 8304 w 10000"/>
                <a:gd name="connsiteY38" fmla="*/ 5871 h 9903"/>
                <a:gd name="connsiteX39" fmla="*/ 8551 w 10000"/>
                <a:gd name="connsiteY39" fmla="*/ 6191 h 9903"/>
                <a:gd name="connsiteX40" fmla="*/ 8230 w 10000"/>
                <a:gd name="connsiteY40" fmla="*/ 8104 h 9903"/>
                <a:gd name="connsiteX41" fmla="*/ 8979 w 10000"/>
                <a:gd name="connsiteY41" fmla="*/ 9848 h 9903"/>
                <a:gd name="connsiteX42" fmla="*/ 9480 w 10000"/>
                <a:gd name="connsiteY42" fmla="*/ 9901 h 9903"/>
                <a:gd name="connsiteX0" fmla="*/ 9480 w 10000"/>
                <a:gd name="connsiteY0" fmla="*/ 9998 h 10000"/>
                <a:gd name="connsiteX1" fmla="*/ 9547 w 10000"/>
                <a:gd name="connsiteY1" fmla="*/ 9871 h 10000"/>
                <a:gd name="connsiteX2" fmla="*/ 9480 w 10000"/>
                <a:gd name="connsiteY2" fmla="*/ 9889 h 10000"/>
                <a:gd name="connsiteX3" fmla="*/ 8657 w 10000"/>
                <a:gd name="connsiteY3" fmla="*/ 8183 h 10000"/>
                <a:gd name="connsiteX4" fmla="*/ 8979 w 10000"/>
                <a:gd name="connsiteY4" fmla="*/ 6252 h 10000"/>
                <a:gd name="connsiteX5" fmla="*/ 9263 w 10000"/>
                <a:gd name="connsiteY5" fmla="*/ 5956 h 10000"/>
                <a:gd name="connsiteX6" fmla="*/ 9300 w 10000"/>
                <a:gd name="connsiteY6" fmla="*/ 5884 h 10000"/>
                <a:gd name="connsiteX7" fmla="*/ 8518 w 10000"/>
                <a:gd name="connsiteY7" fmla="*/ 4097 h 10000"/>
                <a:gd name="connsiteX8" fmla="*/ 8156 w 10000"/>
                <a:gd name="connsiteY8" fmla="*/ 3073 h 10000"/>
                <a:gd name="connsiteX9" fmla="*/ 9018 w 10000"/>
                <a:gd name="connsiteY9" fmla="*/ 2003 h 10000"/>
                <a:gd name="connsiteX10" fmla="*/ 9547 w 10000"/>
                <a:gd name="connsiteY10" fmla="*/ 1600 h 10000"/>
                <a:gd name="connsiteX11" fmla="*/ 9656 w 10000"/>
                <a:gd name="connsiteY11" fmla="*/ 1492 h 10000"/>
                <a:gd name="connsiteX12" fmla="*/ 9189 w 10000"/>
                <a:gd name="connsiteY12" fmla="*/ 262 h 10000"/>
                <a:gd name="connsiteX13" fmla="*/ 6876 w 10000"/>
                <a:gd name="connsiteY13" fmla="*/ 1 h 10000"/>
                <a:gd name="connsiteX14" fmla="*/ 5629 w 10000"/>
                <a:gd name="connsiteY14" fmla="*/ 136 h 10000"/>
                <a:gd name="connsiteX15" fmla="*/ 5339 w 10000"/>
                <a:gd name="connsiteY15" fmla="*/ 621 h 10000"/>
                <a:gd name="connsiteX16" fmla="*/ 4982 w 10000"/>
                <a:gd name="connsiteY16" fmla="*/ 999 h 10000"/>
                <a:gd name="connsiteX17" fmla="*/ 3308 w 10000"/>
                <a:gd name="connsiteY17" fmla="*/ 703 h 10000"/>
                <a:gd name="connsiteX18" fmla="*/ 1144 w 10000"/>
                <a:gd name="connsiteY18" fmla="*/ 307 h 10000"/>
                <a:gd name="connsiteX19" fmla="*/ 73 w 10000"/>
                <a:gd name="connsiteY19" fmla="*/ 280 h 10000"/>
                <a:gd name="connsiteX20" fmla="*/ 73 w 10000"/>
                <a:gd name="connsiteY20" fmla="*/ 280 h 10000"/>
                <a:gd name="connsiteX21" fmla="*/ 924 w 10000"/>
                <a:gd name="connsiteY21" fmla="*/ 432 h 10000"/>
                <a:gd name="connsiteX22" fmla="*/ 0 w 10000"/>
                <a:gd name="connsiteY22" fmla="*/ 603 h 10000"/>
                <a:gd name="connsiteX23" fmla="*/ 0 w 10000"/>
                <a:gd name="connsiteY23" fmla="*/ 603 h 10000"/>
                <a:gd name="connsiteX24" fmla="*/ 1169 w 10000"/>
                <a:gd name="connsiteY24" fmla="*/ 586 h 10000"/>
                <a:gd name="connsiteX25" fmla="*/ 2562 w 10000"/>
                <a:gd name="connsiteY25" fmla="*/ 863 h 10000"/>
                <a:gd name="connsiteX26" fmla="*/ 5309 w 10000"/>
                <a:gd name="connsiteY26" fmla="*/ 1233 h 10000"/>
                <a:gd name="connsiteX27" fmla="*/ 6308 w 10000"/>
                <a:gd name="connsiteY27" fmla="*/ 594 h 10000"/>
                <a:gd name="connsiteX28" fmla="*/ 6377 w 10000"/>
                <a:gd name="connsiteY28" fmla="*/ 298 h 10000"/>
                <a:gd name="connsiteX29" fmla="*/ 6948 w 10000"/>
                <a:gd name="connsiteY29" fmla="*/ 252 h 10000"/>
                <a:gd name="connsiteX30" fmla="*/ 8442 w 10000"/>
                <a:gd name="connsiteY30" fmla="*/ 414 h 10000"/>
                <a:gd name="connsiteX31" fmla="*/ 8766 w 10000"/>
                <a:gd name="connsiteY31" fmla="*/ 1421 h 10000"/>
                <a:gd name="connsiteX32" fmla="*/ 8623 w 10000"/>
                <a:gd name="connsiteY32" fmla="*/ 1528 h 10000"/>
                <a:gd name="connsiteX33" fmla="*/ 8156 w 10000"/>
                <a:gd name="connsiteY33" fmla="*/ 1888 h 10000"/>
                <a:gd name="connsiteX34" fmla="*/ 7194 w 10000"/>
                <a:gd name="connsiteY34" fmla="*/ 3108 h 10000"/>
                <a:gd name="connsiteX35" fmla="*/ 7587 w 10000"/>
                <a:gd name="connsiteY35" fmla="*/ 4169 h 10000"/>
                <a:gd name="connsiteX36" fmla="*/ 8340 w 10000"/>
                <a:gd name="connsiteY36" fmla="*/ 5858 h 10000"/>
                <a:gd name="connsiteX37" fmla="*/ 8304 w 10000"/>
                <a:gd name="connsiteY37" fmla="*/ 5929 h 10000"/>
                <a:gd name="connsiteX38" fmla="*/ 8551 w 10000"/>
                <a:gd name="connsiteY38" fmla="*/ 6252 h 10000"/>
                <a:gd name="connsiteX39" fmla="*/ 8230 w 10000"/>
                <a:gd name="connsiteY39" fmla="*/ 8183 h 10000"/>
                <a:gd name="connsiteX40" fmla="*/ 8979 w 10000"/>
                <a:gd name="connsiteY40" fmla="*/ 9944 h 10000"/>
                <a:gd name="connsiteX41" fmla="*/ 9480 w 10000"/>
                <a:gd name="connsiteY41" fmla="*/ 9998 h 10000"/>
                <a:gd name="connsiteX0" fmla="*/ 9480 w 10000"/>
                <a:gd name="connsiteY0" fmla="*/ 9998 h 10000"/>
                <a:gd name="connsiteX1" fmla="*/ 9547 w 10000"/>
                <a:gd name="connsiteY1" fmla="*/ 9871 h 10000"/>
                <a:gd name="connsiteX2" fmla="*/ 8657 w 10000"/>
                <a:gd name="connsiteY2" fmla="*/ 8183 h 10000"/>
                <a:gd name="connsiteX3" fmla="*/ 8979 w 10000"/>
                <a:gd name="connsiteY3" fmla="*/ 6252 h 10000"/>
                <a:gd name="connsiteX4" fmla="*/ 9263 w 10000"/>
                <a:gd name="connsiteY4" fmla="*/ 5956 h 10000"/>
                <a:gd name="connsiteX5" fmla="*/ 9300 w 10000"/>
                <a:gd name="connsiteY5" fmla="*/ 5884 h 10000"/>
                <a:gd name="connsiteX6" fmla="*/ 8518 w 10000"/>
                <a:gd name="connsiteY6" fmla="*/ 4097 h 10000"/>
                <a:gd name="connsiteX7" fmla="*/ 8156 w 10000"/>
                <a:gd name="connsiteY7" fmla="*/ 3073 h 10000"/>
                <a:gd name="connsiteX8" fmla="*/ 9018 w 10000"/>
                <a:gd name="connsiteY8" fmla="*/ 2003 h 10000"/>
                <a:gd name="connsiteX9" fmla="*/ 9547 w 10000"/>
                <a:gd name="connsiteY9" fmla="*/ 1600 h 10000"/>
                <a:gd name="connsiteX10" fmla="*/ 9656 w 10000"/>
                <a:gd name="connsiteY10" fmla="*/ 1492 h 10000"/>
                <a:gd name="connsiteX11" fmla="*/ 9189 w 10000"/>
                <a:gd name="connsiteY11" fmla="*/ 262 h 10000"/>
                <a:gd name="connsiteX12" fmla="*/ 6876 w 10000"/>
                <a:gd name="connsiteY12" fmla="*/ 1 h 10000"/>
                <a:gd name="connsiteX13" fmla="*/ 5629 w 10000"/>
                <a:gd name="connsiteY13" fmla="*/ 136 h 10000"/>
                <a:gd name="connsiteX14" fmla="*/ 5339 w 10000"/>
                <a:gd name="connsiteY14" fmla="*/ 621 h 10000"/>
                <a:gd name="connsiteX15" fmla="*/ 4982 w 10000"/>
                <a:gd name="connsiteY15" fmla="*/ 999 h 10000"/>
                <a:gd name="connsiteX16" fmla="*/ 3308 w 10000"/>
                <a:gd name="connsiteY16" fmla="*/ 703 h 10000"/>
                <a:gd name="connsiteX17" fmla="*/ 1144 w 10000"/>
                <a:gd name="connsiteY17" fmla="*/ 307 h 10000"/>
                <a:gd name="connsiteX18" fmla="*/ 73 w 10000"/>
                <a:gd name="connsiteY18" fmla="*/ 280 h 10000"/>
                <a:gd name="connsiteX19" fmla="*/ 73 w 10000"/>
                <a:gd name="connsiteY19" fmla="*/ 280 h 10000"/>
                <a:gd name="connsiteX20" fmla="*/ 924 w 10000"/>
                <a:gd name="connsiteY20" fmla="*/ 432 h 10000"/>
                <a:gd name="connsiteX21" fmla="*/ 0 w 10000"/>
                <a:gd name="connsiteY21" fmla="*/ 603 h 10000"/>
                <a:gd name="connsiteX22" fmla="*/ 0 w 10000"/>
                <a:gd name="connsiteY22" fmla="*/ 603 h 10000"/>
                <a:gd name="connsiteX23" fmla="*/ 1169 w 10000"/>
                <a:gd name="connsiteY23" fmla="*/ 586 h 10000"/>
                <a:gd name="connsiteX24" fmla="*/ 2562 w 10000"/>
                <a:gd name="connsiteY24" fmla="*/ 863 h 10000"/>
                <a:gd name="connsiteX25" fmla="*/ 5309 w 10000"/>
                <a:gd name="connsiteY25" fmla="*/ 1233 h 10000"/>
                <a:gd name="connsiteX26" fmla="*/ 6308 w 10000"/>
                <a:gd name="connsiteY26" fmla="*/ 594 h 10000"/>
                <a:gd name="connsiteX27" fmla="*/ 6377 w 10000"/>
                <a:gd name="connsiteY27" fmla="*/ 298 h 10000"/>
                <a:gd name="connsiteX28" fmla="*/ 6948 w 10000"/>
                <a:gd name="connsiteY28" fmla="*/ 252 h 10000"/>
                <a:gd name="connsiteX29" fmla="*/ 8442 w 10000"/>
                <a:gd name="connsiteY29" fmla="*/ 414 h 10000"/>
                <a:gd name="connsiteX30" fmla="*/ 8766 w 10000"/>
                <a:gd name="connsiteY30" fmla="*/ 1421 h 10000"/>
                <a:gd name="connsiteX31" fmla="*/ 8623 w 10000"/>
                <a:gd name="connsiteY31" fmla="*/ 1528 h 10000"/>
                <a:gd name="connsiteX32" fmla="*/ 8156 w 10000"/>
                <a:gd name="connsiteY32" fmla="*/ 1888 h 10000"/>
                <a:gd name="connsiteX33" fmla="*/ 7194 w 10000"/>
                <a:gd name="connsiteY33" fmla="*/ 3108 h 10000"/>
                <a:gd name="connsiteX34" fmla="*/ 7587 w 10000"/>
                <a:gd name="connsiteY34" fmla="*/ 4169 h 10000"/>
                <a:gd name="connsiteX35" fmla="*/ 8340 w 10000"/>
                <a:gd name="connsiteY35" fmla="*/ 5858 h 10000"/>
                <a:gd name="connsiteX36" fmla="*/ 8304 w 10000"/>
                <a:gd name="connsiteY36" fmla="*/ 5929 h 10000"/>
                <a:gd name="connsiteX37" fmla="*/ 8551 w 10000"/>
                <a:gd name="connsiteY37" fmla="*/ 6252 h 10000"/>
                <a:gd name="connsiteX38" fmla="*/ 8230 w 10000"/>
                <a:gd name="connsiteY38" fmla="*/ 8183 h 10000"/>
                <a:gd name="connsiteX39" fmla="*/ 8979 w 10000"/>
                <a:gd name="connsiteY39" fmla="*/ 9944 h 10000"/>
                <a:gd name="connsiteX40" fmla="*/ 9480 w 10000"/>
                <a:gd name="connsiteY40" fmla="*/ 9998 h 10000"/>
                <a:gd name="connsiteX0" fmla="*/ 9480 w 10000"/>
                <a:gd name="connsiteY0" fmla="*/ 9998 h 10000"/>
                <a:gd name="connsiteX1" fmla="*/ 8657 w 10000"/>
                <a:gd name="connsiteY1" fmla="*/ 8183 h 10000"/>
                <a:gd name="connsiteX2" fmla="*/ 8979 w 10000"/>
                <a:gd name="connsiteY2" fmla="*/ 6252 h 10000"/>
                <a:gd name="connsiteX3" fmla="*/ 9263 w 10000"/>
                <a:gd name="connsiteY3" fmla="*/ 5956 h 10000"/>
                <a:gd name="connsiteX4" fmla="*/ 9300 w 10000"/>
                <a:gd name="connsiteY4" fmla="*/ 5884 h 10000"/>
                <a:gd name="connsiteX5" fmla="*/ 8518 w 10000"/>
                <a:gd name="connsiteY5" fmla="*/ 4097 h 10000"/>
                <a:gd name="connsiteX6" fmla="*/ 8156 w 10000"/>
                <a:gd name="connsiteY6" fmla="*/ 3073 h 10000"/>
                <a:gd name="connsiteX7" fmla="*/ 9018 w 10000"/>
                <a:gd name="connsiteY7" fmla="*/ 2003 h 10000"/>
                <a:gd name="connsiteX8" fmla="*/ 9547 w 10000"/>
                <a:gd name="connsiteY8" fmla="*/ 1600 h 10000"/>
                <a:gd name="connsiteX9" fmla="*/ 9656 w 10000"/>
                <a:gd name="connsiteY9" fmla="*/ 1492 h 10000"/>
                <a:gd name="connsiteX10" fmla="*/ 9189 w 10000"/>
                <a:gd name="connsiteY10" fmla="*/ 262 h 10000"/>
                <a:gd name="connsiteX11" fmla="*/ 6876 w 10000"/>
                <a:gd name="connsiteY11" fmla="*/ 1 h 10000"/>
                <a:gd name="connsiteX12" fmla="*/ 5629 w 10000"/>
                <a:gd name="connsiteY12" fmla="*/ 136 h 10000"/>
                <a:gd name="connsiteX13" fmla="*/ 5339 w 10000"/>
                <a:gd name="connsiteY13" fmla="*/ 621 h 10000"/>
                <a:gd name="connsiteX14" fmla="*/ 4982 w 10000"/>
                <a:gd name="connsiteY14" fmla="*/ 999 h 10000"/>
                <a:gd name="connsiteX15" fmla="*/ 3308 w 10000"/>
                <a:gd name="connsiteY15" fmla="*/ 703 h 10000"/>
                <a:gd name="connsiteX16" fmla="*/ 1144 w 10000"/>
                <a:gd name="connsiteY16" fmla="*/ 307 h 10000"/>
                <a:gd name="connsiteX17" fmla="*/ 73 w 10000"/>
                <a:gd name="connsiteY17" fmla="*/ 280 h 10000"/>
                <a:gd name="connsiteX18" fmla="*/ 73 w 10000"/>
                <a:gd name="connsiteY18" fmla="*/ 280 h 10000"/>
                <a:gd name="connsiteX19" fmla="*/ 924 w 10000"/>
                <a:gd name="connsiteY19" fmla="*/ 432 h 10000"/>
                <a:gd name="connsiteX20" fmla="*/ 0 w 10000"/>
                <a:gd name="connsiteY20" fmla="*/ 603 h 10000"/>
                <a:gd name="connsiteX21" fmla="*/ 0 w 10000"/>
                <a:gd name="connsiteY21" fmla="*/ 603 h 10000"/>
                <a:gd name="connsiteX22" fmla="*/ 1169 w 10000"/>
                <a:gd name="connsiteY22" fmla="*/ 586 h 10000"/>
                <a:gd name="connsiteX23" fmla="*/ 2562 w 10000"/>
                <a:gd name="connsiteY23" fmla="*/ 863 h 10000"/>
                <a:gd name="connsiteX24" fmla="*/ 5309 w 10000"/>
                <a:gd name="connsiteY24" fmla="*/ 1233 h 10000"/>
                <a:gd name="connsiteX25" fmla="*/ 6308 w 10000"/>
                <a:gd name="connsiteY25" fmla="*/ 594 h 10000"/>
                <a:gd name="connsiteX26" fmla="*/ 6377 w 10000"/>
                <a:gd name="connsiteY26" fmla="*/ 298 h 10000"/>
                <a:gd name="connsiteX27" fmla="*/ 6948 w 10000"/>
                <a:gd name="connsiteY27" fmla="*/ 252 h 10000"/>
                <a:gd name="connsiteX28" fmla="*/ 8442 w 10000"/>
                <a:gd name="connsiteY28" fmla="*/ 414 h 10000"/>
                <a:gd name="connsiteX29" fmla="*/ 8766 w 10000"/>
                <a:gd name="connsiteY29" fmla="*/ 1421 h 10000"/>
                <a:gd name="connsiteX30" fmla="*/ 8623 w 10000"/>
                <a:gd name="connsiteY30" fmla="*/ 1528 h 10000"/>
                <a:gd name="connsiteX31" fmla="*/ 8156 w 10000"/>
                <a:gd name="connsiteY31" fmla="*/ 1888 h 10000"/>
                <a:gd name="connsiteX32" fmla="*/ 7194 w 10000"/>
                <a:gd name="connsiteY32" fmla="*/ 3108 h 10000"/>
                <a:gd name="connsiteX33" fmla="*/ 7587 w 10000"/>
                <a:gd name="connsiteY33" fmla="*/ 4169 h 10000"/>
                <a:gd name="connsiteX34" fmla="*/ 8340 w 10000"/>
                <a:gd name="connsiteY34" fmla="*/ 5858 h 10000"/>
                <a:gd name="connsiteX35" fmla="*/ 8304 w 10000"/>
                <a:gd name="connsiteY35" fmla="*/ 5929 h 10000"/>
                <a:gd name="connsiteX36" fmla="*/ 8551 w 10000"/>
                <a:gd name="connsiteY36" fmla="*/ 6252 h 10000"/>
                <a:gd name="connsiteX37" fmla="*/ 8230 w 10000"/>
                <a:gd name="connsiteY37" fmla="*/ 8183 h 10000"/>
                <a:gd name="connsiteX38" fmla="*/ 8979 w 10000"/>
                <a:gd name="connsiteY38" fmla="*/ 9944 h 10000"/>
                <a:gd name="connsiteX39" fmla="*/ 9480 w 10000"/>
                <a:gd name="connsiteY39" fmla="*/ 9998 h 10000"/>
                <a:gd name="connsiteX0" fmla="*/ 8979 w 10000"/>
                <a:gd name="connsiteY0" fmla="*/ 9944 h 9944"/>
                <a:gd name="connsiteX1" fmla="*/ 8657 w 10000"/>
                <a:gd name="connsiteY1" fmla="*/ 8183 h 9944"/>
                <a:gd name="connsiteX2" fmla="*/ 8979 w 10000"/>
                <a:gd name="connsiteY2" fmla="*/ 6252 h 9944"/>
                <a:gd name="connsiteX3" fmla="*/ 9263 w 10000"/>
                <a:gd name="connsiteY3" fmla="*/ 5956 h 9944"/>
                <a:gd name="connsiteX4" fmla="*/ 9300 w 10000"/>
                <a:gd name="connsiteY4" fmla="*/ 5884 h 9944"/>
                <a:gd name="connsiteX5" fmla="*/ 8518 w 10000"/>
                <a:gd name="connsiteY5" fmla="*/ 4097 h 9944"/>
                <a:gd name="connsiteX6" fmla="*/ 8156 w 10000"/>
                <a:gd name="connsiteY6" fmla="*/ 3073 h 9944"/>
                <a:gd name="connsiteX7" fmla="*/ 9018 w 10000"/>
                <a:gd name="connsiteY7" fmla="*/ 2003 h 9944"/>
                <a:gd name="connsiteX8" fmla="*/ 9547 w 10000"/>
                <a:gd name="connsiteY8" fmla="*/ 1600 h 9944"/>
                <a:gd name="connsiteX9" fmla="*/ 9656 w 10000"/>
                <a:gd name="connsiteY9" fmla="*/ 1492 h 9944"/>
                <a:gd name="connsiteX10" fmla="*/ 9189 w 10000"/>
                <a:gd name="connsiteY10" fmla="*/ 262 h 9944"/>
                <a:gd name="connsiteX11" fmla="*/ 6876 w 10000"/>
                <a:gd name="connsiteY11" fmla="*/ 1 h 9944"/>
                <a:gd name="connsiteX12" fmla="*/ 5629 w 10000"/>
                <a:gd name="connsiteY12" fmla="*/ 136 h 9944"/>
                <a:gd name="connsiteX13" fmla="*/ 5339 w 10000"/>
                <a:gd name="connsiteY13" fmla="*/ 621 h 9944"/>
                <a:gd name="connsiteX14" fmla="*/ 4982 w 10000"/>
                <a:gd name="connsiteY14" fmla="*/ 999 h 9944"/>
                <a:gd name="connsiteX15" fmla="*/ 3308 w 10000"/>
                <a:gd name="connsiteY15" fmla="*/ 703 h 9944"/>
                <a:gd name="connsiteX16" fmla="*/ 1144 w 10000"/>
                <a:gd name="connsiteY16" fmla="*/ 307 h 9944"/>
                <a:gd name="connsiteX17" fmla="*/ 73 w 10000"/>
                <a:gd name="connsiteY17" fmla="*/ 280 h 9944"/>
                <a:gd name="connsiteX18" fmla="*/ 73 w 10000"/>
                <a:gd name="connsiteY18" fmla="*/ 280 h 9944"/>
                <a:gd name="connsiteX19" fmla="*/ 924 w 10000"/>
                <a:gd name="connsiteY19" fmla="*/ 432 h 9944"/>
                <a:gd name="connsiteX20" fmla="*/ 0 w 10000"/>
                <a:gd name="connsiteY20" fmla="*/ 603 h 9944"/>
                <a:gd name="connsiteX21" fmla="*/ 0 w 10000"/>
                <a:gd name="connsiteY21" fmla="*/ 603 h 9944"/>
                <a:gd name="connsiteX22" fmla="*/ 1169 w 10000"/>
                <a:gd name="connsiteY22" fmla="*/ 586 h 9944"/>
                <a:gd name="connsiteX23" fmla="*/ 2562 w 10000"/>
                <a:gd name="connsiteY23" fmla="*/ 863 h 9944"/>
                <a:gd name="connsiteX24" fmla="*/ 5309 w 10000"/>
                <a:gd name="connsiteY24" fmla="*/ 1233 h 9944"/>
                <a:gd name="connsiteX25" fmla="*/ 6308 w 10000"/>
                <a:gd name="connsiteY25" fmla="*/ 594 h 9944"/>
                <a:gd name="connsiteX26" fmla="*/ 6377 w 10000"/>
                <a:gd name="connsiteY26" fmla="*/ 298 h 9944"/>
                <a:gd name="connsiteX27" fmla="*/ 6948 w 10000"/>
                <a:gd name="connsiteY27" fmla="*/ 252 h 9944"/>
                <a:gd name="connsiteX28" fmla="*/ 8442 w 10000"/>
                <a:gd name="connsiteY28" fmla="*/ 414 h 9944"/>
                <a:gd name="connsiteX29" fmla="*/ 8766 w 10000"/>
                <a:gd name="connsiteY29" fmla="*/ 1421 h 9944"/>
                <a:gd name="connsiteX30" fmla="*/ 8623 w 10000"/>
                <a:gd name="connsiteY30" fmla="*/ 1528 h 9944"/>
                <a:gd name="connsiteX31" fmla="*/ 8156 w 10000"/>
                <a:gd name="connsiteY31" fmla="*/ 1888 h 9944"/>
                <a:gd name="connsiteX32" fmla="*/ 7194 w 10000"/>
                <a:gd name="connsiteY32" fmla="*/ 3108 h 9944"/>
                <a:gd name="connsiteX33" fmla="*/ 7587 w 10000"/>
                <a:gd name="connsiteY33" fmla="*/ 4169 h 9944"/>
                <a:gd name="connsiteX34" fmla="*/ 8340 w 10000"/>
                <a:gd name="connsiteY34" fmla="*/ 5858 h 9944"/>
                <a:gd name="connsiteX35" fmla="*/ 8304 w 10000"/>
                <a:gd name="connsiteY35" fmla="*/ 5929 h 9944"/>
                <a:gd name="connsiteX36" fmla="*/ 8551 w 10000"/>
                <a:gd name="connsiteY36" fmla="*/ 6252 h 9944"/>
                <a:gd name="connsiteX37" fmla="*/ 8230 w 10000"/>
                <a:gd name="connsiteY37" fmla="*/ 8183 h 9944"/>
                <a:gd name="connsiteX38" fmla="*/ 8979 w 10000"/>
                <a:gd name="connsiteY38" fmla="*/ 9944 h 9944"/>
                <a:gd name="connsiteX0" fmla="*/ 8230 w 10000"/>
                <a:gd name="connsiteY0" fmla="*/ 8229 h 8472"/>
                <a:gd name="connsiteX1" fmla="*/ 8657 w 10000"/>
                <a:gd name="connsiteY1" fmla="*/ 8229 h 8472"/>
                <a:gd name="connsiteX2" fmla="*/ 8979 w 10000"/>
                <a:gd name="connsiteY2" fmla="*/ 6287 h 8472"/>
                <a:gd name="connsiteX3" fmla="*/ 9263 w 10000"/>
                <a:gd name="connsiteY3" fmla="*/ 5990 h 8472"/>
                <a:gd name="connsiteX4" fmla="*/ 9300 w 10000"/>
                <a:gd name="connsiteY4" fmla="*/ 5917 h 8472"/>
                <a:gd name="connsiteX5" fmla="*/ 8518 w 10000"/>
                <a:gd name="connsiteY5" fmla="*/ 4120 h 8472"/>
                <a:gd name="connsiteX6" fmla="*/ 8156 w 10000"/>
                <a:gd name="connsiteY6" fmla="*/ 3090 h 8472"/>
                <a:gd name="connsiteX7" fmla="*/ 9018 w 10000"/>
                <a:gd name="connsiteY7" fmla="*/ 2014 h 8472"/>
                <a:gd name="connsiteX8" fmla="*/ 9547 w 10000"/>
                <a:gd name="connsiteY8" fmla="*/ 1609 h 8472"/>
                <a:gd name="connsiteX9" fmla="*/ 9656 w 10000"/>
                <a:gd name="connsiteY9" fmla="*/ 1500 h 8472"/>
                <a:gd name="connsiteX10" fmla="*/ 9189 w 10000"/>
                <a:gd name="connsiteY10" fmla="*/ 263 h 8472"/>
                <a:gd name="connsiteX11" fmla="*/ 6876 w 10000"/>
                <a:gd name="connsiteY11" fmla="*/ 1 h 8472"/>
                <a:gd name="connsiteX12" fmla="*/ 5629 w 10000"/>
                <a:gd name="connsiteY12" fmla="*/ 137 h 8472"/>
                <a:gd name="connsiteX13" fmla="*/ 5339 w 10000"/>
                <a:gd name="connsiteY13" fmla="*/ 624 h 8472"/>
                <a:gd name="connsiteX14" fmla="*/ 4982 w 10000"/>
                <a:gd name="connsiteY14" fmla="*/ 1005 h 8472"/>
                <a:gd name="connsiteX15" fmla="*/ 3308 w 10000"/>
                <a:gd name="connsiteY15" fmla="*/ 707 h 8472"/>
                <a:gd name="connsiteX16" fmla="*/ 1144 w 10000"/>
                <a:gd name="connsiteY16" fmla="*/ 309 h 8472"/>
                <a:gd name="connsiteX17" fmla="*/ 73 w 10000"/>
                <a:gd name="connsiteY17" fmla="*/ 282 h 8472"/>
                <a:gd name="connsiteX18" fmla="*/ 73 w 10000"/>
                <a:gd name="connsiteY18" fmla="*/ 282 h 8472"/>
                <a:gd name="connsiteX19" fmla="*/ 924 w 10000"/>
                <a:gd name="connsiteY19" fmla="*/ 434 h 8472"/>
                <a:gd name="connsiteX20" fmla="*/ 0 w 10000"/>
                <a:gd name="connsiteY20" fmla="*/ 606 h 8472"/>
                <a:gd name="connsiteX21" fmla="*/ 0 w 10000"/>
                <a:gd name="connsiteY21" fmla="*/ 606 h 8472"/>
                <a:gd name="connsiteX22" fmla="*/ 1169 w 10000"/>
                <a:gd name="connsiteY22" fmla="*/ 589 h 8472"/>
                <a:gd name="connsiteX23" fmla="*/ 2562 w 10000"/>
                <a:gd name="connsiteY23" fmla="*/ 868 h 8472"/>
                <a:gd name="connsiteX24" fmla="*/ 5309 w 10000"/>
                <a:gd name="connsiteY24" fmla="*/ 1240 h 8472"/>
                <a:gd name="connsiteX25" fmla="*/ 6308 w 10000"/>
                <a:gd name="connsiteY25" fmla="*/ 597 h 8472"/>
                <a:gd name="connsiteX26" fmla="*/ 6377 w 10000"/>
                <a:gd name="connsiteY26" fmla="*/ 300 h 8472"/>
                <a:gd name="connsiteX27" fmla="*/ 6948 w 10000"/>
                <a:gd name="connsiteY27" fmla="*/ 253 h 8472"/>
                <a:gd name="connsiteX28" fmla="*/ 8442 w 10000"/>
                <a:gd name="connsiteY28" fmla="*/ 416 h 8472"/>
                <a:gd name="connsiteX29" fmla="*/ 8766 w 10000"/>
                <a:gd name="connsiteY29" fmla="*/ 1429 h 8472"/>
                <a:gd name="connsiteX30" fmla="*/ 8623 w 10000"/>
                <a:gd name="connsiteY30" fmla="*/ 1537 h 8472"/>
                <a:gd name="connsiteX31" fmla="*/ 8156 w 10000"/>
                <a:gd name="connsiteY31" fmla="*/ 1899 h 8472"/>
                <a:gd name="connsiteX32" fmla="*/ 7194 w 10000"/>
                <a:gd name="connsiteY32" fmla="*/ 3126 h 8472"/>
                <a:gd name="connsiteX33" fmla="*/ 7587 w 10000"/>
                <a:gd name="connsiteY33" fmla="*/ 4192 h 8472"/>
                <a:gd name="connsiteX34" fmla="*/ 8340 w 10000"/>
                <a:gd name="connsiteY34" fmla="*/ 5891 h 8472"/>
                <a:gd name="connsiteX35" fmla="*/ 8304 w 10000"/>
                <a:gd name="connsiteY35" fmla="*/ 5962 h 8472"/>
                <a:gd name="connsiteX36" fmla="*/ 8551 w 10000"/>
                <a:gd name="connsiteY36" fmla="*/ 6287 h 8472"/>
                <a:gd name="connsiteX37" fmla="*/ 8230 w 10000"/>
                <a:gd name="connsiteY37" fmla="*/ 8229 h 8472"/>
                <a:gd name="connsiteX0" fmla="*/ 8551 w 10000"/>
                <a:gd name="connsiteY0" fmla="*/ 7421 h 9713"/>
                <a:gd name="connsiteX1" fmla="*/ 8657 w 10000"/>
                <a:gd name="connsiteY1" fmla="*/ 9713 h 9713"/>
                <a:gd name="connsiteX2" fmla="*/ 8979 w 10000"/>
                <a:gd name="connsiteY2" fmla="*/ 7421 h 9713"/>
                <a:gd name="connsiteX3" fmla="*/ 9263 w 10000"/>
                <a:gd name="connsiteY3" fmla="*/ 7070 h 9713"/>
                <a:gd name="connsiteX4" fmla="*/ 9300 w 10000"/>
                <a:gd name="connsiteY4" fmla="*/ 6984 h 9713"/>
                <a:gd name="connsiteX5" fmla="*/ 8518 w 10000"/>
                <a:gd name="connsiteY5" fmla="*/ 4863 h 9713"/>
                <a:gd name="connsiteX6" fmla="*/ 8156 w 10000"/>
                <a:gd name="connsiteY6" fmla="*/ 3647 h 9713"/>
                <a:gd name="connsiteX7" fmla="*/ 9018 w 10000"/>
                <a:gd name="connsiteY7" fmla="*/ 2377 h 9713"/>
                <a:gd name="connsiteX8" fmla="*/ 9547 w 10000"/>
                <a:gd name="connsiteY8" fmla="*/ 1899 h 9713"/>
                <a:gd name="connsiteX9" fmla="*/ 9656 w 10000"/>
                <a:gd name="connsiteY9" fmla="*/ 1771 h 9713"/>
                <a:gd name="connsiteX10" fmla="*/ 9189 w 10000"/>
                <a:gd name="connsiteY10" fmla="*/ 310 h 9713"/>
                <a:gd name="connsiteX11" fmla="*/ 6876 w 10000"/>
                <a:gd name="connsiteY11" fmla="*/ 1 h 9713"/>
                <a:gd name="connsiteX12" fmla="*/ 5629 w 10000"/>
                <a:gd name="connsiteY12" fmla="*/ 162 h 9713"/>
                <a:gd name="connsiteX13" fmla="*/ 5339 w 10000"/>
                <a:gd name="connsiteY13" fmla="*/ 737 h 9713"/>
                <a:gd name="connsiteX14" fmla="*/ 4982 w 10000"/>
                <a:gd name="connsiteY14" fmla="*/ 1186 h 9713"/>
                <a:gd name="connsiteX15" fmla="*/ 3308 w 10000"/>
                <a:gd name="connsiteY15" fmla="*/ 835 h 9713"/>
                <a:gd name="connsiteX16" fmla="*/ 1144 w 10000"/>
                <a:gd name="connsiteY16" fmla="*/ 365 h 9713"/>
                <a:gd name="connsiteX17" fmla="*/ 73 w 10000"/>
                <a:gd name="connsiteY17" fmla="*/ 333 h 9713"/>
                <a:gd name="connsiteX18" fmla="*/ 73 w 10000"/>
                <a:gd name="connsiteY18" fmla="*/ 333 h 9713"/>
                <a:gd name="connsiteX19" fmla="*/ 924 w 10000"/>
                <a:gd name="connsiteY19" fmla="*/ 512 h 9713"/>
                <a:gd name="connsiteX20" fmla="*/ 0 w 10000"/>
                <a:gd name="connsiteY20" fmla="*/ 715 h 9713"/>
                <a:gd name="connsiteX21" fmla="*/ 0 w 10000"/>
                <a:gd name="connsiteY21" fmla="*/ 715 h 9713"/>
                <a:gd name="connsiteX22" fmla="*/ 1169 w 10000"/>
                <a:gd name="connsiteY22" fmla="*/ 695 h 9713"/>
                <a:gd name="connsiteX23" fmla="*/ 2562 w 10000"/>
                <a:gd name="connsiteY23" fmla="*/ 1025 h 9713"/>
                <a:gd name="connsiteX24" fmla="*/ 5309 w 10000"/>
                <a:gd name="connsiteY24" fmla="*/ 1464 h 9713"/>
                <a:gd name="connsiteX25" fmla="*/ 6308 w 10000"/>
                <a:gd name="connsiteY25" fmla="*/ 705 h 9713"/>
                <a:gd name="connsiteX26" fmla="*/ 6377 w 10000"/>
                <a:gd name="connsiteY26" fmla="*/ 354 h 9713"/>
                <a:gd name="connsiteX27" fmla="*/ 6948 w 10000"/>
                <a:gd name="connsiteY27" fmla="*/ 299 h 9713"/>
                <a:gd name="connsiteX28" fmla="*/ 8442 w 10000"/>
                <a:gd name="connsiteY28" fmla="*/ 491 h 9713"/>
                <a:gd name="connsiteX29" fmla="*/ 8766 w 10000"/>
                <a:gd name="connsiteY29" fmla="*/ 1687 h 9713"/>
                <a:gd name="connsiteX30" fmla="*/ 8623 w 10000"/>
                <a:gd name="connsiteY30" fmla="*/ 1814 h 9713"/>
                <a:gd name="connsiteX31" fmla="*/ 8156 w 10000"/>
                <a:gd name="connsiteY31" fmla="*/ 2242 h 9713"/>
                <a:gd name="connsiteX32" fmla="*/ 7194 w 10000"/>
                <a:gd name="connsiteY32" fmla="*/ 3690 h 9713"/>
                <a:gd name="connsiteX33" fmla="*/ 7587 w 10000"/>
                <a:gd name="connsiteY33" fmla="*/ 4948 h 9713"/>
                <a:gd name="connsiteX34" fmla="*/ 8340 w 10000"/>
                <a:gd name="connsiteY34" fmla="*/ 6953 h 9713"/>
                <a:gd name="connsiteX35" fmla="*/ 8304 w 10000"/>
                <a:gd name="connsiteY35" fmla="*/ 7037 h 9713"/>
                <a:gd name="connsiteX36" fmla="*/ 8551 w 10000"/>
                <a:gd name="connsiteY36" fmla="*/ 7421 h 9713"/>
                <a:gd name="connsiteX0" fmla="*/ 8551 w 10000"/>
                <a:gd name="connsiteY0" fmla="*/ 7640 h 7687"/>
                <a:gd name="connsiteX1" fmla="*/ 8979 w 10000"/>
                <a:gd name="connsiteY1" fmla="*/ 7640 h 7687"/>
                <a:gd name="connsiteX2" fmla="*/ 9263 w 10000"/>
                <a:gd name="connsiteY2" fmla="*/ 7279 h 7687"/>
                <a:gd name="connsiteX3" fmla="*/ 9300 w 10000"/>
                <a:gd name="connsiteY3" fmla="*/ 7190 h 7687"/>
                <a:gd name="connsiteX4" fmla="*/ 8518 w 10000"/>
                <a:gd name="connsiteY4" fmla="*/ 5007 h 7687"/>
                <a:gd name="connsiteX5" fmla="*/ 8156 w 10000"/>
                <a:gd name="connsiteY5" fmla="*/ 3755 h 7687"/>
                <a:gd name="connsiteX6" fmla="*/ 9018 w 10000"/>
                <a:gd name="connsiteY6" fmla="*/ 2447 h 7687"/>
                <a:gd name="connsiteX7" fmla="*/ 9547 w 10000"/>
                <a:gd name="connsiteY7" fmla="*/ 1955 h 7687"/>
                <a:gd name="connsiteX8" fmla="*/ 9656 w 10000"/>
                <a:gd name="connsiteY8" fmla="*/ 1823 h 7687"/>
                <a:gd name="connsiteX9" fmla="*/ 9189 w 10000"/>
                <a:gd name="connsiteY9" fmla="*/ 319 h 7687"/>
                <a:gd name="connsiteX10" fmla="*/ 6876 w 10000"/>
                <a:gd name="connsiteY10" fmla="*/ 1 h 7687"/>
                <a:gd name="connsiteX11" fmla="*/ 5629 w 10000"/>
                <a:gd name="connsiteY11" fmla="*/ 167 h 7687"/>
                <a:gd name="connsiteX12" fmla="*/ 5339 w 10000"/>
                <a:gd name="connsiteY12" fmla="*/ 759 h 7687"/>
                <a:gd name="connsiteX13" fmla="*/ 4982 w 10000"/>
                <a:gd name="connsiteY13" fmla="*/ 1221 h 7687"/>
                <a:gd name="connsiteX14" fmla="*/ 3308 w 10000"/>
                <a:gd name="connsiteY14" fmla="*/ 860 h 7687"/>
                <a:gd name="connsiteX15" fmla="*/ 1144 w 10000"/>
                <a:gd name="connsiteY15" fmla="*/ 376 h 7687"/>
                <a:gd name="connsiteX16" fmla="*/ 73 w 10000"/>
                <a:gd name="connsiteY16" fmla="*/ 343 h 7687"/>
                <a:gd name="connsiteX17" fmla="*/ 73 w 10000"/>
                <a:gd name="connsiteY17" fmla="*/ 343 h 7687"/>
                <a:gd name="connsiteX18" fmla="*/ 924 w 10000"/>
                <a:gd name="connsiteY18" fmla="*/ 527 h 7687"/>
                <a:gd name="connsiteX19" fmla="*/ 0 w 10000"/>
                <a:gd name="connsiteY19" fmla="*/ 736 h 7687"/>
                <a:gd name="connsiteX20" fmla="*/ 0 w 10000"/>
                <a:gd name="connsiteY20" fmla="*/ 736 h 7687"/>
                <a:gd name="connsiteX21" fmla="*/ 1169 w 10000"/>
                <a:gd name="connsiteY21" fmla="*/ 716 h 7687"/>
                <a:gd name="connsiteX22" fmla="*/ 2562 w 10000"/>
                <a:gd name="connsiteY22" fmla="*/ 1055 h 7687"/>
                <a:gd name="connsiteX23" fmla="*/ 5309 w 10000"/>
                <a:gd name="connsiteY23" fmla="*/ 1507 h 7687"/>
                <a:gd name="connsiteX24" fmla="*/ 6308 w 10000"/>
                <a:gd name="connsiteY24" fmla="*/ 726 h 7687"/>
                <a:gd name="connsiteX25" fmla="*/ 6377 w 10000"/>
                <a:gd name="connsiteY25" fmla="*/ 364 h 7687"/>
                <a:gd name="connsiteX26" fmla="*/ 6948 w 10000"/>
                <a:gd name="connsiteY26" fmla="*/ 308 h 7687"/>
                <a:gd name="connsiteX27" fmla="*/ 8442 w 10000"/>
                <a:gd name="connsiteY27" fmla="*/ 506 h 7687"/>
                <a:gd name="connsiteX28" fmla="*/ 8766 w 10000"/>
                <a:gd name="connsiteY28" fmla="*/ 1737 h 7687"/>
                <a:gd name="connsiteX29" fmla="*/ 8623 w 10000"/>
                <a:gd name="connsiteY29" fmla="*/ 1868 h 7687"/>
                <a:gd name="connsiteX30" fmla="*/ 8156 w 10000"/>
                <a:gd name="connsiteY30" fmla="*/ 2308 h 7687"/>
                <a:gd name="connsiteX31" fmla="*/ 7194 w 10000"/>
                <a:gd name="connsiteY31" fmla="*/ 3799 h 7687"/>
                <a:gd name="connsiteX32" fmla="*/ 7587 w 10000"/>
                <a:gd name="connsiteY32" fmla="*/ 5094 h 7687"/>
                <a:gd name="connsiteX33" fmla="*/ 8340 w 10000"/>
                <a:gd name="connsiteY33" fmla="*/ 7158 h 7687"/>
                <a:gd name="connsiteX34" fmla="*/ 8304 w 10000"/>
                <a:gd name="connsiteY34" fmla="*/ 7245 h 7687"/>
                <a:gd name="connsiteX35" fmla="*/ 8551 w 10000"/>
                <a:gd name="connsiteY35" fmla="*/ 7640 h 7687"/>
                <a:gd name="connsiteX0" fmla="*/ 8304 w 10000"/>
                <a:gd name="connsiteY0" fmla="*/ 9425 h 9939"/>
                <a:gd name="connsiteX1" fmla="*/ 8979 w 10000"/>
                <a:gd name="connsiteY1" fmla="*/ 9939 h 9939"/>
                <a:gd name="connsiteX2" fmla="*/ 9263 w 10000"/>
                <a:gd name="connsiteY2" fmla="*/ 9469 h 9939"/>
                <a:gd name="connsiteX3" fmla="*/ 9300 w 10000"/>
                <a:gd name="connsiteY3" fmla="*/ 9353 h 9939"/>
                <a:gd name="connsiteX4" fmla="*/ 8518 w 10000"/>
                <a:gd name="connsiteY4" fmla="*/ 6514 h 9939"/>
                <a:gd name="connsiteX5" fmla="*/ 8156 w 10000"/>
                <a:gd name="connsiteY5" fmla="*/ 4885 h 9939"/>
                <a:gd name="connsiteX6" fmla="*/ 9018 w 10000"/>
                <a:gd name="connsiteY6" fmla="*/ 3183 h 9939"/>
                <a:gd name="connsiteX7" fmla="*/ 9547 w 10000"/>
                <a:gd name="connsiteY7" fmla="*/ 2543 h 9939"/>
                <a:gd name="connsiteX8" fmla="*/ 9656 w 10000"/>
                <a:gd name="connsiteY8" fmla="*/ 2372 h 9939"/>
                <a:gd name="connsiteX9" fmla="*/ 9189 w 10000"/>
                <a:gd name="connsiteY9" fmla="*/ 415 h 9939"/>
                <a:gd name="connsiteX10" fmla="*/ 6876 w 10000"/>
                <a:gd name="connsiteY10" fmla="*/ 1 h 9939"/>
                <a:gd name="connsiteX11" fmla="*/ 5629 w 10000"/>
                <a:gd name="connsiteY11" fmla="*/ 217 h 9939"/>
                <a:gd name="connsiteX12" fmla="*/ 5339 w 10000"/>
                <a:gd name="connsiteY12" fmla="*/ 987 h 9939"/>
                <a:gd name="connsiteX13" fmla="*/ 4982 w 10000"/>
                <a:gd name="connsiteY13" fmla="*/ 1588 h 9939"/>
                <a:gd name="connsiteX14" fmla="*/ 3308 w 10000"/>
                <a:gd name="connsiteY14" fmla="*/ 1119 h 9939"/>
                <a:gd name="connsiteX15" fmla="*/ 1144 w 10000"/>
                <a:gd name="connsiteY15" fmla="*/ 489 h 9939"/>
                <a:gd name="connsiteX16" fmla="*/ 73 w 10000"/>
                <a:gd name="connsiteY16" fmla="*/ 446 h 9939"/>
                <a:gd name="connsiteX17" fmla="*/ 73 w 10000"/>
                <a:gd name="connsiteY17" fmla="*/ 446 h 9939"/>
                <a:gd name="connsiteX18" fmla="*/ 924 w 10000"/>
                <a:gd name="connsiteY18" fmla="*/ 686 h 9939"/>
                <a:gd name="connsiteX19" fmla="*/ 0 w 10000"/>
                <a:gd name="connsiteY19" fmla="*/ 957 h 9939"/>
                <a:gd name="connsiteX20" fmla="*/ 0 w 10000"/>
                <a:gd name="connsiteY20" fmla="*/ 957 h 9939"/>
                <a:gd name="connsiteX21" fmla="*/ 1169 w 10000"/>
                <a:gd name="connsiteY21" fmla="*/ 931 h 9939"/>
                <a:gd name="connsiteX22" fmla="*/ 2562 w 10000"/>
                <a:gd name="connsiteY22" fmla="*/ 1372 h 9939"/>
                <a:gd name="connsiteX23" fmla="*/ 5309 w 10000"/>
                <a:gd name="connsiteY23" fmla="*/ 1960 h 9939"/>
                <a:gd name="connsiteX24" fmla="*/ 6308 w 10000"/>
                <a:gd name="connsiteY24" fmla="*/ 944 h 9939"/>
                <a:gd name="connsiteX25" fmla="*/ 6377 w 10000"/>
                <a:gd name="connsiteY25" fmla="*/ 474 h 9939"/>
                <a:gd name="connsiteX26" fmla="*/ 6948 w 10000"/>
                <a:gd name="connsiteY26" fmla="*/ 401 h 9939"/>
                <a:gd name="connsiteX27" fmla="*/ 8442 w 10000"/>
                <a:gd name="connsiteY27" fmla="*/ 658 h 9939"/>
                <a:gd name="connsiteX28" fmla="*/ 8766 w 10000"/>
                <a:gd name="connsiteY28" fmla="*/ 2260 h 9939"/>
                <a:gd name="connsiteX29" fmla="*/ 8623 w 10000"/>
                <a:gd name="connsiteY29" fmla="*/ 2430 h 9939"/>
                <a:gd name="connsiteX30" fmla="*/ 8156 w 10000"/>
                <a:gd name="connsiteY30" fmla="*/ 3002 h 9939"/>
                <a:gd name="connsiteX31" fmla="*/ 7194 w 10000"/>
                <a:gd name="connsiteY31" fmla="*/ 4942 h 9939"/>
                <a:gd name="connsiteX32" fmla="*/ 7587 w 10000"/>
                <a:gd name="connsiteY32" fmla="*/ 6627 h 9939"/>
                <a:gd name="connsiteX33" fmla="*/ 8340 w 10000"/>
                <a:gd name="connsiteY33" fmla="*/ 9312 h 9939"/>
                <a:gd name="connsiteX34" fmla="*/ 8304 w 10000"/>
                <a:gd name="connsiteY34" fmla="*/ 9425 h 9939"/>
                <a:gd name="connsiteX0" fmla="*/ 8304 w 10000"/>
                <a:gd name="connsiteY0" fmla="*/ 9483 h 9529"/>
                <a:gd name="connsiteX1" fmla="*/ 9263 w 10000"/>
                <a:gd name="connsiteY1" fmla="*/ 9527 h 9529"/>
                <a:gd name="connsiteX2" fmla="*/ 9300 w 10000"/>
                <a:gd name="connsiteY2" fmla="*/ 9410 h 9529"/>
                <a:gd name="connsiteX3" fmla="*/ 8518 w 10000"/>
                <a:gd name="connsiteY3" fmla="*/ 6554 h 9529"/>
                <a:gd name="connsiteX4" fmla="*/ 8156 w 10000"/>
                <a:gd name="connsiteY4" fmla="*/ 4915 h 9529"/>
                <a:gd name="connsiteX5" fmla="*/ 9018 w 10000"/>
                <a:gd name="connsiteY5" fmla="*/ 3203 h 9529"/>
                <a:gd name="connsiteX6" fmla="*/ 9547 w 10000"/>
                <a:gd name="connsiteY6" fmla="*/ 2559 h 9529"/>
                <a:gd name="connsiteX7" fmla="*/ 9656 w 10000"/>
                <a:gd name="connsiteY7" fmla="*/ 2387 h 9529"/>
                <a:gd name="connsiteX8" fmla="*/ 9189 w 10000"/>
                <a:gd name="connsiteY8" fmla="*/ 418 h 9529"/>
                <a:gd name="connsiteX9" fmla="*/ 6876 w 10000"/>
                <a:gd name="connsiteY9" fmla="*/ 1 h 9529"/>
                <a:gd name="connsiteX10" fmla="*/ 5629 w 10000"/>
                <a:gd name="connsiteY10" fmla="*/ 218 h 9529"/>
                <a:gd name="connsiteX11" fmla="*/ 5339 w 10000"/>
                <a:gd name="connsiteY11" fmla="*/ 993 h 9529"/>
                <a:gd name="connsiteX12" fmla="*/ 4982 w 10000"/>
                <a:gd name="connsiteY12" fmla="*/ 1598 h 9529"/>
                <a:gd name="connsiteX13" fmla="*/ 3308 w 10000"/>
                <a:gd name="connsiteY13" fmla="*/ 1126 h 9529"/>
                <a:gd name="connsiteX14" fmla="*/ 1144 w 10000"/>
                <a:gd name="connsiteY14" fmla="*/ 492 h 9529"/>
                <a:gd name="connsiteX15" fmla="*/ 73 w 10000"/>
                <a:gd name="connsiteY15" fmla="*/ 449 h 9529"/>
                <a:gd name="connsiteX16" fmla="*/ 73 w 10000"/>
                <a:gd name="connsiteY16" fmla="*/ 449 h 9529"/>
                <a:gd name="connsiteX17" fmla="*/ 924 w 10000"/>
                <a:gd name="connsiteY17" fmla="*/ 690 h 9529"/>
                <a:gd name="connsiteX18" fmla="*/ 0 w 10000"/>
                <a:gd name="connsiteY18" fmla="*/ 963 h 9529"/>
                <a:gd name="connsiteX19" fmla="*/ 0 w 10000"/>
                <a:gd name="connsiteY19" fmla="*/ 963 h 9529"/>
                <a:gd name="connsiteX20" fmla="*/ 1169 w 10000"/>
                <a:gd name="connsiteY20" fmla="*/ 937 h 9529"/>
                <a:gd name="connsiteX21" fmla="*/ 2562 w 10000"/>
                <a:gd name="connsiteY21" fmla="*/ 1380 h 9529"/>
                <a:gd name="connsiteX22" fmla="*/ 5309 w 10000"/>
                <a:gd name="connsiteY22" fmla="*/ 1972 h 9529"/>
                <a:gd name="connsiteX23" fmla="*/ 6308 w 10000"/>
                <a:gd name="connsiteY23" fmla="*/ 950 h 9529"/>
                <a:gd name="connsiteX24" fmla="*/ 6377 w 10000"/>
                <a:gd name="connsiteY24" fmla="*/ 477 h 9529"/>
                <a:gd name="connsiteX25" fmla="*/ 6948 w 10000"/>
                <a:gd name="connsiteY25" fmla="*/ 403 h 9529"/>
                <a:gd name="connsiteX26" fmla="*/ 8442 w 10000"/>
                <a:gd name="connsiteY26" fmla="*/ 662 h 9529"/>
                <a:gd name="connsiteX27" fmla="*/ 8766 w 10000"/>
                <a:gd name="connsiteY27" fmla="*/ 2274 h 9529"/>
                <a:gd name="connsiteX28" fmla="*/ 8623 w 10000"/>
                <a:gd name="connsiteY28" fmla="*/ 2445 h 9529"/>
                <a:gd name="connsiteX29" fmla="*/ 8156 w 10000"/>
                <a:gd name="connsiteY29" fmla="*/ 3020 h 9529"/>
                <a:gd name="connsiteX30" fmla="*/ 7194 w 10000"/>
                <a:gd name="connsiteY30" fmla="*/ 4972 h 9529"/>
                <a:gd name="connsiteX31" fmla="*/ 7587 w 10000"/>
                <a:gd name="connsiteY31" fmla="*/ 6668 h 9529"/>
                <a:gd name="connsiteX32" fmla="*/ 8340 w 10000"/>
                <a:gd name="connsiteY32" fmla="*/ 9369 h 9529"/>
                <a:gd name="connsiteX33" fmla="*/ 8304 w 10000"/>
                <a:gd name="connsiteY33" fmla="*/ 9483 h 9529"/>
                <a:gd name="connsiteX0" fmla="*/ 8640 w 10336"/>
                <a:gd name="connsiteY0" fmla="*/ 9952 h 10000"/>
                <a:gd name="connsiteX1" fmla="*/ 9599 w 10336"/>
                <a:gd name="connsiteY1" fmla="*/ 9998 h 10000"/>
                <a:gd name="connsiteX2" fmla="*/ 9636 w 10336"/>
                <a:gd name="connsiteY2" fmla="*/ 9875 h 10000"/>
                <a:gd name="connsiteX3" fmla="*/ 8854 w 10336"/>
                <a:gd name="connsiteY3" fmla="*/ 6878 h 10000"/>
                <a:gd name="connsiteX4" fmla="*/ 8492 w 10336"/>
                <a:gd name="connsiteY4" fmla="*/ 5158 h 10000"/>
                <a:gd name="connsiteX5" fmla="*/ 9354 w 10336"/>
                <a:gd name="connsiteY5" fmla="*/ 3361 h 10000"/>
                <a:gd name="connsiteX6" fmla="*/ 9883 w 10336"/>
                <a:gd name="connsiteY6" fmla="*/ 2685 h 10000"/>
                <a:gd name="connsiteX7" fmla="*/ 9992 w 10336"/>
                <a:gd name="connsiteY7" fmla="*/ 2505 h 10000"/>
                <a:gd name="connsiteX8" fmla="*/ 9525 w 10336"/>
                <a:gd name="connsiteY8" fmla="*/ 439 h 10000"/>
                <a:gd name="connsiteX9" fmla="*/ 7212 w 10336"/>
                <a:gd name="connsiteY9" fmla="*/ 1 h 10000"/>
                <a:gd name="connsiteX10" fmla="*/ 5965 w 10336"/>
                <a:gd name="connsiteY10" fmla="*/ 229 h 10000"/>
                <a:gd name="connsiteX11" fmla="*/ 5675 w 10336"/>
                <a:gd name="connsiteY11" fmla="*/ 1042 h 10000"/>
                <a:gd name="connsiteX12" fmla="*/ 5318 w 10336"/>
                <a:gd name="connsiteY12" fmla="*/ 1677 h 10000"/>
                <a:gd name="connsiteX13" fmla="*/ 3644 w 10336"/>
                <a:gd name="connsiteY13" fmla="*/ 1182 h 10000"/>
                <a:gd name="connsiteX14" fmla="*/ 1480 w 10336"/>
                <a:gd name="connsiteY14" fmla="*/ 516 h 10000"/>
                <a:gd name="connsiteX15" fmla="*/ 409 w 10336"/>
                <a:gd name="connsiteY15" fmla="*/ 471 h 10000"/>
                <a:gd name="connsiteX16" fmla="*/ 409 w 10336"/>
                <a:gd name="connsiteY16" fmla="*/ 471 h 10000"/>
                <a:gd name="connsiteX17" fmla="*/ 1260 w 10336"/>
                <a:gd name="connsiteY17" fmla="*/ 724 h 10000"/>
                <a:gd name="connsiteX18" fmla="*/ 336 w 10336"/>
                <a:gd name="connsiteY18" fmla="*/ 1011 h 10000"/>
                <a:gd name="connsiteX19" fmla="*/ 0 w 10336"/>
                <a:gd name="connsiteY19" fmla="*/ 1025 h 10000"/>
                <a:gd name="connsiteX20" fmla="*/ 1505 w 10336"/>
                <a:gd name="connsiteY20" fmla="*/ 983 h 10000"/>
                <a:gd name="connsiteX21" fmla="*/ 2898 w 10336"/>
                <a:gd name="connsiteY21" fmla="*/ 1448 h 10000"/>
                <a:gd name="connsiteX22" fmla="*/ 5645 w 10336"/>
                <a:gd name="connsiteY22" fmla="*/ 2069 h 10000"/>
                <a:gd name="connsiteX23" fmla="*/ 6644 w 10336"/>
                <a:gd name="connsiteY23" fmla="*/ 997 h 10000"/>
                <a:gd name="connsiteX24" fmla="*/ 6713 w 10336"/>
                <a:gd name="connsiteY24" fmla="*/ 501 h 10000"/>
                <a:gd name="connsiteX25" fmla="*/ 7284 w 10336"/>
                <a:gd name="connsiteY25" fmla="*/ 423 h 10000"/>
                <a:gd name="connsiteX26" fmla="*/ 8778 w 10336"/>
                <a:gd name="connsiteY26" fmla="*/ 695 h 10000"/>
                <a:gd name="connsiteX27" fmla="*/ 9102 w 10336"/>
                <a:gd name="connsiteY27" fmla="*/ 2386 h 10000"/>
                <a:gd name="connsiteX28" fmla="*/ 8959 w 10336"/>
                <a:gd name="connsiteY28" fmla="*/ 2566 h 10000"/>
                <a:gd name="connsiteX29" fmla="*/ 8492 w 10336"/>
                <a:gd name="connsiteY29" fmla="*/ 3169 h 10000"/>
                <a:gd name="connsiteX30" fmla="*/ 7530 w 10336"/>
                <a:gd name="connsiteY30" fmla="*/ 5218 h 10000"/>
                <a:gd name="connsiteX31" fmla="*/ 7923 w 10336"/>
                <a:gd name="connsiteY31" fmla="*/ 6998 h 10000"/>
                <a:gd name="connsiteX32" fmla="*/ 8676 w 10336"/>
                <a:gd name="connsiteY32" fmla="*/ 9832 h 10000"/>
                <a:gd name="connsiteX33" fmla="*/ 8640 w 10336"/>
                <a:gd name="connsiteY33" fmla="*/ 9952 h 10000"/>
                <a:gd name="connsiteX0" fmla="*/ 8640 w 10336"/>
                <a:gd name="connsiteY0" fmla="*/ 9952 h 10000"/>
                <a:gd name="connsiteX1" fmla="*/ 9599 w 10336"/>
                <a:gd name="connsiteY1" fmla="*/ 9998 h 10000"/>
                <a:gd name="connsiteX2" fmla="*/ 9636 w 10336"/>
                <a:gd name="connsiteY2" fmla="*/ 9875 h 10000"/>
                <a:gd name="connsiteX3" fmla="*/ 8854 w 10336"/>
                <a:gd name="connsiteY3" fmla="*/ 6878 h 10000"/>
                <a:gd name="connsiteX4" fmla="*/ 8492 w 10336"/>
                <a:gd name="connsiteY4" fmla="*/ 5158 h 10000"/>
                <a:gd name="connsiteX5" fmla="*/ 9354 w 10336"/>
                <a:gd name="connsiteY5" fmla="*/ 3361 h 10000"/>
                <a:gd name="connsiteX6" fmla="*/ 9883 w 10336"/>
                <a:gd name="connsiteY6" fmla="*/ 2685 h 10000"/>
                <a:gd name="connsiteX7" fmla="*/ 9992 w 10336"/>
                <a:gd name="connsiteY7" fmla="*/ 2505 h 10000"/>
                <a:gd name="connsiteX8" fmla="*/ 9525 w 10336"/>
                <a:gd name="connsiteY8" fmla="*/ 439 h 10000"/>
                <a:gd name="connsiteX9" fmla="*/ 7212 w 10336"/>
                <a:gd name="connsiteY9" fmla="*/ 1 h 10000"/>
                <a:gd name="connsiteX10" fmla="*/ 5965 w 10336"/>
                <a:gd name="connsiteY10" fmla="*/ 229 h 10000"/>
                <a:gd name="connsiteX11" fmla="*/ 5675 w 10336"/>
                <a:gd name="connsiteY11" fmla="*/ 1042 h 10000"/>
                <a:gd name="connsiteX12" fmla="*/ 5318 w 10336"/>
                <a:gd name="connsiteY12" fmla="*/ 1677 h 10000"/>
                <a:gd name="connsiteX13" fmla="*/ 3644 w 10336"/>
                <a:gd name="connsiteY13" fmla="*/ 1182 h 10000"/>
                <a:gd name="connsiteX14" fmla="*/ 1480 w 10336"/>
                <a:gd name="connsiteY14" fmla="*/ 516 h 10000"/>
                <a:gd name="connsiteX15" fmla="*/ 409 w 10336"/>
                <a:gd name="connsiteY15" fmla="*/ 471 h 10000"/>
                <a:gd name="connsiteX16" fmla="*/ 409 w 10336"/>
                <a:gd name="connsiteY16" fmla="*/ 471 h 10000"/>
                <a:gd name="connsiteX17" fmla="*/ 896 w 10336"/>
                <a:gd name="connsiteY17" fmla="*/ 724 h 10000"/>
                <a:gd name="connsiteX18" fmla="*/ 336 w 10336"/>
                <a:gd name="connsiteY18" fmla="*/ 1011 h 10000"/>
                <a:gd name="connsiteX19" fmla="*/ 0 w 10336"/>
                <a:gd name="connsiteY19" fmla="*/ 1025 h 10000"/>
                <a:gd name="connsiteX20" fmla="*/ 1505 w 10336"/>
                <a:gd name="connsiteY20" fmla="*/ 983 h 10000"/>
                <a:gd name="connsiteX21" fmla="*/ 2898 w 10336"/>
                <a:gd name="connsiteY21" fmla="*/ 1448 h 10000"/>
                <a:gd name="connsiteX22" fmla="*/ 5645 w 10336"/>
                <a:gd name="connsiteY22" fmla="*/ 2069 h 10000"/>
                <a:gd name="connsiteX23" fmla="*/ 6644 w 10336"/>
                <a:gd name="connsiteY23" fmla="*/ 997 h 10000"/>
                <a:gd name="connsiteX24" fmla="*/ 6713 w 10336"/>
                <a:gd name="connsiteY24" fmla="*/ 501 h 10000"/>
                <a:gd name="connsiteX25" fmla="*/ 7284 w 10336"/>
                <a:gd name="connsiteY25" fmla="*/ 423 h 10000"/>
                <a:gd name="connsiteX26" fmla="*/ 8778 w 10336"/>
                <a:gd name="connsiteY26" fmla="*/ 695 h 10000"/>
                <a:gd name="connsiteX27" fmla="*/ 9102 w 10336"/>
                <a:gd name="connsiteY27" fmla="*/ 2386 h 10000"/>
                <a:gd name="connsiteX28" fmla="*/ 8959 w 10336"/>
                <a:gd name="connsiteY28" fmla="*/ 2566 h 10000"/>
                <a:gd name="connsiteX29" fmla="*/ 8492 w 10336"/>
                <a:gd name="connsiteY29" fmla="*/ 3169 h 10000"/>
                <a:gd name="connsiteX30" fmla="*/ 7530 w 10336"/>
                <a:gd name="connsiteY30" fmla="*/ 5218 h 10000"/>
                <a:gd name="connsiteX31" fmla="*/ 7923 w 10336"/>
                <a:gd name="connsiteY31" fmla="*/ 6998 h 10000"/>
                <a:gd name="connsiteX32" fmla="*/ 8676 w 10336"/>
                <a:gd name="connsiteY32" fmla="*/ 9832 h 10000"/>
                <a:gd name="connsiteX33" fmla="*/ 8640 w 10336"/>
                <a:gd name="connsiteY33" fmla="*/ 9952 h 10000"/>
                <a:gd name="connsiteX0" fmla="*/ 8640 w 10336"/>
                <a:gd name="connsiteY0" fmla="*/ 9952 h 10000"/>
                <a:gd name="connsiteX1" fmla="*/ 9599 w 10336"/>
                <a:gd name="connsiteY1" fmla="*/ 9998 h 10000"/>
                <a:gd name="connsiteX2" fmla="*/ 9636 w 10336"/>
                <a:gd name="connsiteY2" fmla="*/ 9875 h 10000"/>
                <a:gd name="connsiteX3" fmla="*/ 8854 w 10336"/>
                <a:gd name="connsiteY3" fmla="*/ 6878 h 10000"/>
                <a:gd name="connsiteX4" fmla="*/ 8492 w 10336"/>
                <a:gd name="connsiteY4" fmla="*/ 5158 h 10000"/>
                <a:gd name="connsiteX5" fmla="*/ 9354 w 10336"/>
                <a:gd name="connsiteY5" fmla="*/ 3361 h 10000"/>
                <a:gd name="connsiteX6" fmla="*/ 9883 w 10336"/>
                <a:gd name="connsiteY6" fmla="*/ 2685 h 10000"/>
                <a:gd name="connsiteX7" fmla="*/ 9992 w 10336"/>
                <a:gd name="connsiteY7" fmla="*/ 2505 h 10000"/>
                <a:gd name="connsiteX8" fmla="*/ 9525 w 10336"/>
                <a:gd name="connsiteY8" fmla="*/ 439 h 10000"/>
                <a:gd name="connsiteX9" fmla="*/ 7212 w 10336"/>
                <a:gd name="connsiteY9" fmla="*/ 1 h 10000"/>
                <a:gd name="connsiteX10" fmla="*/ 5965 w 10336"/>
                <a:gd name="connsiteY10" fmla="*/ 229 h 10000"/>
                <a:gd name="connsiteX11" fmla="*/ 5675 w 10336"/>
                <a:gd name="connsiteY11" fmla="*/ 1042 h 10000"/>
                <a:gd name="connsiteX12" fmla="*/ 5318 w 10336"/>
                <a:gd name="connsiteY12" fmla="*/ 1677 h 10000"/>
                <a:gd name="connsiteX13" fmla="*/ 3644 w 10336"/>
                <a:gd name="connsiteY13" fmla="*/ 1182 h 10000"/>
                <a:gd name="connsiteX14" fmla="*/ 1480 w 10336"/>
                <a:gd name="connsiteY14" fmla="*/ 516 h 10000"/>
                <a:gd name="connsiteX15" fmla="*/ 409 w 10336"/>
                <a:gd name="connsiteY15" fmla="*/ 471 h 10000"/>
                <a:gd name="connsiteX16" fmla="*/ 45 w 10336"/>
                <a:gd name="connsiteY16" fmla="*/ 471 h 10000"/>
                <a:gd name="connsiteX17" fmla="*/ 896 w 10336"/>
                <a:gd name="connsiteY17" fmla="*/ 724 h 10000"/>
                <a:gd name="connsiteX18" fmla="*/ 336 w 10336"/>
                <a:gd name="connsiteY18" fmla="*/ 1011 h 10000"/>
                <a:gd name="connsiteX19" fmla="*/ 0 w 10336"/>
                <a:gd name="connsiteY19" fmla="*/ 1025 h 10000"/>
                <a:gd name="connsiteX20" fmla="*/ 1505 w 10336"/>
                <a:gd name="connsiteY20" fmla="*/ 983 h 10000"/>
                <a:gd name="connsiteX21" fmla="*/ 2898 w 10336"/>
                <a:gd name="connsiteY21" fmla="*/ 1448 h 10000"/>
                <a:gd name="connsiteX22" fmla="*/ 5645 w 10336"/>
                <a:gd name="connsiteY22" fmla="*/ 2069 h 10000"/>
                <a:gd name="connsiteX23" fmla="*/ 6644 w 10336"/>
                <a:gd name="connsiteY23" fmla="*/ 997 h 10000"/>
                <a:gd name="connsiteX24" fmla="*/ 6713 w 10336"/>
                <a:gd name="connsiteY24" fmla="*/ 501 h 10000"/>
                <a:gd name="connsiteX25" fmla="*/ 7284 w 10336"/>
                <a:gd name="connsiteY25" fmla="*/ 423 h 10000"/>
                <a:gd name="connsiteX26" fmla="*/ 8778 w 10336"/>
                <a:gd name="connsiteY26" fmla="*/ 695 h 10000"/>
                <a:gd name="connsiteX27" fmla="*/ 9102 w 10336"/>
                <a:gd name="connsiteY27" fmla="*/ 2386 h 10000"/>
                <a:gd name="connsiteX28" fmla="*/ 8959 w 10336"/>
                <a:gd name="connsiteY28" fmla="*/ 2566 h 10000"/>
                <a:gd name="connsiteX29" fmla="*/ 8492 w 10336"/>
                <a:gd name="connsiteY29" fmla="*/ 3169 h 10000"/>
                <a:gd name="connsiteX30" fmla="*/ 7530 w 10336"/>
                <a:gd name="connsiteY30" fmla="*/ 5218 h 10000"/>
                <a:gd name="connsiteX31" fmla="*/ 7923 w 10336"/>
                <a:gd name="connsiteY31" fmla="*/ 6998 h 10000"/>
                <a:gd name="connsiteX32" fmla="*/ 8676 w 10336"/>
                <a:gd name="connsiteY32" fmla="*/ 9832 h 10000"/>
                <a:gd name="connsiteX33" fmla="*/ 8640 w 10336"/>
                <a:gd name="connsiteY33" fmla="*/ 9952 h 10000"/>
                <a:gd name="connsiteX0" fmla="*/ 8640 w 10429"/>
                <a:gd name="connsiteY0" fmla="*/ 9952 h 10000"/>
                <a:gd name="connsiteX1" fmla="*/ 9599 w 10429"/>
                <a:gd name="connsiteY1" fmla="*/ 9998 h 10000"/>
                <a:gd name="connsiteX2" fmla="*/ 9636 w 10429"/>
                <a:gd name="connsiteY2" fmla="*/ 9875 h 10000"/>
                <a:gd name="connsiteX3" fmla="*/ 8854 w 10429"/>
                <a:gd name="connsiteY3" fmla="*/ 6878 h 10000"/>
                <a:gd name="connsiteX4" fmla="*/ 8492 w 10429"/>
                <a:gd name="connsiteY4" fmla="*/ 5158 h 10000"/>
                <a:gd name="connsiteX5" fmla="*/ 9354 w 10429"/>
                <a:gd name="connsiteY5" fmla="*/ 3361 h 10000"/>
                <a:gd name="connsiteX6" fmla="*/ 9883 w 10429"/>
                <a:gd name="connsiteY6" fmla="*/ 2685 h 10000"/>
                <a:gd name="connsiteX7" fmla="*/ 9992 w 10429"/>
                <a:gd name="connsiteY7" fmla="*/ 2505 h 10000"/>
                <a:gd name="connsiteX8" fmla="*/ 10057 w 10429"/>
                <a:gd name="connsiteY8" fmla="*/ 726 h 10000"/>
                <a:gd name="connsiteX9" fmla="*/ 7212 w 10429"/>
                <a:gd name="connsiteY9" fmla="*/ 1 h 10000"/>
                <a:gd name="connsiteX10" fmla="*/ 5965 w 10429"/>
                <a:gd name="connsiteY10" fmla="*/ 229 h 10000"/>
                <a:gd name="connsiteX11" fmla="*/ 5675 w 10429"/>
                <a:gd name="connsiteY11" fmla="*/ 1042 h 10000"/>
                <a:gd name="connsiteX12" fmla="*/ 5318 w 10429"/>
                <a:gd name="connsiteY12" fmla="*/ 1677 h 10000"/>
                <a:gd name="connsiteX13" fmla="*/ 3644 w 10429"/>
                <a:gd name="connsiteY13" fmla="*/ 1182 h 10000"/>
                <a:gd name="connsiteX14" fmla="*/ 1480 w 10429"/>
                <a:gd name="connsiteY14" fmla="*/ 516 h 10000"/>
                <a:gd name="connsiteX15" fmla="*/ 409 w 10429"/>
                <a:gd name="connsiteY15" fmla="*/ 471 h 10000"/>
                <a:gd name="connsiteX16" fmla="*/ 45 w 10429"/>
                <a:gd name="connsiteY16" fmla="*/ 471 h 10000"/>
                <a:gd name="connsiteX17" fmla="*/ 896 w 10429"/>
                <a:gd name="connsiteY17" fmla="*/ 724 h 10000"/>
                <a:gd name="connsiteX18" fmla="*/ 336 w 10429"/>
                <a:gd name="connsiteY18" fmla="*/ 1011 h 10000"/>
                <a:gd name="connsiteX19" fmla="*/ 0 w 10429"/>
                <a:gd name="connsiteY19" fmla="*/ 1025 h 10000"/>
                <a:gd name="connsiteX20" fmla="*/ 1505 w 10429"/>
                <a:gd name="connsiteY20" fmla="*/ 983 h 10000"/>
                <a:gd name="connsiteX21" fmla="*/ 2898 w 10429"/>
                <a:gd name="connsiteY21" fmla="*/ 1448 h 10000"/>
                <a:gd name="connsiteX22" fmla="*/ 5645 w 10429"/>
                <a:gd name="connsiteY22" fmla="*/ 2069 h 10000"/>
                <a:gd name="connsiteX23" fmla="*/ 6644 w 10429"/>
                <a:gd name="connsiteY23" fmla="*/ 997 h 10000"/>
                <a:gd name="connsiteX24" fmla="*/ 6713 w 10429"/>
                <a:gd name="connsiteY24" fmla="*/ 501 h 10000"/>
                <a:gd name="connsiteX25" fmla="*/ 7284 w 10429"/>
                <a:gd name="connsiteY25" fmla="*/ 423 h 10000"/>
                <a:gd name="connsiteX26" fmla="*/ 8778 w 10429"/>
                <a:gd name="connsiteY26" fmla="*/ 695 h 10000"/>
                <a:gd name="connsiteX27" fmla="*/ 9102 w 10429"/>
                <a:gd name="connsiteY27" fmla="*/ 2386 h 10000"/>
                <a:gd name="connsiteX28" fmla="*/ 8959 w 10429"/>
                <a:gd name="connsiteY28" fmla="*/ 2566 h 10000"/>
                <a:gd name="connsiteX29" fmla="*/ 8492 w 10429"/>
                <a:gd name="connsiteY29" fmla="*/ 3169 h 10000"/>
                <a:gd name="connsiteX30" fmla="*/ 7530 w 10429"/>
                <a:gd name="connsiteY30" fmla="*/ 5218 h 10000"/>
                <a:gd name="connsiteX31" fmla="*/ 7923 w 10429"/>
                <a:gd name="connsiteY31" fmla="*/ 6998 h 10000"/>
                <a:gd name="connsiteX32" fmla="*/ 8676 w 10429"/>
                <a:gd name="connsiteY32" fmla="*/ 9832 h 10000"/>
                <a:gd name="connsiteX33" fmla="*/ 8640 w 10429"/>
                <a:gd name="connsiteY33" fmla="*/ 9952 h 10000"/>
                <a:gd name="connsiteX0" fmla="*/ 8640 w 10429"/>
                <a:gd name="connsiteY0" fmla="*/ 9952 h 10000"/>
                <a:gd name="connsiteX1" fmla="*/ 9599 w 10429"/>
                <a:gd name="connsiteY1" fmla="*/ 9998 h 10000"/>
                <a:gd name="connsiteX2" fmla="*/ 9636 w 10429"/>
                <a:gd name="connsiteY2" fmla="*/ 9875 h 10000"/>
                <a:gd name="connsiteX3" fmla="*/ 8854 w 10429"/>
                <a:gd name="connsiteY3" fmla="*/ 6878 h 10000"/>
                <a:gd name="connsiteX4" fmla="*/ 8492 w 10429"/>
                <a:gd name="connsiteY4" fmla="*/ 5158 h 10000"/>
                <a:gd name="connsiteX5" fmla="*/ 9354 w 10429"/>
                <a:gd name="connsiteY5" fmla="*/ 3361 h 10000"/>
                <a:gd name="connsiteX6" fmla="*/ 9883 w 10429"/>
                <a:gd name="connsiteY6" fmla="*/ 2685 h 10000"/>
                <a:gd name="connsiteX7" fmla="*/ 9992 w 10429"/>
                <a:gd name="connsiteY7" fmla="*/ 2505 h 10000"/>
                <a:gd name="connsiteX8" fmla="*/ 10057 w 10429"/>
                <a:gd name="connsiteY8" fmla="*/ 726 h 10000"/>
                <a:gd name="connsiteX9" fmla="*/ 7212 w 10429"/>
                <a:gd name="connsiteY9" fmla="*/ 1 h 10000"/>
                <a:gd name="connsiteX10" fmla="*/ 5965 w 10429"/>
                <a:gd name="connsiteY10" fmla="*/ 229 h 10000"/>
                <a:gd name="connsiteX11" fmla="*/ 5675 w 10429"/>
                <a:gd name="connsiteY11" fmla="*/ 1042 h 10000"/>
                <a:gd name="connsiteX12" fmla="*/ 5318 w 10429"/>
                <a:gd name="connsiteY12" fmla="*/ 1677 h 10000"/>
                <a:gd name="connsiteX13" fmla="*/ 3644 w 10429"/>
                <a:gd name="connsiteY13" fmla="*/ 1182 h 10000"/>
                <a:gd name="connsiteX14" fmla="*/ 1480 w 10429"/>
                <a:gd name="connsiteY14" fmla="*/ 516 h 10000"/>
                <a:gd name="connsiteX15" fmla="*/ 409 w 10429"/>
                <a:gd name="connsiteY15" fmla="*/ 471 h 10000"/>
                <a:gd name="connsiteX16" fmla="*/ 45 w 10429"/>
                <a:gd name="connsiteY16" fmla="*/ 471 h 10000"/>
                <a:gd name="connsiteX17" fmla="*/ 896 w 10429"/>
                <a:gd name="connsiteY17" fmla="*/ 724 h 10000"/>
                <a:gd name="connsiteX18" fmla="*/ 336 w 10429"/>
                <a:gd name="connsiteY18" fmla="*/ 1011 h 10000"/>
                <a:gd name="connsiteX19" fmla="*/ 0 w 10429"/>
                <a:gd name="connsiteY19" fmla="*/ 1025 h 10000"/>
                <a:gd name="connsiteX20" fmla="*/ 1505 w 10429"/>
                <a:gd name="connsiteY20" fmla="*/ 983 h 10000"/>
                <a:gd name="connsiteX21" fmla="*/ 2898 w 10429"/>
                <a:gd name="connsiteY21" fmla="*/ 1448 h 10000"/>
                <a:gd name="connsiteX22" fmla="*/ 5645 w 10429"/>
                <a:gd name="connsiteY22" fmla="*/ 2069 h 10000"/>
                <a:gd name="connsiteX23" fmla="*/ 6644 w 10429"/>
                <a:gd name="connsiteY23" fmla="*/ 997 h 10000"/>
                <a:gd name="connsiteX24" fmla="*/ 6713 w 10429"/>
                <a:gd name="connsiteY24" fmla="*/ 501 h 10000"/>
                <a:gd name="connsiteX25" fmla="*/ 7284 w 10429"/>
                <a:gd name="connsiteY25" fmla="*/ 423 h 10000"/>
                <a:gd name="connsiteX26" fmla="*/ 8778 w 10429"/>
                <a:gd name="connsiteY26" fmla="*/ 695 h 10000"/>
                <a:gd name="connsiteX27" fmla="*/ 9102 w 10429"/>
                <a:gd name="connsiteY27" fmla="*/ 2386 h 10000"/>
                <a:gd name="connsiteX28" fmla="*/ 8959 w 10429"/>
                <a:gd name="connsiteY28" fmla="*/ 2566 h 10000"/>
                <a:gd name="connsiteX29" fmla="*/ 8492 w 10429"/>
                <a:gd name="connsiteY29" fmla="*/ 3169 h 10000"/>
                <a:gd name="connsiteX30" fmla="*/ 7530 w 10429"/>
                <a:gd name="connsiteY30" fmla="*/ 5218 h 10000"/>
                <a:gd name="connsiteX31" fmla="*/ 7923 w 10429"/>
                <a:gd name="connsiteY31" fmla="*/ 6998 h 10000"/>
                <a:gd name="connsiteX32" fmla="*/ 8676 w 10429"/>
                <a:gd name="connsiteY32" fmla="*/ 9832 h 10000"/>
                <a:gd name="connsiteX33" fmla="*/ 8640 w 10429"/>
                <a:gd name="connsiteY33" fmla="*/ 9952 h 10000"/>
                <a:gd name="connsiteX0" fmla="*/ 8640 w 10475"/>
                <a:gd name="connsiteY0" fmla="*/ 9952 h 10000"/>
                <a:gd name="connsiteX1" fmla="*/ 9599 w 10475"/>
                <a:gd name="connsiteY1" fmla="*/ 9998 h 10000"/>
                <a:gd name="connsiteX2" fmla="*/ 9636 w 10475"/>
                <a:gd name="connsiteY2" fmla="*/ 9875 h 10000"/>
                <a:gd name="connsiteX3" fmla="*/ 8854 w 10475"/>
                <a:gd name="connsiteY3" fmla="*/ 6878 h 10000"/>
                <a:gd name="connsiteX4" fmla="*/ 8492 w 10475"/>
                <a:gd name="connsiteY4" fmla="*/ 5158 h 10000"/>
                <a:gd name="connsiteX5" fmla="*/ 9354 w 10475"/>
                <a:gd name="connsiteY5" fmla="*/ 3361 h 10000"/>
                <a:gd name="connsiteX6" fmla="*/ 9883 w 10475"/>
                <a:gd name="connsiteY6" fmla="*/ 2685 h 10000"/>
                <a:gd name="connsiteX7" fmla="*/ 10160 w 10475"/>
                <a:gd name="connsiteY7" fmla="*/ 2390 h 10000"/>
                <a:gd name="connsiteX8" fmla="*/ 10057 w 10475"/>
                <a:gd name="connsiteY8" fmla="*/ 726 h 10000"/>
                <a:gd name="connsiteX9" fmla="*/ 7212 w 10475"/>
                <a:gd name="connsiteY9" fmla="*/ 1 h 10000"/>
                <a:gd name="connsiteX10" fmla="*/ 5965 w 10475"/>
                <a:gd name="connsiteY10" fmla="*/ 229 h 10000"/>
                <a:gd name="connsiteX11" fmla="*/ 5675 w 10475"/>
                <a:gd name="connsiteY11" fmla="*/ 1042 h 10000"/>
                <a:gd name="connsiteX12" fmla="*/ 5318 w 10475"/>
                <a:gd name="connsiteY12" fmla="*/ 1677 h 10000"/>
                <a:gd name="connsiteX13" fmla="*/ 3644 w 10475"/>
                <a:gd name="connsiteY13" fmla="*/ 1182 h 10000"/>
                <a:gd name="connsiteX14" fmla="*/ 1480 w 10475"/>
                <a:gd name="connsiteY14" fmla="*/ 516 h 10000"/>
                <a:gd name="connsiteX15" fmla="*/ 409 w 10475"/>
                <a:gd name="connsiteY15" fmla="*/ 471 h 10000"/>
                <a:gd name="connsiteX16" fmla="*/ 45 w 10475"/>
                <a:gd name="connsiteY16" fmla="*/ 471 h 10000"/>
                <a:gd name="connsiteX17" fmla="*/ 896 w 10475"/>
                <a:gd name="connsiteY17" fmla="*/ 724 h 10000"/>
                <a:gd name="connsiteX18" fmla="*/ 336 w 10475"/>
                <a:gd name="connsiteY18" fmla="*/ 1011 h 10000"/>
                <a:gd name="connsiteX19" fmla="*/ 0 w 10475"/>
                <a:gd name="connsiteY19" fmla="*/ 1025 h 10000"/>
                <a:gd name="connsiteX20" fmla="*/ 1505 w 10475"/>
                <a:gd name="connsiteY20" fmla="*/ 983 h 10000"/>
                <a:gd name="connsiteX21" fmla="*/ 2898 w 10475"/>
                <a:gd name="connsiteY21" fmla="*/ 1448 h 10000"/>
                <a:gd name="connsiteX22" fmla="*/ 5645 w 10475"/>
                <a:gd name="connsiteY22" fmla="*/ 2069 h 10000"/>
                <a:gd name="connsiteX23" fmla="*/ 6644 w 10475"/>
                <a:gd name="connsiteY23" fmla="*/ 997 h 10000"/>
                <a:gd name="connsiteX24" fmla="*/ 6713 w 10475"/>
                <a:gd name="connsiteY24" fmla="*/ 501 h 10000"/>
                <a:gd name="connsiteX25" fmla="*/ 7284 w 10475"/>
                <a:gd name="connsiteY25" fmla="*/ 423 h 10000"/>
                <a:gd name="connsiteX26" fmla="*/ 8778 w 10475"/>
                <a:gd name="connsiteY26" fmla="*/ 695 h 10000"/>
                <a:gd name="connsiteX27" fmla="*/ 9102 w 10475"/>
                <a:gd name="connsiteY27" fmla="*/ 2386 h 10000"/>
                <a:gd name="connsiteX28" fmla="*/ 8959 w 10475"/>
                <a:gd name="connsiteY28" fmla="*/ 2566 h 10000"/>
                <a:gd name="connsiteX29" fmla="*/ 8492 w 10475"/>
                <a:gd name="connsiteY29" fmla="*/ 3169 h 10000"/>
                <a:gd name="connsiteX30" fmla="*/ 7530 w 10475"/>
                <a:gd name="connsiteY30" fmla="*/ 5218 h 10000"/>
                <a:gd name="connsiteX31" fmla="*/ 7923 w 10475"/>
                <a:gd name="connsiteY31" fmla="*/ 6998 h 10000"/>
                <a:gd name="connsiteX32" fmla="*/ 8676 w 10475"/>
                <a:gd name="connsiteY32" fmla="*/ 9832 h 10000"/>
                <a:gd name="connsiteX33" fmla="*/ 8640 w 10475"/>
                <a:gd name="connsiteY33" fmla="*/ 9952 h 10000"/>
                <a:gd name="connsiteX0" fmla="*/ 8640 w 10555"/>
                <a:gd name="connsiteY0" fmla="*/ 9952 h 10000"/>
                <a:gd name="connsiteX1" fmla="*/ 9599 w 10555"/>
                <a:gd name="connsiteY1" fmla="*/ 9998 h 10000"/>
                <a:gd name="connsiteX2" fmla="*/ 9636 w 10555"/>
                <a:gd name="connsiteY2" fmla="*/ 9875 h 10000"/>
                <a:gd name="connsiteX3" fmla="*/ 8854 w 10555"/>
                <a:gd name="connsiteY3" fmla="*/ 6878 h 10000"/>
                <a:gd name="connsiteX4" fmla="*/ 8492 w 10555"/>
                <a:gd name="connsiteY4" fmla="*/ 5158 h 10000"/>
                <a:gd name="connsiteX5" fmla="*/ 9354 w 10555"/>
                <a:gd name="connsiteY5" fmla="*/ 3361 h 10000"/>
                <a:gd name="connsiteX6" fmla="*/ 9883 w 10555"/>
                <a:gd name="connsiteY6" fmla="*/ 2685 h 10000"/>
                <a:gd name="connsiteX7" fmla="*/ 10160 w 10555"/>
                <a:gd name="connsiteY7" fmla="*/ 2390 h 10000"/>
                <a:gd name="connsiteX8" fmla="*/ 10057 w 10555"/>
                <a:gd name="connsiteY8" fmla="*/ 726 h 10000"/>
                <a:gd name="connsiteX9" fmla="*/ 7212 w 10555"/>
                <a:gd name="connsiteY9" fmla="*/ 1 h 10000"/>
                <a:gd name="connsiteX10" fmla="*/ 5965 w 10555"/>
                <a:gd name="connsiteY10" fmla="*/ 229 h 10000"/>
                <a:gd name="connsiteX11" fmla="*/ 5675 w 10555"/>
                <a:gd name="connsiteY11" fmla="*/ 1042 h 10000"/>
                <a:gd name="connsiteX12" fmla="*/ 5318 w 10555"/>
                <a:gd name="connsiteY12" fmla="*/ 1677 h 10000"/>
                <a:gd name="connsiteX13" fmla="*/ 3644 w 10555"/>
                <a:gd name="connsiteY13" fmla="*/ 1182 h 10000"/>
                <a:gd name="connsiteX14" fmla="*/ 1480 w 10555"/>
                <a:gd name="connsiteY14" fmla="*/ 516 h 10000"/>
                <a:gd name="connsiteX15" fmla="*/ 409 w 10555"/>
                <a:gd name="connsiteY15" fmla="*/ 471 h 10000"/>
                <a:gd name="connsiteX16" fmla="*/ 45 w 10555"/>
                <a:gd name="connsiteY16" fmla="*/ 471 h 10000"/>
                <a:gd name="connsiteX17" fmla="*/ 896 w 10555"/>
                <a:gd name="connsiteY17" fmla="*/ 724 h 10000"/>
                <a:gd name="connsiteX18" fmla="*/ 336 w 10555"/>
                <a:gd name="connsiteY18" fmla="*/ 1011 h 10000"/>
                <a:gd name="connsiteX19" fmla="*/ 0 w 10555"/>
                <a:gd name="connsiteY19" fmla="*/ 1025 h 10000"/>
                <a:gd name="connsiteX20" fmla="*/ 1505 w 10555"/>
                <a:gd name="connsiteY20" fmla="*/ 983 h 10000"/>
                <a:gd name="connsiteX21" fmla="*/ 2898 w 10555"/>
                <a:gd name="connsiteY21" fmla="*/ 1448 h 10000"/>
                <a:gd name="connsiteX22" fmla="*/ 5645 w 10555"/>
                <a:gd name="connsiteY22" fmla="*/ 2069 h 10000"/>
                <a:gd name="connsiteX23" fmla="*/ 6644 w 10555"/>
                <a:gd name="connsiteY23" fmla="*/ 997 h 10000"/>
                <a:gd name="connsiteX24" fmla="*/ 6713 w 10555"/>
                <a:gd name="connsiteY24" fmla="*/ 501 h 10000"/>
                <a:gd name="connsiteX25" fmla="*/ 7284 w 10555"/>
                <a:gd name="connsiteY25" fmla="*/ 423 h 10000"/>
                <a:gd name="connsiteX26" fmla="*/ 8778 w 10555"/>
                <a:gd name="connsiteY26" fmla="*/ 695 h 10000"/>
                <a:gd name="connsiteX27" fmla="*/ 9102 w 10555"/>
                <a:gd name="connsiteY27" fmla="*/ 2386 h 10000"/>
                <a:gd name="connsiteX28" fmla="*/ 8959 w 10555"/>
                <a:gd name="connsiteY28" fmla="*/ 2566 h 10000"/>
                <a:gd name="connsiteX29" fmla="*/ 8492 w 10555"/>
                <a:gd name="connsiteY29" fmla="*/ 3169 h 10000"/>
                <a:gd name="connsiteX30" fmla="*/ 7530 w 10555"/>
                <a:gd name="connsiteY30" fmla="*/ 5218 h 10000"/>
                <a:gd name="connsiteX31" fmla="*/ 7923 w 10555"/>
                <a:gd name="connsiteY31" fmla="*/ 6998 h 10000"/>
                <a:gd name="connsiteX32" fmla="*/ 8676 w 10555"/>
                <a:gd name="connsiteY32" fmla="*/ 9832 h 10000"/>
                <a:gd name="connsiteX33" fmla="*/ 8640 w 10555"/>
                <a:gd name="connsiteY33" fmla="*/ 9952 h 10000"/>
                <a:gd name="connsiteX0" fmla="*/ 8640 w 10514"/>
                <a:gd name="connsiteY0" fmla="*/ 9952 h 10000"/>
                <a:gd name="connsiteX1" fmla="*/ 9599 w 10514"/>
                <a:gd name="connsiteY1" fmla="*/ 9998 h 10000"/>
                <a:gd name="connsiteX2" fmla="*/ 9636 w 10514"/>
                <a:gd name="connsiteY2" fmla="*/ 9875 h 10000"/>
                <a:gd name="connsiteX3" fmla="*/ 8854 w 10514"/>
                <a:gd name="connsiteY3" fmla="*/ 6878 h 10000"/>
                <a:gd name="connsiteX4" fmla="*/ 8492 w 10514"/>
                <a:gd name="connsiteY4" fmla="*/ 5158 h 10000"/>
                <a:gd name="connsiteX5" fmla="*/ 9354 w 10514"/>
                <a:gd name="connsiteY5" fmla="*/ 3361 h 10000"/>
                <a:gd name="connsiteX6" fmla="*/ 9883 w 10514"/>
                <a:gd name="connsiteY6" fmla="*/ 2685 h 10000"/>
                <a:gd name="connsiteX7" fmla="*/ 10048 w 10514"/>
                <a:gd name="connsiteY7" fmla="*/ 2433 h 10000"/>
                <a:gd name="connsiteX8" fmla="*/ 10057 w 10514"/>
                <a:gd name="connsiteY8" fmla="*/ 726 h 10000"/>
                <a:gd name="connsiteX9" fmla="*/ 7212 w 10514"/>
                <a:gd name="connsiteY9" fmla="*/ 1 h 10000"/>
                <a:gd name="connsiteX10" fmla="*/ 5965 w 10514"/>
                <a:gd name="connsiteY10" fmla="*/ 229 h 10000"/>
                <a:gd name="connsiteX11" fmla="*/ 5675 w 10514"/>
                <a:gd name="connsiteY11" fmla="*/ 1042 h 10000"/>
                <a:gd name="connsiteX12" fmla="*/ 5318 w 10514"/>
                <a:gd name="connsiteY12" fmla="*/ 1677 h 10000"/>
                <a:gd name="connsiteX13" fmla="*/ 3644 w 10514"/>
                <a:gd name="connsiteY13" fmla="*/ 1182 h 10000"/>
                <a:gd name="connsiteX14" fmla="*/ 1480 w 10514"/>
                <a:gd name="connsiteY14" fmla="*/ 516 h 10000"/>
                <a:gd name="connsiteX15" fmla="*/ 409 w 10514"/>
                <a:gd name="connsiteY15" fmla="*/ 471 h 10000"/>
                <a:gd name="connsiteX16" fmla="*/ 45 w 10514"/>
                <a:gd name="connsiteY16" fmla="*/ 471 h 10000"/>
                <a:gd name="connsiteX17" fmla="*/ 896 w 10514"/>
                <a:gd name="connsiteY17" fmla="*/ 724 h 10000"/>
                <a:gd name="connsiteX18" fmla="*/ 336 w 10514"/>
                <a:gd name="connsiteY18" fmla="*/ 1011 h 10000"/>
                <a:gd name="connsiteX19" fmla="*/ 0 w 10514"/>
                <a:gd name="connsiteY19" fmla="*/ 1025 h 10000"/>
                <a:gd name="connsiteX20" fmla="*/ 1505 w 10514"/>
                <a:gd name="connsiteY20" fmla="*/ 983 h 10000"/>
                <a:gd name="connsiteX21" fmla="*/ 2898 w 10514"/>
                <a:gd name="connsiteY21" fmla="*/ 1448 h 10000"/>
                <a:gd name="connsiteX22" fmla="*/ 5645 w 10514"/>
                <a:gd name="connsiteY22" fmla="*/ 2069 h 10000"/>
                <a:gd name="connsiteX23" fmla="*/ 6644 w 10514"/>
                <a:gd name="connsiteY23" fmla="*/ 997 h 10000"/>
                <a:gd name="connsiteX24" fmla="*/ 6713 w 10514"/>
                <a:gd name="connsiteY24" fmla="*/ 501 h 10000"/>
                <a:gd name="connsiteX25" fmla="*/ 7284 w 10514"/>
                <a:gd name="connsiteY25" fmla="*/ 423 h 10000"/>
                <a:gd name="connsiteX26" fmla="*/ 8778 w 10514"/>
                <a:gd name="connsiteY26" fmla="*/ 695 h 10000"/>
                <a:gd name="connsiteX27" fmla="*/ 9102 w 10514"/>
                <a:gd name="connsiteY27" fmla="*/ 2386 h 10000"/>
                <a:gd name="connsiteX28" fmla="*/ 8959 w 10514"/>
                <a:gd name="connsiteY28" fmla="*/ 2566 h 10000"/>
                <a:gd name="connsiteX29" fmla="*/ 8492 w 10514"/>
                <a:gd name="connsiteY29" fmla="*/ 3169 h 10000"/>
                <a:gd name="connsiteX30" fmla="*/ 7530 w 10514"/>
                <a:gd name="connsiteY30" fmla="*/ 5218 h 10000"/>
                <a:gd name="connsiteX31" fmla="*/ 7923 w 10514"/>
                <a:gd name="connsiteY31" fmla="*/ 6998 h 10000"/>
                <a:gd name="connsiteX32" fmla="*/ 8676 w 10514"/>
                <a:gd name="connsiteY32" fmla="*/ 9832 h 10000"/>
                <a:gd name="connsiteX33" fmla="*/ 8640 w 10514"/>
                <a:gd name="connsiteY33" fmla="*/ 9952 h 10000"/>
                <a:gd name="connsiteX0" fmla="*/ 8640 w 10514"/>
                <a:gd name="connsiteY0" fmla="*/ 9952 h 10000"/>
                <a:gd name="connsiteX1" fmla="*/ 9599 w 10514"/>
                <a:gd name="connsiteY1" fmla="*/ 9998 h 10000"/>
                <a:gd name="connsiteX2" fmla="*/ 9636 w 10514"/>
                <a:gd name="connsiteY2" fmla="*/ 9875 h 10000"/>
                <a:gd name="connsiteX3" fmla="*/ 8854 w 10514"/>
                <a:gd name="connsiteY3" fmla="*/ 6878 h 10000"/>
                <a:gd name="connsiteX4" fmla="*/ 8492 w 10514"/>
                <a:gd name="connsiteY4" fmla="*/ 5158 h 10000"/>
                <a:gd name="connsiteX5" fmla="*/ 9354 w 10514"/>
                <a:gd name="connsiteY5" fmla="*/ 3361 h 10000"/>
                <a:gd name="connsiteX6" fmla="*/ 9883 w 10514"/>
                <a:gd name="connsiteY6" fmla="*/ 2685 h 10000"/>
                <a:gd name="connsiteX7" fmla="*/ 10048 w 10514"/>
                <a:gd name="connsiteY7" fmla="*/ 2433 h 10000"/>
                <a:gd name="connsiteX8" fmla="*/ 10057 w 10514"/>
                <a:gd name="connsiteY8" fmla="*/ 726 h 10000"/>
                <a:gd name="connsiteX9" fmla="*/ 7212 w 10514"/>
                <a:gd name="connsiteY9" fmla="*/ 1 h 10000"/>
                <a:gd name="connsiteX10" fmla="*/ 5965 w 10514"/>
                <a:gd name="connsiteY10" fmla="*/ 229 h 10000"/>
                <a:gd name="connsiteX11" fmla="*/ 5675 w 10514"/>
                <a:gd name="connsiteY11" fmla="*/ 1042 h 10000"/>
                <a:gd name="connsiteX12" fmla="*/ 5318 w 10514"/>
                <a:gd name="connsiteY12" fmla="*/ 1677 h 10000"/>
                <a:gd name="connsiteX13" fmla="*/ 3644 w 10514"/>
                <a:gd name="connsiteY13" fmla="*/ 1182 h 10000"/>
                <a:gd name="connsiteX14" fmla="*/ 1480 w 10514"/>
                <a:gd name="connsiteY14" fmla="*/ 516 h 10000"/>
                <a:gd name="connsiteX15" fmla="*/ 409 w 10514"/>
                <a:gd name="connsiteY15" fmla="*/ 471 h 10000"/>
                <a:gd name="connsiteX16" fmla="*/ 45 w 10514"/>
                <a:gd name="connsiteY16" fmla="*/ 471 h 10000"/>
                <a:gd name="connsiteX17" fmla="*/ 896 w 10514"/>
                <a:gd name="connsiteY17" fmla="*/ 724 h 10000"/>
                <a:gd name="connsiteX18" fmla="*/ 336 w 10514"/>
                <a:gd name="connsiteY18" fmla="*/ 1011 h 10000"/>
                <a:gd name="connsiteX19" fmla="*/ 0 w 10514"/>
                <a:gd name="connsiteY19" fmla="*/ 1025 h 10000"/>
                <a:gd name="connsiteX20" fmla="*/ 1505 w 10514"/>
                <a:gd name="connsiteY20" fmla="*/ 983 h 10000"/>
                <a:gd name="connsiteX21" fmla="*/ 2898 w 10514"/>
                <a:gd name="connsiteY21" fmla="*/ 1448 h 10000"/>
                <a:gd name="connsiteX22" fmla="*/ 5645 w 10514"/>
                <a:gd name="connsiteY22" fmla="*/ 2069 h 10000"/>
                <a:gd name="connsiteX23" fmla="*/ 6644 w 10514"/>
                <a:gd name="connsiteY23" fmla="*/ 997 h 10000"/>
                <a:gd name="connsiteX24" fmla="*/ 6713 w 10514"/>
                <a:gd name="connsiteY24" fmla="*/ 501 h 10000"/>
                <a:gd name="connsiteX25" fmla="*/ 7284 w 10514"/>
                <a:gd name="connsiteY25" fmla="*/ 423 h 10000"/>
                <a:gd name="connsiteX26" fmla="*/ 8778 w 10514"/>
                <a:gd name="connsiteY26" fmla="*/ 695 h 10000"/>
                <a:gd name="connsiteX27" fmla="*/ 9102 w 10514"/>
                <a:gd name="connsiteY27" fmla="*/ 2386 h 10000"/>
                <a:gd name="connsiteX28" fmla="*/ 8959 w 10514"/>
                <a:gd name="connsiteY28" fmla="*/ 2566 h 10000"/>
                <a:gd name="connsiteX29" fmla="*/ 8492 w 10514"/>
                <a:gd name="connsiteY29" fmla="*/ 3169 h 10000"/>
                <a:gd name="connsiteX30" fmla="*/ 7530 w 10514"/>
                <a:gd name="connsiteY30" fmla="*/ 5218 h 10000"/>
                <a:gd name="connsiteX31" fmla="*/ 7923 w 10514"/>
                <a:gd name="connsiteY31" fmla="*/ 6998 h 10000"/>
                <a:gd name="connsiteX32" fmla="*/ 8788 w 10514"/>
                <a:gd name="connsiteY32" fmla="*/ 9832 h 10000"/>
                <a:gd name="connsiteX33" fmla="*/ 8640 w 10514"/>
                <a:gd name="connsiteY33" fmla="*/ 9952 h 10000"/>
                <a:gd name="connsiteX0" fmla="*/ 8640 w 10514"/>
                <a:gd name="connsiteY0" fmla="*/ 9952 h 10000"/>
                <a:gd name="connsiteX1" fmla="*/ 9599 w 10514"/>
                <a:gd name="connsiteY1" fmla="*/ 9998 h 10000"/>
                <a:gd name="connsiteX2" fmla="*/ 9636 w 10514"/>
                <a:gd name="connsiteY2" fmla="*/ 9875 h 10000"/>
                <a:gd name="connsiteX3" fmla="*/ 8854 w 10514"/>
                <a:gd name="connsiteY3" fmla="*/ 6878 h 10000"/>
                <a:gd name="connsiteX4" fmla="*/ 8492 w 10514"/>
                <a:gd name="connsiteY4" fmla="*/ 5158 h 10000"/>
                <a:gd name="connsiteX5" fmla="*/ 9354 w 10514"/>
                <a:gd name="connsiteY5" fmla="*/ 3361 h 10000"/>
                <a:gd name="connsiteX6" fmla="*/ 9883 w 10514"/>
                <a:gd name="connsiteY6" fmla="*/ 2685 h 10000"/>
                <a:gd name="connsiteX7" fmla="*/ 10048 w 10514"/>
                <a:gd name="connsiteY7" fmla="*/ 2433 h 10000"/>
                <a:gd name="connsiteX8" fmla="*/ 10057 w 10514"/>
                <a:gd name="connsiteY8" fmla="*/ 726 h 10000"/>
                <a:gd name="connsiteX9" fmla="*/ 7212 w 10514"/>
                <a:gd name="connsiteY9" fmla="*/ 1 h 10000"/>
                <a:gd name="connsiteX10" fmla="*/ 5965 w 10514"/>
                <a:gd name="connsiteY10" fmla="*/ 229 h 10000"/>
                <a:gd name="connsiteX11" fmla="*/ 5675 w 10514"/>
                <a:gd name="connsiteY11" fmla="*/ 1042 h 10000"/>
                <a:gd name="connsiteX12" fmla="*/ 5318 w 10514"/>
                <a:gd name="connsiteY12" fmla="*/ 1677 h 10000"/>
                <a:gd name="connsiteX13" fmla="*/ 3644 w 10514"/>
                <a:gd name="connsiteY13" fmla="*/ 1182 h 10000"/>
                <a:gd name="connsiteX14" fmla="*/ 1480 w 10514"/>
                <a:gd name="connsiteY14" fmla="*/ 516 h 10000"/>
                <a:gd name="connsiteX15" fmla="*/ 409 w 10514"/>
                <a:gd name="connsiteY15" fmla="*/ 471 h 10000"/>
                <a:gd name="connsiteX16" fmla="*/ 45 w 10514"/>
                <a:gd name="connsiteY16" fmla="*/ 471 h 10000"/>
                <a:gd name="connsiteX17" fmla="*/ 896 w 10514"/>
                <a:gd name="connsiteY17" fmla="*/ 724 h 10000"/>
                <a:gd name="connsiteX18" fmla="*/ 336 w 10514"/>
                <a:gd name="connsiteY18" fmla="*/ 1011 h 10000"/>
                <a:gd name="connsiteX19" fmla="*/ 0 w 10514"/>
                <a:gd name="connsiteY19" fmla="*/ 1025 h 10000"/>
                <a:gd name="connsiteX20" fmla="*/ 1505 w 10514"/>
                <a:gd name="connsiteY20" fmla="*/ 983 h 10000"/>
                <a:gd name="connsiteX21" fmla="*/ 2898 w 10514"/>
                <a:gd name="connsiteY21" fmla="*/ 1448 h 10000"/>
                <a:gd name="connsiteX22" fmla="*/ 5645 w 10514"/>
                <a:gd name="connsiteY22" fmla="*/ 2069 h 10000"/>
                <a:gd name="connsiteX23" fmla="*/ 6644 w 10514"/>
                <a:gd name="connsiteY23" fmla="*/ 997 h 10000"/>
                <a:gd name="connsiteX24" fmla="*/ 6713 w 10514"/>
                <a:gd name="connsiteY24" fmla="*/ 501 h 10000"/>
                <a:gd name="connsiteX25" fmla="*/ 7284 w 10514"/>
                <a:gd name="connsiteY25" fmla="*/ 423 h 10000"/>
                <a:gd name="connsiteX26" fmla="*/ 8778 w 10514"/>
                <a:gd name="connsiteY26" fmla="*/ 695 h 10000"/>
                <a:gd name="connsiteX27" fmla="*/ 9102 w 10514"/>
                <a:gd name="connsiteY27" fmla="*/ 2386 h 10000"/>
                <a:gd name="connsiteX28" fmla="*/ 8959 w 10514"/>
                <a:gd name="connsiteY28" fmla="*/ 2566 h 10000"/>
                <a:gd name="connsiteX29" fmla="*/ 8492 w 10514"/>
                <a:gd name="connsiteY29" fmla="*/ 3169 h 10000"/>
                <a:gd name="connsiteX30" fmla="*/ 7530 w 10514"/>
                <a:gd name="connsiteY30" fmla="*/ 5218 h 10000"/>
                <a:gd name="connsiteX31" fmla="*/ 7923 w 10514"/>
                <a:gd name="connsiteY31" fmla="*/ 6998 h 10000"/>
                <a:gd name="connsiteX32" fmla="*/ 8788 w 10514"/>
                <a:gd name="connsiteY32" fmla="*/ 9832 h 10000"/>
                <a:gd name="connsiteX33" fmla="*/ 8640 w 10514"/>
                <a:gd name="connsiteY33" fmla="*/ 9952 h 10000"/>
                <a:gd name="connsiteX0" fmla="*/ 8640 w 10514"/>
                <a:gd name="connsiteY0" fmla="*/ 9952 h 10028"/>
                <a:gd name="connsiteX1" fmla="*/ 9599 w 10514"/>
                <a:gd name="connsiteY1" fmla="*/ 9998 h 10028"/>
                <a:gd name="connsiteX2" fmla="*/ 9636 w 10514"/>
                <a:gd name="connsiteY2" fmla="*/ 9875 h 10028"/>
                <a:gd name="connsiteX3" fmla="*/ 8854 w 10514"/>
                <a:gd name="connsiteY3" fmla="*/ 6878 h 10028"/>
                <a:gd name="connsiteX4" fmla="*/ 8492 w 10514"/>
                <a:gd name="connsiteY4" fmla="*/ 5158 h 10028"/>
                <a:gd name="connsiteX5" fmla="*/ 9354 w 10514"/>
                <a:gd name="connsiteY5" fmla="*/ 3361 h 10028"/>
                <a:gd name="connsiteX6" fmla="*/ 9883 w 10514"/>
                <a:gd name="connsiteY6" fmla="*/ 2685 h 10028"/>
                <a:gd name="connsiteX7" fmla="*/ 10048 w 10514"/>
                <a:gd name="connsiteY7" fmla="*/ 2433 h 10028"/>
                <a:gd name="connsiteX8" fmla="*/ 10057 w 10514"/>
                <a:gd name="connsiteY8" fmla="*/ 726 h 10028"/>
                <a:gd name="connsiteX9" fmla="*/ 7212 w 10514"/>
                <a:gd name="connsiteY9" fmla="*/ 1 h 10028"/>
                <a:gd name="connsiteX10" fmla="*/ 5965 w 10514"/>
                <a:gd name="connsiteY10" fmla="*/ 229 h 10028"/>
                <a:gd name="connsiteX11" fmla="*/ 5675 w 10514"/>
                <a:gd name="connsiteY11" fmla="*/ 1042 h 10028"/>
                <a:gd name="connsiteX12" fmla="*/ 5318 w 10514"/>
                <a:gd name="connsiteY12" fmla="*/ 1677 h 10028"/>
                <a:gd name="connsiteX13" fmla="*/ 3644 w 10514"/>
                <a:gd name="connsiteY13" fmla="*/ 1182 h 10028"/>
                <a:gd name="connsiteX14" fmla="*/ 1480 w 10514"/>
                <a:gd name="connsiteY14" fmla="*/ 516 h 10028"/>
                <a:gd name="connsiteX15" fmla="*/ 409 w 10514"/>
                <a:gd name="connsiteY15" fmla="*/ 471 h 10028"/>
                <a:gd name="connsiteX16" fmla="*/ 45 w 10514"/>
                <a:gd name="connsiteY16" fmla="*/ 471 h 10028"/>
                <a:gd name="connsiteX17" fmla="*/ 896 w 10514"/>
                <a:gd name="connsiteY17" fmla="*/ 724 h 10028"/>
                <a:gd name="connsiteX18" fmla="*/ 336 w 10514"/>
                <a:gd name="connsiteY18" fmla="*/ 1011 h 10028"/>
                <a:gd name="connsiteX19" fmla="*/ 0 w 10514"/>
                <a:gd name="connsiteY19" fmla="*/ 1025 h 10028"/>
                <a:gd name="connsiteX20" fmla="*/ 1505 w 10514"/>
                <a:gd name="connsiteY20" fmla="*/ 983 h 10028"/>
                <a:gd name="connsiteX21" fmla="*/ 2898 w 10514"/>
                <a:gd name="connsiteY21" fmla="*/ 1448 h 10028"/>
                <a:gd name="connsiteX22" fmla="*/ 5645 w 10514"/>
                <a:gd name="connsiteY22" fmla="*/ 2069 h 10028"/>
                <a:gd name="connsiteX23" fmla="*/ 6644 w 10514"/>
                <a:gd name="connsiteY23" fmla="*/ 997 h 10028"/>
                <a:gd name="connsiteX24" fmla="*/ 6713 w 10514"/>
                <a:gd name="connsiteY24" fmla="*/ 501 h 10028"/>
                <a:gd name="connsiteX25" fmla="*/ 7284 w 10514"/>
                <a:gd name="connsiteY25" fmla="*/ 423 h 10028"/>
                <a:gd name="connsiteX26" fmla="*/ 8778 w 10514"/>
                <a:gd name="connsiteY26" fmla="*/ 695 h 10028"/>
                <a:gd name="connsiteX27" fmla="*/ 9102 w 10514"/>
                <a:gd name="connsiteY27" fmla="*/ 2386 h 10028"/>
                <a:gd name="connsiteX28" fmla="*/ 8959 w 10514"/>
                <a:gd name="connsiteY28" fmla="*/ 2566 h 10028"/>
                <a:gd name="connsiteX29" fmla="*/ 8492 w 10514"/>
                <a:gd name="connsiteY29" fmla="*/ 3169 h 10028"/>
                <a:gd name="connsiteX30" fmla="*/ 7530 w 10514"/>
                <a:gd name="connsiteY30" fmla="*/ 5218 h 10028"/>
                <a:gd name="connsiteX31" fmla="*/ 7923 w 10514"/>
                <a:gd name="connsiteY31" fmla="*/ 6998 h 10028"/>
                <a:gd name="connsiteX32" fmla="*/ 8788 w 10514"/>
                <a:gd name="connsiteY32" fmla="*/ 9832 h 10028"/>
                <a:gd name="connsiteX33" fmla="*/ 8640 w 10514"/>
                <a:gd name="connsiteY33" fmla="*/ 9952 h 10028"/>
                <a:gd name="connsiteX0" fmla="*/ 8640 w 10514"/>
                <a:gd name="connsiteY0" fmla="*/ 9952 h 10131"/>
                <a:gd name="connsiteX1" fmla="*/ 9515 w 10514"/>
                <a:gd name="connsiteY1" fmla="*/ 9998 h 10131"/>
                <a:gd name="connsiteX2" fmla="*/ 9636 w 10514"/>
                <a:gd name="connsiteY2" fmla="*/ 9875 h 10131"/>
                <a:gd name="connsiteX3" fmla="*/ 8854 w 10514"/>
                <a:gd name="connsiteY3" fmla="*/ 6878 h 10131"/>
                <a:gd name="connsiteX4" fmla="*/ 8492 w 10514"/>
                <a:gd name="connsiteY4" fmla="*/ 5158 h 10131"/>
                <a:gd name="connsiteX5" fmla="*/ 9354 w 10514"/>
                <a:gd name="connsiteY5" fmla="*/ 3361 h 10131"/>
                <a:gd name="connsiteX6" fmla="*/ 9883 w 10514"/>
                <a:gd name="connsiteY6" fmla="*/ 2685 h 10131"/>
                <a:gd name="connsiteX7" fmla="*/ 10048 w 10514"/>
                <a:gd name="connsiteY7" fmla="*/ 2433 h 10131"/>
                <a:gd name="connsiteX8" fmla="*/ 10057 w 10514"/>
                <a:gd name="connsiteY8" fmla="*/ 726 h 10131"/>
                <a:gd name="connsiteX9" fmla="*/ 7212 w 10514"/>
                <a:gd name="connsiteY9" fmla="*/ 1 h 10131"/>
                <a:gd name="connsiteX10" fmla="*/ 5965 w 10514"/>
                <a:gd name="connsiteY10" fmla="*/ 229 h 10131"/>
                <a:gd name="connsiteX11" fmla="*/ 5675 w 10514"/>
                <a:gd name="connsiteY11" fmla="*/ 1042 h 10131"/>
                <a:gd name="connsiteX12" fmla="*/ 5318 w 10514"/>
                <a:gd name="connsiteY12" fmla="*/ 1677 h 10131"/>
                <a:gd name="connsiteX13" fmla="*/ 3644 w 10514"/>
                <a:gd name="connsiteY13" fmla="*/ 1182 h 10131"/>
                <a:gd name="connsiteX14" fmla="*/ 1480 w 10514"/>
                <a:gd name="connsiteY14" fmla="*/ 516 h 10131"/>
                <a:gd name="connsiteX15" fmla="*/ 409 w 10514"/>
                <a:gd name="connsiteY15" fmla="*/ 471 h 10131"/>
                <a:gd name="connsiteX16" fmla="*/ 45 w 10514"/>
                <a:gd name="connsiteY16" fmla="*/ 471 h 10131"/>
                <a:gd name="connsiteX17" fmla="*/ 896 w 10514"/>
                <a:gd name="connsiteY17" fmla="*/ 724 h 10131"/>
                <a:gd name="connsiteX18" fmla="*/ 336 w 10514"/>
                <a:gd name="connsiteY18" fmla="*/ 1011 h 10131"/>
                <a:gd name="connsiteX19" fmla="*/ 0 w 10514"/>
                <a:gd name="connsiteY19" fmla="*/ 1025 h 10131"/>
                <a:gd name="connsiteX20" fmla="*/ 1505 w 10514"/>
                <a:gd name="connsiteY20" fmla="*/ 983 h 10131"/>
                <a:gd name="connsiteX21" fmla="*/ 2898 w 10514"/>
                <a:gd name="connsiteY21" fmla="*/ 1448 h 10131"/>
                <a:gd name="connsiteX22" fmla="*/ 5645 w 10514"/>
                <a:gd name="connsiteY22" fmla="*/ 2069 h 10131"/>
                <a:gd name="connsiteX23" fmla="*/ 6644 w 10514"/>
                <a:gd name="connsiteY23" fmla="*/ 997 h 10131"/>
                <a:gd name="connsiteX24" fmla="*/ 6713 w 10514"/>
                <a:gd name="connsiteY24" fmla="*/ 501 h 10131"/>
                <a:gd name="connsiteX25" fmla="*/ 7284 w 10514"/>
                <a:gd name="connsiteY25" fmla="*/ 423 h 10131"/>
                <a:gd name="connsiteX26" fmla="*/ 8778 w 10514"/>
                <a:gd name="connsiteY26" fmla="*/ 695 h 10131"/>
                <a:gd name="connsiteX27" fmla="*/ 9102 w 10514"/>
                <a:gd name="connsiteY27" fmla="*/ 2386 h 10131"/>
                <a:gd name="connsiteX28" fmla="*/ 8959 w 10514"/>
                <a:gd name="connsiteY28" fmla="*/ 2566 h 10131"/>
                <a:gd name="connsiteX29" fmla="*/ 8492 w 10514"/>
                <a:gd name="connsiteY29" fmla="*/ 3169 h 10131"/>
                <a:gd name="connsiteX30" fmla="*/ 7530 w 10514"/>
                <a:gd name="connsiteY30" fmla="*/ 5218 h 10131"/>
                <a:gd name="connsiteX31" fmla="*/ 7923 w 10514"/>
                <a:gd name="connsiteY31" fmla="*/ 6998 h 10131"/>
                <a:gd name="connsiteX32" fmla="*/ 8788 w 10514"/>
                <a:gd name="connsiteY32" fmla="*/ 9832 h 10131"/>
                <a:gd name="connsiteX33" fmla="*/ 8640 w 10514"/>
                <a:gd name="connsiteY33" fmla="*/ 9952 h 10131"/>
                <a:gd name="connsiteX0" fmla="*/ 8640 w 10514"/>
                <a:gd name="connsiteY0" fmla="*/ 9952 h 10008"/>
                <a:gd name="connsiteX1" fmla="*/ 9515 w 10514"/>
                <a:gd name="connsiteY1" fmla="*/ 9998 h 10008"/>
                <a:gd name="connsiteX2" fmla="*/ 9636 w 10514"/>
                <a:gd name="connsiteY2" fmla="*/ 9875 h 10008"/>
                <a:gd name="connsiteX3" fmla="*/ 8854 w 10514"/>
                <a:gd name="connsiteY3" fmla="*/ 6878 h 10008"/>
                <a:gd name="connsiteX4" fmla="*/ 8492 w 10514"/>
                <a:gd name="connsiteY4" fmla="*/ 5158 h 10008"/>
                <a:gd name="connsiteX5" fmla="*/ 9354 w 10514"/>
                <a:gd name="connsiteY5" fmla="*/ 3361 h 10008"/>
                <a:gd name="connsiteX6" fmla="*/ 9883 w 10514"/>
                <a:gd name="connsiteY6" fmla="*/ 2685 h 10008"/>
                <a:gd name="connsiteX7" fmla="*/ 10048 w 10514"/>
                <a:gd name="connsiteY7" fmla="*/ 2433 h 10008"/>
                <a:gd name="connsiteX8" fmla="*/ 10057 w 10514"/>
                <a:gd name="connsiteY8" fmla="*/ 726 h 10008"/>
                <a:gd name="connsiteX9" fmla="*/ 7212 w 10514"/>
                <a:gd name="connsiteY9" fmla="*/ 1 h 10008"/>
                <a:gd name="connsiteX10" fmla="*/ 5965 w 10514"/>
                <a:gd name="connsiteY10" fmla="*/ 229 h 10008"/>
                <a:gd name="connsiteX11" fmla="*/ 5675 w 10514"/>
                <a:gd name="connsiteY11" fmla="*/ 1042 h 10008"/>
                <a:gd name="connsiteX12" fmla="*/ 5318 w 10514"/>
                <a:gd name="connsiteY12" fmla="*/ 1677 h 10008"/>
                <a:gd name="connsiteX13" fmla="*/ 3644 w 10514"/>
                <a:gd name="connsiteY13" fmla="*/ 1182 h 10008"/>
                <a:gd name="connsiteX14" fmla="*/ 1480 w 10514"/>
                <a:gd name="connsiteY14" fmla="*/ 516 h 10008"/>
                <a:gd name="connsiteX15" fmla="*/ 409 w 10514"/>
                <a:gd name="connsiteY15" fmla="*/ 471 h 10008"/>
                <a:gd name="connsiteX16" fmla="*/ 45 w 10514"/>
                <a:gd name="connsiteY16" fmla="*/ 471 h 10008"/>
                <a:gd name="connsiteX17" fmla="*/ 896 w 10514"/>
                <a:gd name="connsiteY17" fmla="*/ 724 h 10008"/>
                <a:gd name="connsiteX18" fmla="*/ 336 w 10514"/>
                <a:gd name="connsiteY18" fmla="*/ 1011 h 10008"/>
                <a:gd name="connsiteX19" fmla="*/ 0 w 10514"/>
                <a:gd name="connsiteY19" fmla="*/ 1025 h 10008"/>
                <a:gd name="connsiteX20" fmla="*/ 1505 w 10514"/>
                <a:gd name="connsiteY20" fmla="*/ 983 h 10008"/>
                <a:gd name="connsiteX21" fmla="*/ 2898 w 10514"/>
                <a:gd name="connsiteY21" fmla="*/ 1448 h 10008"/>
                <a:gd name="connsiteX22" fmla="*/ 5645 w 10514"/>
                <a:gd name="connsiteY22" fmla="*/ 2069 h 10008"/>
                <a:gd name="connsiteX23" fmla="*/ 6644 w 10514"/>
                <a:gd name="connsiteY23" fmla="*/ 997 h 10008"/>
                <a:gd name="connsiteX24" fmla="*/ 6713 w 10514"/>
                <a:gd name="connsiteY24" fmla="*/ 501 h 10008"/>
                <a:gd name="connsiteX25" fmla="*/ 7284 w 10514"/>
                <a:gd name="connsiteY25" fmla="*/ 423 h 10008"/>
                <a:gd name="connsiteX26" fmla="*/ 8778 w 10514"/>
                <a:gd name="connsiteY26" fmla="*/ 695 h 10008"/>
                <a:gd name="connsiteX27" fmla="*/ 9102 w 10514"/>
                <a:gd name="connsiteY27" fmla="*/ 2386 h 10008"/>
                <a:gd name="connsiteX28" fmla="*/ 8959 w 10514"/>
                <a:gd name="connsiteY28" fmla="*/ 2566 h 10008"/>
                <a:gd name="connsiteX29" fmla="*/ 8492 w 10514"/>
                <a:gd name="connsiteY29" fmla="*/ 3169 h 10008"/>
                <a:gd name="connsiteX30" fmla="*/ 7530 w 10514"/>
                <a:gd name="connsiteY30" fmla="*/ 5218 h 10008"/>
                <a:gd name="connsiteX31" fmla="*/ 7923 w 10514"/>
                <a:gd name="connsiteY31" fmla="*/ 6998 h 10008"/>
                <a:gd name="connsiteX32" fmla="*/ 8788 w 10514"/>
                <a:gd name="connsiteY32" fmla="*/ 9832 h 10008"/>
                <a:gd name="connsiteX33" fmla="*/ 8640 w 10514"/>
                <a:gd name="connsiteY33" fmla="*/ 9952 h 10008"/>
                <a:gd name="connsiteX0" fmla="*/ 8640 w 10514"/>
                <a:gd name="connsiteY0" fmla="*/ 9952 h 10014"/>
                <a:gd name="connsiteX1" fmla="*/ 9515 w 10514"/>
                <a:gd name="connsiteY1" fmla="*/ 9998 h 10014"/>
                <a:gd name="connsiteX2" fmla="*/ 9636 w 10514"/>
                <a:gd name="connsiteY2" fmla="*/ 9875 h 10014"/>
                <a:gd name="connsiteX3" fmla="*/ 8854 w 10514"/>
                <a:gd name="connsiteY3" fmla="*/ 6878 h 10014"/>
                <a:gd name="connsiteX4" fmla="*/ 8492 w 10514"/>
                <a:gd name="connsiteY4" fmla="*/ 5158 h 10014"/>
                <a:gd name="connsiteX5" fmla="*/ 9354 w 10514"/>
                <a:gd name="connsiteY5" fmla="*/ 3361 h 10014"/>
                <a:gd name="connsiteX6" fmla="*/ 9883 w 10514"/>
                <a:gd name="connsiteY6" fmla="*/ 2685 h 10014"/>
                <a:gd name="connsiteX7" fmla="*/ 10048 w 10514"/>
                <a:gd name="connsiteY7" fmla="*/ 2433 h 10014"/>
                <a:gd name="connsiteX8" fmla="*/ 10057 w 10514"/>
                <a:gd name="connsiteY8" fmla="*/ 726 h 10014"/>
                <a:gd name="connsiteX9" fmla="*/ 7212 w 10514"/>
                <a:gd name="connsiteY9" fmla="*/ 1 h 10014"/>
                <a:gd name="connsiteX10" fmla="*/ 5965 w 10514"/>
                <a:gd name="connsiteY10" fmla="*/ 229 h 10014"/>
                <a:gd name="connsiteX11" fmla="*/ 5675 w 10514"/>
                <a:gd name="connsiteY11" fmla="*/ 1042 h 10014"/>
                <a:gd name="connsiteX12" fmla="*/ 5318 w 10514"/>
                <a:gd name="connsiteY12" fmla="*/ 1677 h 10014"/>
                <a:gd name="connsiteX13" fmla="*/ 3644 w 10514"/>
                <a:gd name="connsiteY13" fmla="*/ 1182 h 10014"/>
                <a:gd name="connsiteX14" fmla="*/ 1480 w 10514"/>
                <a:gd name="connsiteY14" fmla="*/ 516 h 10014"/>
                <a:gd name="connsiteX15" fmla="*/ 409 w 10514"/>
                <a:gd name="connsiteY15" fmla="*/ 471 h 10014"/>
                <a:gd name="connsiteX16" fmla="*/ 45 w 10514"/>
                <a:gd name="connsiteY16" fmla="*/ 471 h 10014"/>
                <a:gd name="connsiteX17" fmla="*/ 896 w 10514"/>
                <a:gd name="connsiteY17" fmla="*/ 724 h 10014"/>
                <a:gd name="connsiteX18" fmla="*/ 336 w 10514"/>
                <a:gd name="connsiteY18" fmla="*/ 1011 h 10014"/>
                <a:gd name="connsiteX19" fmla="*/ 0 w 10514"/>
                <a:gd name="connsiteY19" fmla="*/ 1025 h 10014"/>
                <a:gd name="connsiteX20" fmla="*/ 1505 w 10514"/>
                <a:gd name="connsiteY20" fmla="*/ 983 h 10014"/>
                <a:gd name="connsiteX21" fmla="*/ 2898 w 10514"/>
                <a:gd name="connsiteY21" fmla="*/ 1448 h 10014"/>
                <a:gd name="connsiteX22" fmla="*/ 5645 w 10514"/>
                <a:gd name="connsiteY22" fmla="*/ 2069 h 10014"/>
                <a:gd name="connsiteX23" fmla="*/ 6644 w 10514"/>
                <a:gd name="connsiteY23" fmla="*/ 997 h 10014"/>
                <a:gd name="connsiteX24" fmla="*/ 6713 w 10514"/>
                <a:gd name="connsiteY24" fmla="*/ 501 h 10014"/>
                <a:gd name="connsiteX25" fmla="*/ 7284 w 10514"/>
                <a:gd name="connsiteY25" fmla="*/ 423 h 10014"/>
                <a:gd name="connsiteX26" fmla="*/ 8778 w 10514"/>
                <a:gd name="connsiteY26" fmla="*/ 695 h 10014"/>
                <a:gd name="connsiteX27" fmla="*/ 9102 w 10514"/>
                <a:gd name="connsiteY27" fmla="*/ 2386 h 10014"/>
                <a:gd name="connsiteX28" fmla="*/ 8959 w 10514"/>
                <a:gd name="connsiteY28" fmla="*/ 2566 h 10014"/>
                <a:gd name="connsiteX29" fmla="*/ 8492 w 10514"/>
                <a:gd name="connsiteY29" fmla="*/ 3169 h 10014"/>
                <a:gd name="connsiteX30" fmla="*/ 7530 w 10514"/>
                <a:gd name="connsiteY30" fmla="*/ 5218 h 10014"/>
                <a:gd name="connsiteX31" fmla="*/ 7923 w 10514"/>
                <a:gd name="connsiteY31" fmla="*/ 6998 h 10014"/>
                <a:gd name="connsiteX32" fmla="*/ 8788 w 10514"/>
                <a:gd name="connsiteY32" fmla="*/ 9832 h 10014"/>
                <a:gd name="connsiteX33" fmla="*/ 8640 w 10514"/>
                <a:gd name="connsiteY33" fmla="*/ 9952 h 10014"/>
                <a:gd name="connsiteX0" fmla="*/ 8640 w 10514"/>
                <a:gd name="connsiteY0" fmla="*/ 9951 h 10013"/>
                <a:gd name="connsiteX1" fmla="*/ 9515 w 10514"/>
                <a:gd name="connsiteY1" fmla="*/ 9997 h 10013"/>
                <a:gd name="connsiteX2" fmla="*/ 9636 w 10514"/>
                <a:gd name="connsiteY2" fmla="*/ 9874 h 10013"/>
                <a:gd name="connsiteX3" fmla="*/ 8854 w 10514"/>
                <a:gd name="connsiteY3" fmla="*/ 6877 h 10013"/>
                <a:gd name="connsiteX4" fmla="*/ 8492 w 10514"/>
                <a:gd name="connsiteY4" fmla="*/ 5157 h 10013"/>
                <a:gd name="connsiteX5" fmla="*/ 9354 w 10514"/>
                <a:gd name="connsiteY5" fmla="*/ 3360 h 10013"/>
                <a:gd name="connsiteX6" fmla="*/ 9883 w 10514"/>
                <a:gd name="connsiteY6" fmla="*/ 2684 h 10013"/>
                <a:gd name="connsiteX7" fmla="*/ 10048 w 10514"/>
                <a:gd name="connsiteY7" fmla="*/ 2432 h 10013"/>
                <a:gd name="connsiteX8" fmla="*/ 10057 w 10514"/>
                <a:gd name="connsiteY8" fmla="*/ 725 h 10013"/>
                <a:gd name="connsiteX9" fmla="*/ 8881 w 10514"/>
                <a:gd name="connsiteY9" fmla="*/ 164 h 10013"/>
                <a:gd name="connsiteX10" fmla="*/ 7212 w 10514"/>
                <a:gd name="connsiteY10" fmla="*/ 0 h 10013"/>
                <a:gd name="connsiteX11" fmla="*/ 5965 w 10514"/>
                <a:gd name="connsiteY11" fmla="*/ 228 h 10013"/>
                <a:gd name="connsiteX12" fmla="*/ 5675 w 10514"/>
                <a:gd name="connsiteY12" fmla="*/ 1041 h 10013"/>
                <a:gd name="connsiteX13" fmla="*/ 5318 w 10514"/>
                <a:gd name="connsiteY13" fmla="*/ 1676 h 10013"/>
                <a:gd name="connsiteX14" fmla="*/ 3644 w 10514"/>
                <a:gd name="connsiteY14" fmla="*/ 1181 h 10013"/>
                <a:gd name="connsiteX15" fmla="*/ 1480 w 10514"/>
                <a:gd name="connsiteY15" fmla="*/ 515 h 10013"/>
                <a:gd name="connsiteX16" fmla="*/ 409 w 10514"/>
                <a:gd name="connsiteY16" fmla="*/ 470 h 10013"/>
                <a:gd name="connsiteX17" fmla="*/ 45 w 10514"/>
                <a:gd name="connsiteY17" fmla="*/ 470 h 10013"/>
                <a:gd name="connsiteX18" fmla="*/ 896 w 10514"/>
                <a:gd name="connsiteY18" fmla="*/ 723 h 10013"/>
                <a:gd name="connsiteX19" fmla="*/ 336 w 10514"/>
                <a:gd name="connsiteY19" fmla="*/ 1010 h 10013"/>
                <a:gd name="connsiteX20" fmla="*/ 0 w 10514"/>
                <a:gd name="connsiteY20" fmla="*/ 1024 h 10013"/>
                <a:gd name="connsiteX21" fmla="*/ 1505 w 10514"/>
                <a:gd name="connsiteY21" fmla="*/ 982 h 10013"/>
                <a:gd name="connsiteX22" fmla="*/ 2898 w 10514"/>
                <a:gd name="connsiteY22" fmla="*/ 1447 h 10013"/>
                <a:gd name="connsiteX23" fmla="*/ 5645 w 10514"/>
                <a:gd name="connsiteY23" fmla="*/ 2068 h 10013"/>
                <a:gd name="connsiteX24" fmla="*/ 6644 w 10514"/>
                <a:gd name="connsiteY24" fmla="*/ 996 h 10013"/>
                <a:gd name="connsiteX25" fmla="*/ 6713 w 10514"/>
                <a:gd name="connsiteY25" fmla="*/ 500 h 10013"/>
                <a:gd name="connsiteX26" fmla="*/ 7284 w 10514"/>
                <a:gd name="connsiteY26" fmla="*/ 422 h 10013"/>
                <a:gd name="connsiteX27" fmla="*/ 8778 w 10514"/>
                <a:gd name="connsiteY27" fmla="*/ 694 h 10013"/>
                <a:gd name="connsiteX28" fmla="*/ 9102 w 10514"/>
                <a:gd name="connsiteY28" fmla="*/ 2385 h 10013"/>
                <a:gd name="connsiteX29" fmla="*/ 8959 w 10514"/>
                <a:gd name="connsiteY29" fmla="*/ 2565 h 10013"/>
                <a:gd name="connsiteX30" fmla="*/ 8492 w 10514"/>
                <a:gd name="connsiteY30" fmla="*/ 3168 h 10013"/>
                <a:gd name="connsiteX31" fmla="*/ 7530 w 10514"/>
                <a:gd name="connsiteY31" fmla="*/ 5217 h 10013"/>
                <a:gd name="connsiteX32" fmla="*/ 7923 w 10514"/>
                <a:gd name="connsiteY32" fmla="*/ 6997 h 10013"/>
                <a:gd name="connsiteX33" fmla="*/ 8788 w 10514"/>
                <a:gd name="connsiteY33" fmla="*/ 9831 h 10013"/>
                <a:gd name="connsiteX34" fmla="*/ 8640 w 10514"/>
                <a:gd name="connsiteY34" fmla="*/ 9951 h 10013"/>
                <a:gd name="connsiteX0" fmla="*/ 8640 w 10247"/>
                <a:gd name="connsiteY0" fmla="*/ 9951 h 10013"/>
                <a:gd name="connsiteX1" fmla="*/ 9515 w 10247"/>
                <a:gd name="connsiteY1" fmla="*/ 9997 h 10013"/>
                <a:gd name="connsiteX2" fmla="*/ 9636 w 10247"/>
                <a:gd name="connsiteY2" fmla="*/ 9874 h 10013"/>
                <a:gd name="connsiteX3" fmla="*/ 8854 w 10247"/>
                <a:gd name="connsiteY3" fmla="*/ 6877 h 10013"/>
                <a:gd name="connsiteX4" fmla="*/ 8492 w 10247"/>
                <a:gd name="connsiteY4" fmla="*/ 5157 h 10013"/>
                <a:gd name="connsiteX5" fmla="*/ 9354 w 10247"/>
                <a:gd name="connsiteY5" fmla="*/ 3360 h 10013"/>
                <a:gd name="connsiteX6" fmla="*/ 9883 w 10247"/>
                <a:gd name="connsiteY6" fmla="*/ 2684 h 10013"/>
                <a:gd name="connsiteX7" fmla="*/ 10048 w 10247"/>
                <a:gd name="connsiteY7" fmla="*/ 2432 h 10013"/>
                <a:gd name="connsiteX8" fmla="*/ 10057 w 10247"/>
                <a:gd name="connsiteY8" fmla="*/ 725 h 10013"/>
                <a:gd name="connsiteX9" fmla="*/ 8881 w 10247"/>
                <a:gd name="connsiteY9" fmla="*/ 164 h 10013"/>
                <a:gd name="connsiteX10" fmla="*/ 7212 w 10247"/>
                <a:gd name="connsiteY10" fmla="*/ 0 h 10013"/>
                <a:gd name="connsiteX11" fmla="*/ 5965 w 10247"/>
                <a:gd name="connsiteY11" fmla="*/ 228 h 10013"/>
                <a:gd name="connsiteX12" fmla="*/ 5675 w 10247"/>
                <a:gd name="connsiteY12" fmla="*/ 1041 h 10013"/>
                <a:gd name="connsiteX13" fmla="*/ 5318 w 10247"/>
                <a:gd name="connsiteY13" fmla="*/ 1676 h 10013"/>
                <a:gd name="connsiteX14" fmla="*/ 3644 w 10247"/>
                <a:gd name="connsiteY14" fmla="*/ 1181 h 10013"/>
                <a:gd name="connsiteX15" fmla="*/ 1480 w 10247"/>
                <a:gd name="connsiteY15" fmla="*/ 515 h 10013"/>
                <a:gd name="connsiteX16" fmla="*/ 409 w 10247"/>
                <a:gd name="connsiteY16" fmla="*/ 470 h 10013"/>
                <a:gd name="connsiteX17" fmla="*/ 45 w 10247"/>
                <a:gd name="connsiteY17" fmla="*/ 470 h 10013"/>
                <a:gd name="connsiteX18" fmla="*/ 896 w 10247"/>
                <a:gd name="connsiteY18" fmla="*/ 723 h 10013"/>
                <a:gd name="connsiteX19" fmla="*/ 336 w 10247"/>
                <a:gd name="connsiteY19" fmla="*/ 1010 h 10013"/>
                <a:gd name="connsiteX20" fmla="*/ 0 w 10247"/>
                <a:gd name="connsiteY20" fmla="*/ 1024 h 10013"/>
                <a:gd name="connsiteX21" fmla="*/ 1505 w 10247"/>
                <a:gd name="connsiteY21" fmla="*/ 982 h 10013"/>
                <a:gd name="connsiteX22" fmla="*/ 2898 w 10247"/>
                <a:gd name="connsiteY22" fmla="*/ 1447 h 10013"/>
                <a:gd name="connsiteX23" fmla="*/ 5645 w 10247"/>
                <a:gd name="connsiteY23" fmla="*/ 2068 h 10013"/>
                <a:gd name="connsiteX24" fmla="*/ 6644 w 10247"/>
                <a:gd name="connsiteY24" fmla="*/ 996 h 10013"/>
                <a:gd name="connsiteX25" fmla="*/ 6713 w 10247"/>
                <a:gd name="connsiteY25" fmla="*/ 500 h 10013"/>
                <a:gd name="connsiteX26" fmla="*/ 7284 w 10247"/>
                <a:gd name="connsiteY26" fmla="*/ 422 h 10013"/>
                <a:gd name="connsiteX27" fmla="*/ 8778 w 10247"/>
                <a:gd name="connsiteY27" fmla="*/ 694 h 10013"/>
                <a:gd name="connsiteX28" fmla="*/ 9102 w 10247"/>
                <a:gd name="connsiteY28" fmla="*/ 2385 h 10013"/>
                <a:gd name="connsiteX29" fmla="*/ 8959 w 10247"/>
                <a:gd name="connsiteY29" fmla="*/ 2565 h 10013"/>
                <a:gd name="connsiteX30" fmla="*/ 8492 w 10247"/>
                <a:gd name="connsiteY30" fmla="*/ 3168 h 10013"/>
                <a:gd name="connsiteX31" fmla="*/ 7530 w 10247"/>
                <a:gd name="connsiteY31" fmla="*/ 5217 h 10013"/>
                <a:gd name="connsiteX32" fmla="*/ 7923 w 10247"/>
                <a:gd name="connsiteY32" fmla="*/ 6997 h 10013"/>
                <a:gd name="connsiteX33" fmla="*/ 8788 w 10247"/>
                <a:gd name="connsiteY33" fmla="*/ 9831 h 10013"/>
                <a:gd name="connsiteX34" fmla="*/ 8640 w 10247"/>
                <a:gd name="connsiteY34" fmla="*/ 9951 h 10013"/>
                <a:gd name="connsiteX0" fmla="*/ 8640 w 10550"/>
                <a:gd name="connsiteY0" fmla="*/ 9951 h 10013"/>
                <a:gd name="connsiteX1" fmla="*/ 9515 w 10550"/>
                <a:gd name="connsiteY1" fmla="*/ 9997 h 10013"/>
                <a:gd name="connsiteX2" fmla="*/ 9636 w 10550"/>
                <a:gd name="connsiteY2" fmla="*/ 9874 h 10013"/>
                <a:gd name="connsiteX3" fmla="*/ 8854 w 10550"/>
                <a:gd name="connsiteY3" fmla="*/ 6877 h 10013"/>
                <a:gd name="connsiteX4" fmla="*/ 8492 w 10550"/>
                <a:gd name="connsiteY4" fmla="*/ 5157 h 10013"/>
                <a:gd name="connsiteX5" fmla="*/ 9354 w 10550"/>
                <a:gd name="connsiteY5" fmla="*/ 3360 h 10013"/>
                <a:gd name="connsiteX6" fmla="*/ 9883 w 10550"/>
                <a:gd name="connsiteY6" fmla="*/ 2684 h 10013"/>
                <a:gd name="connsiteX7" fmla="*/ 10048 w 10550"/>
                <a:gd name="connsiteY7" fmla="*/ 2432 h 10013"/>
                <a:gd name="connsiteX8" fmla="*/ 10505 w 10550"/>
                <a:gd name="connsiteY8" fmla="*/ 1398 h 10013"/>
                <a:gd name="connsiteX9" fmla="*/ 8881 w 10550"/>
                <a:gd name="connsiteY9" fmla="*/ 164 h 10013"/>
                <a:gd name="connsiteX10" fmla="*/ 7212 w 10550"/>
                <a:gd name="connsiteY10" fmla="*/ 0 h 10013"/>
                <a:gd name="connsiteX11" fmla="*/ 5965 w 10550"/>
                <a:gd name="connsiteY11" fmla="*/ 228 h 10013"/>
                <a:gd name="connsiteX12" fmla="*/ 5675 w 10550"/>
                <a:gd name="connsiteY12" fmla="*/ 1041 h 10013"/>
                <a:gd name="connsiteX13" fmla="*/ 5318 w 10550"/>
                <a:gd name="connsiteY13" fmla="*/ 1676 h 10013"/>
                <a:gd name="connsiteX14" fmla="*/ 3644 w 10550"/>
                <a:gd name="connsiteY14" fmla="*/ 1181 h 10013"/>
                <a:gd name="connsiteX15" fmla="*/ 1480 w 10550"/>
                <a:gd name="connsiteY15" fmla="*/ 515 h 10013"/>
                <a:gd name="connsiteX16" fmla="*/ 409 w 10550"/>
                <a:gd name="connsiteY16" fmla="*/ 470 h 10013"/>
                <a:gd name="connsiteX17" fmla="*/ 45 w 10550"/>
                <a:gd name="connsiteY17" fmla="*/ 470 h 10013"/>
                <a:gd name="connsiteX18" fmla="*/ 896 w 10550"/>
                <a:gd name="connsiteY18" fmla="*/ 723 h 10013"/>
                <a:gd name="connsiteX19" fmla="*/ 336 w 10550"/>
                <a:gd name="connsiteY19" fmla="*/ 1010 h 10013"/>
                <a:gd name="connsiteX20" fmla="*/ 0 w 10550"/>
                <a:gd name="connsiteY20" fmla="*/ 1024 h 10013"/>
                <a:gd name="connsiteX21" fmla="*/ 1505 w 10550"/>
                <a:gd name="connsiteY21" fmla="*/ 982 h 10013"/>
                <a:gd name="connsiteX22" fmla="*/ 2898 w 10550"/>
                <a:gd name="connsiteY22" fmla="*/ 1447 h 10013"/>
                <a:gd name="connsiteX23" fmla="*/ 5645 w 10550"/>
                <a:gd name="connsiteY23" fmla="*/ 2068 h 10013"/>
                <a:gd name="connsiteX24" fmla="*/ 6644 w 10550"/>
                <a:gd name="connsiteY24" fmla="*/ 996 h 10013"/>
                <a:gd name="connsiteX25" fmla="*/ 6713 w 10550"/>
                <a:gd name="connsiteY25" fmla="*/ 500 h 10013"/>
                <a:gd name="connsiteX26" fmla="*/ 7284 w 10550"/>
                <a:gd name="connsiteY26" fmla="*/ 422 h 10013"/>
                <a:gd name="connsiteX27" fmla="*/ 8778 w 10550"/>
                <a:gd name="connsiteY27" fmla="*/ 694 h 10013"/>
                <a:gd name="connsiteX28" fmla="*/ 9102 w 10550"/>
                <a:gd name="connsiteY28" fmla="*/ 2385 h 10013"/>
                <a:gd name="connsiteX29" fmla="*/ 8959 w 10550"/>
                <a:gd name="connsiteY29" fmla="*/ 2565 h 10013"/>
                <a:gd name="connsiteX30" fmla="*/ 8492 w 10550"/>
                <a:gd name="connsiteY30" fmla="*/ 3168 h 10013"/>
                <a:gd name="connsiteX31" fmla="*/ 7530 w 10550"/>
                <a:gd name="connsiteY31" fmla="*/ 5217 h 10013"/>
                <a:gd name="connsiteX32" fmla="*/ 7923 w 10550"/>
                <a:gd name="connsiteY32" fmla="*/ 6997 h 10013"/>
                <a:gd name="connsiteX33" fmla="*/ 8788 w 10550"/>
                <a:gd name="connsiteY33" fmla="*/ 9831 h 10013"/>
                <a:gd name="connsiteX34" fmla="*/ 8640 w 10550"/>
                <a:gd name="connsiteY34" fmla="*/ 9951 h 10013"/>
                <a:gd name="connsiteX0" fmla="*/ 8640 w 10565"/>
                <a:gd name="connsiteY0" fmla="*/ 9951 h 10013"/>
                <a:gd name="connsiteX1" fmla="*/ 9515 w 10565"/>
                <a:gd name="connsiteY1" fmla="*/ 9997 h 10013"/>
                <a:gd name="connsiteX2" fmla="*/ 9636 w 10565"/>
                <a:gd name="connsiteY2" fmla="*/ 9874 h 10013"/>
                <a:gd name="connsiteX3" fmla="*/ 8854 w 10565"/>
                <a:gd name="connsiteY3" fmla="*/ 6877 h 10013"/>
                <a:gd name="connsiteX4" fmla="*/ 8492 w 10565"/>
                <a:gd name="connsiteY4" fmla="*/ 5157 h 10013"/>
                <a:gd name="connsiteX5" fmla="*/ 9354 w 10565"/>
                <a:gd name="connsiteY5" fmla="*/ 3360 h 10013"/>
                <a:gd name="connsiteX6" fmla="*/ 9883 w 10565"/>
                <a:gd name="connsiteY6" fmla="*/ 2684 h 10013"/>
                <a:gd name="connsiteX7" fmla="*/ 10188 w 10565"/>
                <a:gd name="connsiteY7" fmla="*/ 2389 h 10013"/>
                <a:gd name="connsiteX8" fmla="*/ 10505 w 10565"/>
                <a:gd name="connsiteY8" fmla="*/ 1398 h 10013"/>
                <a:gd name="connsiteX9" fmla="*/ 8881 w 10565"/>
                <a:gd name="connsiteY9" fmla="*/ 164 h 10013"/>
                <a:gd name="connsiteX10" fmla="*/ 7212 w 10565"/>
                <a:gd name="connsiteY10" fmla="*/ 0 h 10013"/>
                <a:gd name="connsiteX11" fmla="*/ 5965 w 10565"/>
                <a:gd name="connsiteY11" fmla="*/ 228 h 10013"/>
                <a:gd name="connsiteX12" fmla="*/ 5675 w 10565"/>
                <a:gd name="connsiteY12" fmla="*/ 1041 h 10013"/>
                <a:gd name="connsiteX13" fmla="*/ 5318 w 10565"/>
                <a:gd name="connsiteY13" fmla="*/ 1676 h 10013"/>
                <a:gd name="connsiteX14" fmla="*/ 3644 w 10565"/>
                <a:gd name="connsiteY14" fmla="*/ 1181 h 10013"/>
                <a:gd name="connsiteX15" fmla="*/ 1480 w 10565"/>
                <a:gd name="connsiteY15" fmla="*/ 515 h 10013"/>
                <a:gd name="connsiteX16" fmla="*/ 409 w 10565"/>
                <a:gd name="connsiteY16" fmla="*/ 470 h 10013"/>
                <a:gd name="connsiteX17" fmla="*/ 45 w 10565"/>
                <a:gd name="connsiteY17" fmla="*/ 470 h 10013"/>
                <a:gd name="connsiteX18" fmla="*/ 896 w 10565"/>
                <a:gd name="connsiteY18" fmla="*/ 723 h 10013"/>
                <a:gd name="connsiteX19" fmla="*/ 336 w 10565"/>
                <a:gd name="connsiteY19" fmla="*/ 1010 h 10013"/>
                <a:gd name="connsiteX20" fmla="*/ 0 w 10565"/>
                <a:gd name="connsiteY20" fmla="*/ 1024 h 10013"/>
                <a:gd name="connsiteX21" fmla="*/ 1505 w 10565"/>
                <a:gd name="connsiteY21" fmla="*/ 982 h 10013"/>
                <a:gd name="connsiteX22" fmla="*/ 2898 w 10565"/>
                <a:gd name="connsiteY22" fmla="*/ 1447 h 10013"/>
                <a:gd name="connsiteX23" fmla="*/ 5645 w 10565"/>
                <a:gd name="connsiteY23" fmla="*/ 2068 h 10013"/>
                <a:gd name="connsiteX24" fmla="*/ 6644 w 10565"/>
                <a:gd name="connsiteY24" fmla="*/ 996 h 10013"/>
                <a:gd name="connsiteX25" fmla="*/ 6713 w 10565"/>
                <a:gd name="connsiteY25" fmla="*/ 500 h 10013"/>
                <a:gd name="connsiteX26" fmla="*/ 7284 w 10565"/>
                <a:gd name="connsiteY26" fmla="*/ 422 h 10013"/>
                <a:gd name="connsiteX27" fmla="*/ 8778 w 10565"/>
                <a:gd name="connsiteY27" fmla="*/ 694 h 10013"/>
                <a:gd name="connsiteX28" fmla="*/ 9102 w 10565"/>
                <a:gd name="connsiteY28" fmla="*/ 2385 h 10013"/>
                <a:gd name="connsiteX29" fmla="*/ 8959 w 10565"/>
                <a:gd name="connsiteY29" fmla="*/ 2565 h 10013"/>
                <a:gd name="connsiteX30" fmla="*/ 8492 w 10565"/>
                <a:gd name="connsiteY30" fmla="*/ 3168 h 10013"/>
                <a:gd name="connsiteX31" fmla="*/ 7530 w 10565"/>
                <a:gd name="connsiteY31" fmla="*/ 5217 h 10013"/>
                <a:gd name="connsiteX32" fmla="*/ 7923 w 10565"/>
                <a:gd name="connsiteY32" fmla="*/ 6997 h 10013"/>
                <a:gd name="connsiteX33" fmla="*/ 8788 w 10565"/>
                <a:gd name="connsiteY33" fmla="*/ 9831 h 10013"/>
                <a:gd name="connsiteX34" fmla="*/ 8640 w 10565"/>
                <a:gd name="connsiteY34" fmla="*/ 9951 h 10013"/>
                <a:gd name="connsiteX0" fmla="*/ 8640 w 10565"/>
                <a:gd name="connsiteY0" fmla="*/ 9951 h 10013"/>
                <a:gd name="connsiteX1" fmla="*/ 9515 w 10565"/>
                <a:gd name="connsiteY1" fmla="*/ 9997 h 10013"/>
                <a:gd name="connsiteX2" fmla="*/ 9636 w 10565"/>
                <a:gd name="connsiteY2" fmla="*/ 9874 h 10013"/>
                <a:gd name="connsiteX3" fmla="*/ 8854 w 10565"/>
                <a:gd name="connsiteY3" fmla="*/ 6877 h 10013"/>
                <a:gd name="connsiteX4" fmla="*/ 8492 w 10565"/>
                <a:gd name="connsiteY4" fmla="*/ 5157 h 10013"/>
                <a:gd name="connsiteX5" fmla="*/ 9382 w 10565"/>
                <a:gd name="connsiteY5" fmla="*/ 3475 h 10013"/>
                <a:gd name="connsiteX6" fmla="*/ 9883 w 10565"/>
                <a:gd name="connsiteY6" fmla="*/ 2684 h 10013"/>
                <a:gd name="connsiteX7" fmla="*/ 10188 w 10565"/>
                <a:gd name="connsiteY7" fmla="*/ 2389 h 10013"/>
                <a:gd name="connsiteX8" fmla="*/ 10505 w 10565"/>
                <a:gd name="connsiteY8" fmla="*/ 1398 h 10013"/>
                <a:gd name="connsiteX9" fmla="*/ 8881 w 10565"/>
                <a:gd name="connsiteY9" fmla="*/ 164 h 10013"/>
                <a:gd name="connsiteX10" fmla="*/ 7212 w 10565"/>
                <a:gd name="connsiteY10" fmla="*/ 0 h 10013"/>
                <a:gd name="connsiteX11" fmla="*/ 5965 w 10565"/>
                <a:gd name="connsiteY11" fmla="*/ 228 h 10013"/>
                <a:gd name="connsiteX12" fmla="*/ 5675 w 10565"/>
                <a:gd name="connsiteY12" fmla="*/ 1041 h 10013"/>
                <a:gd name="connsiteX13" fmla="*/ 5318 w 10565"/>
                <a:gd name="connsiteY13" fmla="*/ 1676 h 10013"/>
                <a:gd name="connsiteX14" fmla="*/ 3644 w 10565"/>
                <a:gd name="connsiteY14" fmla="*/ 1181 h 10013"/>
                <a:gd name="connsiteX15" fmla="*/ 1480 w 10565"/>
                <a:gd name="connsiteY15" fmla="*/ 515 h 10013"/>
                <a:gd name="connsiteX16" fmla="*/ 409 w 10565"/>
                <a:gd name="connsiteY16" fmla="*/ 470 h 10013"/>
                <a:gd name="connsiteX17" fmla="*/ 45 w 10565"/>
                <a:gd name="connsiteY17" fmla="*/ 470 h 10013"/>
                <a:gd name="connsiteX18" fmla="*/ 896 w 10565"/>
                <a:gd name="connsiteY18" fmla="*/ 723 h 10013"/>
                <a:gd name="connsiteX19" fmla="*/ 336 w 10565"/>
                <a:gd name="connsiteY19" fmla="*/ 1010 h 10013"/>
                <a:gd name="connsiteX20" fmla="*/ 0 w 10565"/>
                <a:gd name="connsiteY20" fmla="*/ 1024 h 10013"/>
                <a:gd name="connsiteX21" fmla="*/ 1505 w 10565"/>
                <a:gd name="connsiteY21" fmla="*/ 982 h 10013"/>
                <a:gd name="connsiteX22" fmla="*/ 2898 w 10565"/>
                <a:gd name="connsiteY22" fmla="*/ 1447 h 10013"/>
                <a:gd name="connsiteX23" fmla="*/ 5645 w 10565"/>
                <a:gd name="connsiteY23" fmla="*/ 2068 h 10013"/>
                <a:gd name="connsiteX24" fmla="*/ 6644 w 10565"/>
                <a:gd name="connsiteY24" fmla="*/ 996 h 10013"/>
                <a:gd name="connsiteX25" fmla="*/ 6713 w 10565"/>
                <a:gd name="connsiteY25" fmla="*/ 500 h 10013"/>
                <a:gd name="connsiteX26" fmla="*/ 7284 w 10565"/>
                <a:gd name="connsiteY26" fmla="*/ 422 h 10013"/>
                <a:gd name="connsiteX27" fmla="*/ 8778 w 10565"/>
                <a:gd name="connsiteY27" fmla="*/ 694 h 10013"/>
                <a:gd name="connsiteX28" fmla="*/ 9102 w 10565"/>
                <a:gd name="connsiteY28" fmla="*/ 2385 h 10013"/>
                <a:gd name="connsiteX29" fmla="*/ 8959 w 10565"/>
                <a:gd name="connsiteY29" fmla="*/ 2565 h 10013"/>
                <a:gd name="connsiteX30" fmla="*/ 8492 w 10565"/>
                <a:gd name="connsiteY30" fmla="*/ 3168 h 10013"/>
                <a:gd name="connsiteX31" fmla="*/ 7530 w 10565"/>
                <a:gd name="connsiteY31" fmla="*/ 5217 h 10013"/>
                <a:gd name="connsiteX32" fmla="*/ 7923 w 10565"/>
                <a:gd name="connsiteY32" fmla="*/ 6997 h 10013"/>
                <a:gd name="connsiteX33" fmla="*/ 8788 w 10565"/>
                <a:gd name="connsiteY33" fmla="*/ 9831 h 10013"/>
                <a:gd name="connsiteX34" fmla="*/ 8640 w 10565"/>
                <a:gd name="connsiteY34" fmla="*/ 9951 h 10013"/>
                <a:gd name="connsiteX0" fmla="*/ 8640 w 10565"/>
                <a:gd name="connsiteY0" fmla="*/ 9951 h 10013"/>
                <a:gd name="connsiteX1" fmla="*/ 9515 w 10565"/>
                <a:gd name="connsiteY1" fmla="*/ 9997 h 10013"/>
                <a:gd name="connsiteX2" fmla="*/ 9636 w 10565"/>
                <a:gd name="connsiteY2" fmla="*/ 9874 h 10013"/>
                <a:gd name="connsiteX3" fmla="*/ 8854 w 10565"/>
                <a:gd name="connsiteY3" fmla="*/ 6877 h 10013"/>
                <a:gd name="connsiteX4" fmla="*/ 8492 w 10565"/>
                <a:gd name="connsiteY4" fmla="*/ 5157 h 10013"/>
                <a:gd name="connsiteX5" fmla="*/ 9382 w 10565"/>
                <a:gd name="connsiteY5" fmla="*/ 3475 h 10013"/>
                <a:gd name="connsiteX6" fmla="*/ 9883 w 10565"/>
                <a:gd name="connsiteY6" fmla="*/ 2842 h 10013"/>
                <a:gd name="connsiteX7" fmla="*/ 10188 w 10565"/>
                <a:gd name="connsiteY7" fmla="*/ 2389 h 10013"/>
                <a:gd name="connsiteX8" fmla="*/ 10505 w 10565"/>
                <a:gd name="connsiteY8" fmla="*/ 1398 h 10013"/>
                <a:gd name="connsiteX9" fmla="*/ 8881 w 10565"/>
                <a:gd name="connsiteY9" fmla="*/ 164 h 10013"/>
                <a:gd name="connsiteX10" fmla="*/ 7212 w 10565"/>
                <a:gd name="connsiteY10" fmla="*/ 0 h 10013"/>
                <a:gd name="connsiteX11" fmla="*/ 5965 w 10565"/>
                <a:gd name="connsiteY11" fmla="*/ 228 h 10013"/>
                <a:gd name="connsiteX12" fmla="*/ 5675 w 10565"/>
                <a:gd name="connsiteY12" fmla="*/ 1041 h 10013"/>
                <a:gd name="connsiteX13" fmla="*/ 5318 w 10565"/>
                <a:gd name="connsiteY13" fmla="*/ 1676 h 10013"/>
                <a:gd name="connsiteX14" fmla="*/ 3644 w 10565"/>
                <a:gd name="connsiteY14" fmla="*/ 1181 h 10013"/>
                <a:gd name="connsiteX15" fmla="*/ 1480 w 10565"/>
                <a:gd name="connsiteY15" fmla="*/ 515 h 10013"/>
                <a:gd name="connsiteX16" fmla="*/ 409 w 10565"/>
                <a:gd name="connsiteY16" fmla="*/ 470 h 10013"/>
                <a:gd name="connsiteX17" fmla="*/ 45 w 10565"/>
                <a:gd name="connsiteY17" fmla="*/ 470 h 10013"/>
                <a:gd name="connsiteX18" fmla="*/ 896 w 10565"/>
                <a:gd name="connsiteY18" fmla="*/ 723 h 10013"/>
                <a:gd name="connsiteX19" fmla="*/ 336 w 10565"/>
                <a:gd name="connsiteY19" fmla="*/ 1010 h 10013"/>
                <a:gd name="connsiteX20" fmla="*/ 0 w 10565"/>
                <a:gd name="connsiteY20" fmla="*/ 1024 h 10013"/>
                <a:gd name="connsiteX21" fmla="*/ 1505 w 10565"/>
                <a:gd name="connsiteY21" fmla="*/ 982 h 10013"/>
                <a:gd name="connsiteX22" fmla="*/ 2898 w 10565"/>
                <a:gd name="connsiteY22" fmla="*/ 1447 h 10013"/>
                <a:gd name="connsiteX23" fmla="*/ 5645 w 10565"/>
                <a:gd name="connsiteY23" fmla="*/ 2068 h 10013"/>
                <a:gd name="connsiteX24" fmla="*/ 6644 w 10565"/>
                <a:gd name="connsiteY24" fmla="*/ 996 h 10013"/>
                <a:gd name="connsiteX25" fmla="*/ 6713 w 10565"/>
                <a:gd name="connsiteY25" fmla="*/ 500 h 10013"/>
                <a:gd name="connsiteX26" fmla="*/ 7284 w 10565"/>
                <a:gd name="connsiteY26" fmla="*/ 422 h 10013"/>
                <a:gd name="connsiteX27" fmla="*/ 8778 w 10565"/>
                <a:gd name="connsiteY27" fmla="*/ 694 h 10013"/>
                <a:gd name="connsiteX28" fmla="*/ 9102 w 10565"/>
                <a:gd name="connsiteY28" fmla="*/ 2385 h 10013"/>
                <a:gd name="connsiteX29" fmla="*/ 8959 w 10565"/>
                <a:gd name="connsiteY29" fmla="*/ 2565 h 10013"/>
                <a:gd name="connsiteX30" fmla="*/ 8492 w 10565"/>
                <a:gd name="connsiteY30" fmla="*/ 3168 h 10013"/>
                <a:gd name="connsiteX31" fmla="*/ 7530 w 10565"/>
                <a:gd name="connsiteY31" fmla="*/ 5217 h 10013"/>
                <a:gd name="connsiteX32" fmla="*/ 7923 w 10565"/>
                <a:gd name="connsiteY32" fmla="*/ 6997 h 10013"/>
                <a:gd name="connsiteX33" fmla="*/ 8788 w 10565"/>
                <a:gd name="connsiteY33" fmla="*/ 9831 h 10013"/>
                <a:gd name="connsiteX34" fmla="*/ 8640 w 10565"/>
                <a:gd name="connsiteY34" fmla="*/ 9951 h 10013"/>
                <a:gd name="connsiteX0" fmla="*/ 8640 w 10515"/>
                <a:gd name="connsiteY0" fmla="*/ 9951 h 10013"/>
                <a:gd name="connsiteX1" fmla="*/ 9515 w 10515"/>
                <a:gd name="connsiteY1" fmla="*/ 9997 h 10013"/>
                <a:gd name="connsiteX2" fmla="*/ 9636 w 10515"/>
                <a:gd name="connsiteY2" fmla="*/ 9874 h 10013"/>
                <a:gd name="connsiteX3" fmla="*/ 8854 w 10515"/>
                <a:gd name="connsiteY3" fmla="*/ 6877 h 10013"/>
                <a:gd name="connsiteX4" fmla="*/ 8492 w 10515"/>
                <a:gd name="connsiteY4" fmla="*/ 5157 h 10013"/>
                <a:gd name="connsiteX5" fmla="*/ 9382 w 10515"/>
                <a:gd name="connsiteY5" fmla="*/ 3475 h 10013"/>
                <a:gd name="connsiteX6" fmla="*/ 9883 w 10515"/>
                <a:gd name="connsiteY6" fmla="*/ 2842 h 10013"/>
                <a:gd name="connsiteX7" fmla="*/ 10188 w 10515"/>
                <a:gd name="connsiteY7" fmla="*/ 2389 h 10013"/>
                <a:gd name="connsiteX8" fmla="*/ 10505 w 10515"/>
                <a:gd name="connsiteY8" fmla="*/ 1398 h 10013"/>
                <a:gd name="connsiteX9" fmla="*/ 9777 w 10515"/>
                <a:gd name="connsiteY9" fmla="*/ 565 h 10013"/>
                <a:gd name="connsiteX10" fmla="*/ 8881 w 10515"/>
                <a:gd name="connsiteY10" fmla="*/ 164 h 10013"/>
                <a:gd name="connsiteX11" fmla="*/ 7212 w 10515"/>
                <a:gd name="connsiteY11" fmla="*/ 0 h 10013"/>
                <a:gd name="connsiteX12" fmla="*/ 5965 w 10515"/>
                <a:gd name="connsiteY12" fmla="*/ 228 h 10013"/>
                <a:gd name="connsiteX13" fmla="*/ 5675 w 10515"/>
                <a:gd name="connsiteY13" fmla="*/ 1041 h 10013"/>
                <a:gd name="connsiteX14" fmla="*/ 5318 w 10515"/>
                <a:gd name="connsiteY14" fmla="*/ 1676 h 10013"/>
                <a:gd name="connsiteX15" fmla="*/ 3644 w 10515"/>
                <a:gd name="connsiteY15" fmla="*/ 1181 h 10013"/>
                <a:gd name="connsiteX16" fmla="*/ 1480 w 10515"/>
                <a:gd name="connsiteY16" fmla="*/ 515 h 10013"/>
                <a:gd name="connsiteX17" fmla="*/ 409 w 10515"/>
                <a:gd name="connsiteY17" fmla="*/ 470 h 10013"/>
                <a:gd name="connsiteX18" fmla="*/ 45 w 10515"/>
                <a:gd name="connsiteY18" fmla="*/ 470 h 10013"/>
                <a:gd name="connsiteX19" fmla="*/ 896 w 10515"/>
                <a:gd name="connsiteY19" fmla="*/ 723 h 10013"/>
                <a:gd name="connsiteX20" fmla="*/ 336 w 10515"/>
                <a:gd name="connsiteY20" fmla="*/ 1010 h 10013"/>
                <a:gd name="connsiteX21" fmla="*/ 0 w 10515"/>
                <a:gd name="connsiteY21" fmla="*/ 1024 h 10013"/>
                <a:gd name="connsiteX22" fmla="*/ 1505 w 10515"/>
                <a:gd name="connsiteY22" fmla="*/ 982 h 10013"/>
                <a:gd name="connsiteX23" fmla="*/ 2898 w 10515"/>
                <a:gd name="connsiteY23" fmla="*/ 1447 h 10013"/>
                <a:gd name="connsiteX24" fmla="*/ 5645 w 10515"/>
                <a:gd name="connsiteY24" fmla="*/ 2068 h 10013"/>
                <a:gd name="connsiteX25" fmla="*/ 6644 w 10515"/>
                <a:gd name="connsiteY25" fmla="*/ 996 h 10013"/>
                <a:gd name="connsiteX26" fmla="*/ 6713 w 10515"/>
                <a:gd name="connsiteY26" fmla="*/ 500 h 10013"/>
                <a:gd name="connsiteX27" fmla="*/ 7284 w 10515"/>
                <a:gd name="connsiteY27" fmla="*/ 422 h 10013"/>
                <a:gd name="connsiteX28" fmla="*/ 8778 w 10515"/>
                <a:gd name="connsiteY28" fmla="*/ 694 h 10013"/>
                <a:gd name="connsiteX29" fmla="*/ 9102 w 10515"/>
                <a:gd name="connsiteY29" fmla="*/ 2385 h 10013"/>
                <a:gd name="connsiteX30" fmla="*/ 8959 w 10515"/>
                <a:gd name="connsiteY30" fmla="*/ 2565 h 10013"/>
                <a:gd name="connsiteX31" fmla="*/ 8492 w 10515"/>
                <a:gd name="connsiteY31" fmla="*/ 3168 h 10013"/>
                <a:gd name="connsiteX32" fmla="*/ 7530 w 10515"/>
                <a:gd name="connsiteY32" fmla="*/ 5217 h 10013"/>
                <a:gd name="connsiteX33" fmla="*/ 7923 w 10515"/>
                <a:gd name="connsiteY33" fmla="*/ 6997 h 10013"/>
                <a:gd name="connsiteX34" fmla="*/ 8788 w 10515"/>
                <a:gd name="connsiteY34" fmla="*/ 9831 h 10013"/>
                <a:gd name="connsiteX35" fmla="*/ 8640 w 10515"/>
                <a:gd name="connsiteY35" fmla="*/ 9951 h 10013"/>
                <a:gd name="connsiteX0" fmla="*/ 8640 w 10516"/>
                <a:gd name="connsiteY0" fmla="*/ 9951 h 10013"/>
                <a:gd name="connsiteX1" fmla="*/ 9515 w 10516"/>
                <a:gd name="connsiteY1" fmla="*/ 9997 h 10013"/>
                <a:gd name="connsiteX2" fmla="*/ 9636 w 10516"/>
                <a:gd name="connsiteY2" fmla="*/ 9874 h 10013"/>
                <a:gd name="connsiteX3" fmla="*/ 8854 w 10516"/>
                <a:gd name="connsiteY3" fmla="*/ 6877 h 10013"/>
                <a:gd name="connsiteX4" fmla="*/ 8492 w 10516"/>
                <a:gd name="connsiteY4" fmla="*/ 5157 h 10013"/>
                <a:gd name="connsiteX5" fmla="*/ 9382 w 10516"/>
                <a:gd name="connsiteY5" fmla="*/ 3475 h 10013"/>
                <a:gd name="connsiteX6" fmla="*/ 9883 w 10516"/>
                <a:gd name="connsiteY6" fmla="*/ 2842 h 10013"/>
                <a:gd name="connsiteX7" fmla="*/ 10188 w 10516"/>
                <a:gd name="connsiteY7" fmla="*/ 2389 h 10013"/>
                <a:gd name="connsiteX8" fmla="*/ 10505 w 10516"/>
                <a:gd name="connsiteY8" fmla="*/ 1398 h 10013"/>
                <a:gd name="connsiteX9" fmla="*/ 9749 w 10516"/>
                <a:gd name="connsiteY9" fmla="*/ 508 h 10013"/>
                <a:gd name="connsiteX10" fmla="*/ 8881 w 10516"/>
                <a:gd name="connsiteY10" fmla="*/ 164 h 10013"/>
                <a:gd name="connsiteX11" fmla="*/ 7212 w 10516"/>
                <a:gd name="connsiteY11" fmla="*/ 0 h 10013"/>
                <a:gd name="connsiteX12" fmla="*/ 5965 w 10516"/>
                <a:gd name="connsiteY12" fmla="*/ 228 h 10013"/>
                <a:gd name="connsiteX13" fmla="*/ 5675 w 10516"/>
                <a:gd name="connsiteY13" fmla="*/ 1041 h 10013"/>
                <a:gd name="connsiteX14" fmla="*/ 5318 w 10516"/>
                <a:gd name="connsiteY14" fmla="*/ 1676 h 10013"/>
                <a:gd name="connsiteX15" fmla="*/ 3644 w 10516"/>
                <a:gd name="connsiteY15" fmla="*/ 1181 h 10013"/>
                <a:gd name="connsiteX16" fmla="*/ 1480 w 10516"/>
                <a:gd name="connsiteY16" fmla="*/ 515 h 10013"/>
                <a:gd name="connsiteX17" fmla="*/ 409 w 10516"/>
                <a:gd name="connsiteY17" fmla="*/ 470 h 10013"/>
                <a:gd name="connsiteX18" fmla="*/ 45 w 10516"/>
                <a:gd name="connsiteY18" fmla="*/ 470 h 10013"/>
                <a:gd name="connsiteX19" fmla="*/ 896 w 10516"/>
                <a:gd name="connsiteY19" fmla="*/ 723 h 10013"/>
                <a:gd name="connsiteX20" fmla="*/ 336 w 10516"/>
                <a:gd name="connsiteY20" fmla="*/ 1010 h 10013"/>
                <a:gd name="connsiteX21" fmla="*/ 0 w 10516"/>
                <a:gd name="connsiteY21" fmla="*/ 1024 h 10013"/>
                <a:gd name="connsiteX22" fmla="*/ 1505 w 10516"/>
                <a:gd name="connsiteY22" fmla="*/ 982 h 10013"/>
                <a:gd name="connsiteX23" fmla="*/ 2898 w 10516"/>
                <a:gd name="connsiteY23" fmla="*/ 1447 h 10013"/>
                <a:gd name="connsiteX24" fmla="*/ 5645 w 10516"/>
                <a:gd name="connsiteY24" fmla="*/ 2068 h 10013"/>
                <a:gd name="connsiteX25" fmla="*/ 6644 w 10516"/>
                <a:gd name="connsiteY25" fmla="*/ 996 h 10013"/>
                <a:gd name="connsiteX26" fmla="*/ 6713 w 10516"/>
                <a:gd name="connsiteY26" fmla="*/ 500 h 10013"/>
                <a:gd name="connsiteX27" fmla="*/ 7284 w 10516"/>
                <a:gd name="connsiteY27" fmla="*/ 422 h 10013"/>
                <a:gd name="connsiteX28" fmla="*/ 8778 w 10516"/>
                <a:gd name="connsiteY28" fmla="*/ 694 h 10013"/>
                <a:gd name="connsiteX29" fmla="*/ 9102 w 10516"/>
                <a:gd name="connsiteY29" fmla="*/ 2385 h 10013"/>
                <a:gd name="connsiteX30" fmla="*/ 8959 w 10516"/>
                <a:gd name="connsiteY30" fmla="*/ 2565 h 10013"/>
                <a:gd name="connsiteX31" fmla="*/ 8492 w 10516"/>
                <a:gd name="connsiteY31" fmla="*/ 3168 h 10013"/>
                <a:gd name="connsiteX32" fmla="*/ 7530 w 10516"/>
                <a:gd name="connsiteY32" fmla="*/ 5217 h 10013"/>
                <a:gd name="connsiteX33" fmla="*/ 7923 w 10516"/>
                <a:gd name="connsiteY33" fmla="*/ 6997 h 10013"/>
                <a:gd name="connsiteX34" fmla="*/ 8788 w 10516"/>
                <a:gd name="connsiteY34" fmla="*/ 9831 h 10013"/>
                <a:gd name="connsiteX35" fmla="*/ 8640 w 10516"/>
                <a:gd name="connsiteY35" fmla="*/ 9951 h 10013"/>
                <a:gd name="connsiteX0" fmla="*/ 8640 w 10516"/>
                <a:gd name="connsiteY0" fmla="*/ 9951 h 10013"/>
                <a:gd name="connsiteX1" fmla="*/ 9515 w 10516"/>
                <a:gd name="connsiteY1" fmla="*/ 9997 h 10013"/>
                <a:gd name="connsiteX2" fmla="*/ 9636 w 10516"/>
                <a:gd name="connsiteY2" fmla="*/ 9874 h 10013"/>
                <a:gd name="connsiteX3" fmla="*/ 8854 w 10516"/>
                <a:gd name="connsiteY3" fmla="*/ 6877 h 10013"/>
                <a:gd name="connsiteX4" fmla="*/ 8492 w 10516"/>
                <a:gd name="connsiteY4" fmla="*/ 5157 h 10013"/>
                <a:gd name="connsiteX5" fmla="*/ 9382 w 10516"/>
                <a:gd name="connsiteY5" fmla="*/ 3475 h 10013"/>
                <a:gd name="connsiteX6" fmla="*/ 9883 w 10516"/>
                <a:gd name="connsiteY6" fmla="*/ 2842 h 10013"/>
                <a:gd name="connsiteX7" fmla="*/ 10188 w 10516"/>
                <a:gd name="connsiteY7" fmla="*/ 2389 h 10013"/>
                <a:gd name="connsiteX8" fmla="*/ 10505 w 10516"/>
                <a:gd name="connsiteY8" fmla="*/ 1398 h 10013"/>
                <a:gd name="connsiteX9" fmla="*/ 9749 w 10516"/>
                <a:gd name="connsiteY9" fmla="*/ 508 h 10013"/>
                <a:gd name="connsiteX10" fmla="*/ 8881 w 10516"/>
                <a:gd name="connsiteY10" fmla="*/ 164 h 10013"/>
                <a:gd name="connsiteX11" fmla="*/ 7212 w 10516"/>
                <a:gd name="connsiteY11" fmla="*/ 0 h 10013"/>
                <a:gd name="connsiteX12" fmla="*/ 5965 w 10516"/>
                <a:gd name="connsiteY12" fmla="*/ 228 h 10013"/>
                <a:gd name="connsiteX13" fmla="*/ 5675 w 10516"/>
                <a:gd name="connsiteY13" fmla="*/ 1041 h 10013"/>
                <a:gd name="connsiteX14" fmla="*/ 5318 w 10516"/>
                <a:gd name="connsiteY14" fmla="*/ 1676 h 10013"/>
                <a:gd name="connsiteX15" fmla="*/ 3627 w 10516"/>
                <a:gd name="connsiteY15" fmla="*/ 1225 h 10013"/>
                <a:gd name="connsiteX16" fmla="*/ 1480 w 10516"/>
                <a:gd name="connsiteY16" fmla="*/ 515 h 10013"/>
                <a:gd name="connsiteX17" fmla="*/ 409 w 10516"/>
                <a:gd name="connsiteY17" fmla="*/ 470 h 10013"/>
                <a:gd name="connsiteX18" fmla="*/ 45 w 10516"/>
                <a:gd name="connsiteY18" fmla="*/ 470 h 10013"/>
                <a:gd name="connsiteX19" fmla="*/ 896 w 10516"/>
                <a:gd name="connsiteY19" fmla="*/ 723 h 10013"/>
                <a:gd name="connsiteX20" fmla="*/ 336 w 10516"/>
                <a:gd name="connsiteY20" fmla="*/ 1010 h 10013"/>
                <a:gd name="connsiteX21" fmla="*/ 0 w 10516"/>
                <a:gd name="connsiteY21" fmla="*/ 1024 h 10013"/>
                <a:gd name="connsiteX22" fmla="*/ 1505 w 10516"/>
                <a:gd name="connsiteY22" fmla="*/ 982 h 10013"/>
                <a:gd name="connsiteX23" fmla="*/ 2898 w 10516"/>
                <a:gd name="connsiteY23" fmla="*/ 1447 h 10013"/>
                <a:gd name="connsiteX24" fmla="*/ 5645 w 10516"/>
                <a:gd name="connsiteY24" fmla="*/ 2068 h 10013"/>
                <a:gd name="connsiteX25" fmla="*/ 6644 w 10516"/>
                <a:gd name="connsiteY25" fmla="*/ 996 h 10013"/>
                <a:gd name="connsiteX26" fmla="*/ 6713 w 10516"/>
                <a:gd name="connsiteY26" fmla="*/ 500 h 10013"/>
                <a:gd name="connsiteX27" fmla="*/ 7284 w 10516"/>
                <a:gd name="connsiteY27" fmla="*/ 422 h 10013"/>
                <a:gd name="connsiteX28" fmla="*/ 8778 w 10516"/>
                <a:gd name="connsiteY28" fmla="*/ 694 h 10013"/>
                <a:gd name="connsiteX29" fmla="*/ 9102 w 10516"/>
                <a:gd name="connsiteY29" fmla="*/ 2385 h 10013"/>
                <a:gd name="connsiteX30" fmla="*/ 8959 w 10516"/>
                <a:gd name="connsiteY30" fmla="*/ 2565 h 10013"/>
                <a:gd name="connsiteX31" fmla="*/ 8492 w 10516"/>
                <a:gd name="connsiteY31" fmla="*/ 3168 h 10013"/>
                <a:gd name="connsiteX32" fmla="*/ 7530 w 10516"/>
                <a:gd name="connsiteY32" fmla="*/ 5217 h 10013"/>
                <a:gd name="connsiteX33" fmla="*/ 7923 w 10516"/>
                <a:gd name="connsiteY33" fmla="*/ 6997 h 10013"/>
                <a:gd name="connsiteX34" fmla="*/ 8788 w 10516"/>
                <a:gd name="connsiteY34" fmla="*/ 9831 h 10013"/>
                <a:gd name="connsiteX35" fmla="*/ 8640 w 10516"/>
                <a:gd name="connsiteY35" fmla="*/ 9951 h 10013"/>
                <a:gd name="connsiteX0" fmla="*/ 8640 w 10516"/>
                <a:gd name="connsiteY0" fmla="*/ 9951 h 10013"/>
                <a:gd name="connsiteX1" fmla="*/ 9515 w 10516"/>
                <a:gd name="connsiteY1" fmla="*/ 9997 h 10013"/>
                <a:gd name="connsiteX2" fmla="*/ 9636 w 10516"/>
                <a:gd name="connsiteY2" fmla="*/ 9874 h 10013"/>
                <a:gd name="connsiteX3" fmla="*/ 8854 w 10516"/>
                <a:gd name="connsiteY3" fmla="*/ 6877 h 10013"/>
                <a:gd name="connsiteX4" fmla="*/ 8492 w 10516"/>
                <a:gd name="connsiteY4" fmla="*/ 5157 h 10013"/>
                <a:gd name="connsiteX5" fmla="*/ 9382 w 10516"/>
                <a:gd name="connsiteY5" fmla="*/ 3475 h 10013"/>
                <a:gd name="connsiteX6" fmla="*/ 9883 w 10516"/>
                <a:gd name="connsiteY6" fmla="*/ 2842 h 10013"/>
                <a:gd name="connsiteX7" fmla="*/ 10188 w 10516"/>
                <a:gd name="connsiteY7" fmla="*/ 2389 h 10013"/>
                <a:gd name="connsiteX8" fmla="*/ 10505 w 10516"/>
                <a:gd name="connsiteY8" fmla="*/ 1398 h 10013"/>
                <a:gd name="connsiteX9" fmla="*/ 9749 w 10516"/>
                <a:gd name="connsiteY9" fmla="*/ 508 h 10013"/>
                <a:gd name="connsiteX10" fmla="*/ 8881 w 10516"/>
                <a:gd name="connsiteY10" fmla="*/ 164 h 10013"/>
                <a:gd name="connsiteX11" fmla="*/ 7212 w 10516"/>
                <a:gd name="connsiteY11" fmla="*/ 0 h 10013"/>
                <a:gd name="connsiteX12" fmla="*/ 5965 w 10516"/>
                <a:gd name="connsiteY12" fmla="*/ 228 h 10013"/>
                <a:gd name="connsiteX13" fmla="*/ 5675 w 10516"/>
                <a:gd name="connsiteY13" fmla="*/ 1041 h 10013"/>
                <a:gd name="connsiteX14" fmla="*/ 5318 w 10516"/>
                <a:gd name="connsiteY14" fmla="*/ 1676 h 10013"/>
                <a:gd name="connsiteX15" fmla="*/ 3627 w 10516"/>
                <a:gd name="connsiteY15" fmla="*/ 1181 h 10013"/>
                <a:gd name="connsiteX16" fmla="*/ 1480 w 10516"/>
                <a:gd name="connsiteY16" fmla="*/ 515 h 10013"/>
                <a:gd name="connsiteX17" fmla="*/ 409 w 10516"/>
                <a:gd name="connsiteY17" fmla="*/ 470 h 10013"/>
                <a:gd name="connsiteX18" fmla="*/ 45 w 10516"/>
                <a:gd name="connsiteY18" fmla="*/ 470 h 10013"/>
                <a:gd name="connsiteX19" fmla="*/ 896 w 10516"/>
                <a:gd name="connsiteY19" fmla="*/ 723 h 10013"/>
                <a:gd name="connsiteX20" fmla="*/ 336 w 10516"/>
                <a:gd name="connsiteY20" fmla="*/ 1010 h 10013"/>
                <a:gd name="connsiteX21" fmla="*/ 0 w 10516"/>
                <a:gd name="connsiteY21" fmla="*/ 1024 h 10013"/>
                <a:gd name="connsiteX22" fmla="*/ 1505 w 10516"/>
                <a:gd name="connsiteY22" fmla="*/ 982 h 10013"/>
                <a:gd name="connsiteX23" fmla="*/ 2898 w 10516"/>
                <a:gd name="connsiteY23" fmla="*/ 1447 h 10013"/>
                <a:gd name="connsiteX24" fmla="*/ 5645 w 10516"/>
                <a:gd name="connsiteY24" fmla="*/ 2068 h 10013"/>
                <a:gd name="connsiteX25" fmla="*/ 6644 w 10516"/>
                <a:gd name="connsiteY25" fmla="*/ 996 h 10013"/>
                <a:gd name="connsiteX26" fmla="*/ 6713 w 10516"/>
                <a:gd name="connsiteY26" fmla="*/ 500 h 10013"/>
                <a:gd name="connsiteX27" fmla="*/ 7284 w 10516"/>
                <a:gd name="connsiteY27" fmla="*/ 422 h 10013"/>
                <a:gd name="connsiteX28" fmla="*/ 8778 w 10516"/>
                <a:gd name="connsiteY28" fmla="*/ 694 h 10013"/>
                <a:gd name="connsiteX29" fmla="*/ 9102 w 10516"/>
                <a:gd name="connsiteY29" fmla="*/ 2385 h 10013"/>
                <a:gd name="connsiteX30" fmla="*/ 8959 w 10516"/>
                <a:gd name="connsiteY30" fmla="*/ 2565 h 10013"/>
                <a:gd name="connsiteX31" fmla="*/ 8492 w 10516"/>
                <a:gd name="connsiteY31" fmla="*/ 3168 h 10013"/>
                <a:gd name="connsiteX32" fmla="*/ 7530 w 10516"/>
                <a:gd name="connsiteY32" fmla="*/ 5217 h 10013"/>
                <a:gd name="connsiteX33" fmla="*/ 7923 w 10516"/>
                <a:gd name="connsiteY33" fmla="*/ 6997 h 10013"/>
                <a:gd name="connsiteX34" fmla="*/ 8788 w 10516"/>
                <a:gd name="connsiteY34" fmla="*/ 9831 h 10013"/>
                <a:gd name="connsiteX35" fmla="*/ 8640 w 10516"/>
                <a:gd name="connsiteY35" fmla="*/ 9951 h 10013"/>
                <a:gd name="connsiteX0" fmla="*/ 8640 w 10516"/>
                <a:gd name="connsiteY0" fmla="*/ 9951 h 10013"/>
                <a:gd name="connsiteX1" fmla="*/ 9515 w 10516"/>
                <a:gd name="connsiteY1" fmla="*/ 9997 h 10013"/>
                <a:gd name="connsiteX2" fmla="*/ 9636 w 10516"/>
                <a:gd name="connsiteY2" fmla="*/ 9874 h 10013"/>
                <a:gd name="connsiteX3" fmla="*/ 8854 w 10516"/>
                <a:gd name="connsiteY3" fmla="*/ 6877 h 10013"/>
                <a:gd name="connsiteX4" fmla="*/ 8492 w 10516"/>
                <a:gd name="connsiteY4" fmla="*/ 5157 h 10013"/>
                <a:gd name="connsiteX5" fmla="*/ 9382 w 10516"/>
                <a:gd name="connsiteY5" fmla="*/ 3475 h 10013"/>
                <a:gd name="connsiteX6" fmla="*/ 9883 w 10516"/>
                <a:gd name="connsiteY6" fmla="*/ 2842 h 10013"/>
                <a:gd name="connsiteX7" fmla="*/ 10188 w 10516"/>
                <a:gd name="connsiteY7" fmla="*/ 2389 h 10013"/>
                <a:gd name="connsiteX8" fmla="*/ 10505 w 10516"/>
                <a:gd name="connsiteY8" fmla="*/ 1398 h 10013"/>
                <a:gd name="connsiteX9" fmla="*/ 9749 w 10516"/>
                <a:gd name="connsiteY9" fmla="*/ 508 h 10013"/>
                <a:gd name="connsiteX10" fmla="*/ 8881 w 10516"/>
                <a:gd name="connsiteY10" fmla="*/ 164 h 10013"/>
                <a:gd name="connsiteX11" fmla="*/ 7212 w 10516"/>
                <a:gd name="connsiteY11" fmla="*/ 0 h 10013"/>
                <a:gd name="connsiteX12" fmla="*/ 5965 w 10516"/>
                <a:gd name="connsiteY12" fmla="*/ 228 h 10013"/>
                <a:gd name="connsiteX13" fmla="*/ 5675 w 10516"/>
                <a:gd name="connsiteY13" fmla="*/ 1041 h 10013"/>
                <a:gd name="connsiteX14" fmla="*/ 5318 w 10516"/>
                <a:gd name="connsiteY14" fmla="*/ 1676 h 10013"/>
                <a:gd name="connsiteX15" fmla="*/ 3627 w 10516"/>
                <a:gd name="connsiteY15" fmla="*/ 1181 h 10013"/>
                <a:gd name="connsiteX16" fmla="*/ 1480 w 10516"/>
                <a:gd name="connsiteY16" fmla="*/ 515 h 10013"/>
                <a:gd name="connsiteX17" fmla="*/ 409 w 10516"/>
                <a:gd name="connsiteY17" fmla="*/ 470 h 10013"/>
                <a:gd name="connsiteX18" fmla="*/ 45 w 10516"/>
                <a:gd name="connsiteY18" fmla="*/ 470 h 10013"/>
                <a:gd name="connsiteX19" fmla="*/ 896 w 10516"/>
                <a:gd name="connsiteY19" fmla="*/ 723 h 10013"/>
                <a:gd name="connsiteX20" fmla="*/ 336 w 10516"/>
                <a:gd name="connsiteY20" fmla="*/ 1010 h 10013"/>
                <a:gd name="connsiteX21" fmla="*/ 0 w 10516"/>
                <a:gd name="connsiteY21" fmla="*/ 1024 h 10013"/>
                <a:gd name="connsiteX22" fmla="*/ 1505 w 10516"/>
                <a:gd name="connsiteY22" fmla="*/ 982 h 10013"/>
                <a:gd name="connsiteX23" fmla="*/ 2898 w 10516"/>
                <a:gd name="connsiteY23" fmla="*/ 1447 h 10013"/>
                <a:gd name="connsiteX24" fmla="*/ 5645 w 10516"/>
                <a:gd name="connsiteY24" fmla="*/ 2068 h 10013"/>
                <a:gd name="connsiteX25" fmla="*/ 6644 w 10516"/>
                <a:gd name="connsiteY25" fmla="*/ 996 h 10013"/>
                <a:gd name="connsiteX26" fmla="*/ 6713 w 10516"/>
                <a:gd name="connsiteY26" fmla="*/ 500 h 10013"/>
                <a:gd name="connsiteX27" fmla="*/ 7284 w 10516"/>
                <a:gd name="connsiteY27" fmla="*/ 422 h 10013"/>
                <a:gd name="connsiteX28" fmla="*/ 8778 w 10516"/>
                <a:gd name="connsiteY28" fmla="*/ 694 h 10013"/>
                <a:gd name="connsiteX29" fmla="*/ 9102 w 10516"/>
                <a:gd name="connsiteY29" fmla="*/ 2385 h 10013"/>
                <a:gd name="connsiteX30" fmla="*/ 8959 w 10516"/>
                <a:gd name="connsiteY30" fmla="*/ 2565 h 10013"/>
                <a:gd name="connsiteX31" fmla="*/ 8492 w 10516"/>
                <a:gd name="connsiteY31" fmla="*/ 3168 h 10013"/>
                <a:gd name="connsiteX32" fmla="*/ 7530 w 10516"/>
                <a:gd name="connsiteY32" fmla="*/ 5217 h 10013"/>
                <a:gd name="connsiteX33" fmla="*/ 7923 w 10516"/>
                <a:gd name="connsiteY33" fmla="*/ 6997 h 10013"/>
                <a:gd name="connsiteX34" fmla="*/ 8788 w 10516"/>
                <a:gd name="connsiteY34" fmla="*/ 9831 h 10013"/>
                <a:gd name="connsiteX35" fmla="*/ 8640 w 10516"/>
                <a:gd name="connsiteY35" fmla="*/ 9951 h 10013"/>
                <a:gd name="connsiteX0" fmla="*/ 8640 w 10516"/>
                <a:gd name="connsiteY0" fmla="*/ 9960 h 10022"/>
                <a:gd name="connsiteX1" fmla="*/ 9515 w 10516"/>
                <a:gd name="connsiteY1" fmla="*/ 10006 h 10022"/>
                <a:gd name="connsiteX2" fmla="*/ 9636 w 10516"/>
                <a:gd name="connsiteY2" fmla="*/ 9883 h 10022"/>
                <a:gd name="connsiteX3" fmla="*/ 8854 w 10516"/>
                <a:gd name="connsiteY3" fmla="*/ 6886 h 10022"/>
                <a:gd name="connsiteX4" fmla="*/ 8492 w 10516"/>
                <a:gd name="connsiteY4" fmla="*/ 5166 h 10022"/>
                <a:gd name="connsiteX5" fmla="*/ 9382 w 10516"/>
                <a:gd name="connsiteY5" fmla="*/ 3484 h 10022"/>
                <a:gd name="connsiteX6" fmla="*/ 9883 w 10516"/>
                <a:gd name="connsiteY6" fmla="*/ 2851 h 10022"/>
                <a:gd name="connsiteX7" fmla="*/ 10188 w 10516"/>
                <a:gd name="connsiteY7" fmla="*/ 2398 h 10022"/>
                <a:gd name="connsiteX8" fmla="*/ 10505 w 10516"/>
                <a:gd name="connsiteY8" fmla="*/ 1407 h 10022"/>
                <a:gd name="connsiteX9" fmla="*/ 9749 w 10516"/>
                <a:gd name="connsiteY9" fmla="*/ 517 h 10022"/>
                <a:gd name="connsiteX10" fmla="*/ 8881 w 10516"/>
                <a:gd name="connsiteY10" fmla="*/ 173 h 10022"/>
                <a:gd name="connsiteX11" fmla="*/ 7160 w 10516"/>
                <a:gd name="connsiteY11" fmla="*/ 0 h 10022"/>
                <a:gd name="connsiteX12" fmla="*/ 5965 w 10516"/>
                <a:gd name="connsiteY12" fmla="*/ 237 h 10022"/>
                <a:gd name="connsiteX13" fmla="*/ 5675 w 10516"/>
                <a:gd name="connsiteY13" fmla="*/ 1050 h 10022"/>
                <a:gd name="connsiteX14" fmla="*/ 5318 w 10516"/>
                <a:gd name="connsiteY14" fmla="*/ 1685 h 10022"/>
                <a:gd name="connsiteX15" fmla="*/ 3627 w 10516"/>
                <a:gd name="connsiteY15" fmla="*/ 1190 h 10022"/>
                <a:gd name="connsiteX16" fmla="*/ 1480 w 10516"/>
                <a:gd name="connsiteY16" fmla="*/ 524 h 10022"/>
                <a:gd name="connsiteX17" fmla="*/ 409 w 10516"/>
                <a:gd name="connsiteY17" fmla="*/ 479 h 10022"/>
                <a:gd name="connsiteX18" fmla="*/ 45 w 10516"/>
                <a:gd name="connsiteY18" fmla="*/ 479 h 10022"/>
                <a:gd name="connsiteX19" fmla="*/ 896 w 10516"/>
                <a:gd name="connsiteY19" fmla="*/ 732 h 10022"/>
                <a:gd name="connsiteX20" fmla="*/ 336 w 10516"/>
                <a:gd name="connsiteY20" fmla="*/ 1019 h 10022"/>
                <a:gd name="connsiteX21" fmla="*/ 0 w 10516"/>
                <a:gd name="connsiteY21" fmla="*/ 1033 h 10022"/>
                <a:gd name="connsiteX22" fmla="*/ 1505 w 10516"/>
                <a:gd name="connsiteY22" fmla="*/ 991 h 10022"/>
                <a:gd name="connsiteX23" fmla="*/ 2898 w 10516"/>
                <a:gd name="connsiteY23" fmla="*/ 1456 h 10022"/>
                <a:gd name="connsiteX24" fmla="*/ 5645 w 10516"/>
                <a:gd name="connsiteY24" fmla="*/ 2077 h 10022"/>
                <a:gd name="connsiteX25" fmla="*/ 6644 w 10516"/>
                <a:gd name="connsiteY25" fmla="*/ 1005 h 10022"/>
                <a:gd name="connsiteX26" fmla="*/ 6713 w 10516"/>
                <a:gd name="connsiteY26" fmla="*/ 509 h 10022"/>
                <a:gd name="connsiteX27" fmla="*/ 7284 w 10516"/>
                <a:gd name="connsiteY27" fmla="*/ 431 h 10022"/>
                <a:gd name="connsiteX28" fmla="*/ 8778 w 10516"/>
                <a:gd name="connsiteY28" fmla="*/ 703 h 10022"/>
                <a:gd name="connsiteX29" fmla="*/ 9102 w 10516"/>
                <a:gd name="connsiteY29" fmla="*/ 2394 h 10022"/>
                <a:gd name="connsiteX30" fmla="*/ 8959 w 10516"/>
                <a:gd name="connsiteY30" fmla="*/ 2574 h 10022"/>
                <a:gd name="connsiteX31" fmla="*/ 8492 w 10516"/>
                <a:gd name="connsiteY31" fmla="*/ 3177 h 10022"/>
                <a:gd name="connsiteX32" fmla="*/ 7530 w 10516"/>
                <a:gd name="connsiteY32" fmla="*/ 5226 h 10022"/>
                <a:gd name="connsiteX33" fmla="*/ 7923 w 10516"/>
                <a:gd name="connsiteY33" fmla="*/ 7006 h 10022"/>
                <a:gd name="connsiteX34" fmla="*/ 8788 w 10516"/>
                <a:gd name="connsiteY34" fmla="*/ 9840 h 10022"/>
                <a:gd name="connsiteX35" fmla="*/ 8640 w 10516"/>
                <a:gd name="connsiteY35" fmla="*/ 9960 h 10022"/>
                <a:gd name="connsiteX0" fmla="*/ 8640 w 10516"/>
                <a:gd name="connsiteY0" fmla="*/ 9960 h 10022"/>
                <a:gd name="connsiteX1" fmla="*/ 9515 w 10516"/>
                <a:gd name="connsiteY1" fmla="*/ 10006 h 10022"/>
                <a:gd name="connsiteX2" fmla="*/ 9636 w 10516"/>
                <a:gd name="connsiteY2" fmla="*/ 9883 h 10022"/>
                <a:gd name="connsiteX3" fmla="*/ 8854 w 10516"/>
                <a:gd name="connsiteY3" fmla="*/ 6886 h 10022"/>
                <a:gd name="connsiteX4" fmla="*/ 8492 w 10516"/>
                <a:gd name="connsiteY4" fmla="*/ 5166 h 10022"/>
                <a:gd name="connsiteX5" fmla="*/ 9382 w 10516"/>
                <a:gd name="connsiteY5" fmla="*/ 3484 h 10022"/>
                <a:gd name="connsiteX6" fmla="*/ 9883 w 10516"/>
                <a:gd name="connsiteY6" fmla="*/ 2851 h 10022"/>
                <a:gd name="connsiteX7" fmla="*/ 10188 w 10516"/>
                <a:gd name="connsiteY7" fmla="*/ 2398 h 10022"/>
                <a:gd name="connsiteX8" fmla="*/ 10505 w 10516"/>
                <a:gd name="connsiteY8" fmla="*/ 1407 h 10022"/>
                <a:gd name="connsiteX9" fmla="*/ 9749 w 10516"/>
                <a:gd name="connsiteY9" fmla="*/ 517 h 10022"/>
                <a:gd name="connsiteX10" fmla="*/ 8691 w 10516"/>
                <a:gd name="connsiteY10" fmla="*/ 111 h 10022"/>
                <a:gd name="connsiteX11" fmla="*/ 7160 w 10516"/>
                <a:gd name="connsiteY11" fmla="*/ 0 h 10022"/>
                <a:gd name="connsiteX12" fmla="*/ 5965 w 10516"/>
                <a:gd name="connsiteY12" fmla="*/ 237 h 10022"/>
                <a:gd name="connsiteX13" fmla="*/ 5675 w 10516"/>
                <a:gd name="connsiteY13" fmla="*/ 1050 h 10022"/>
                <a:gd name="connsiteX14" fmla="*/ 5318 w 10516"/>
                <a:gd name="connsiteY14" fmla="*/ 1685 h 10022"/>
                <a:gd name="connsiteX15" fmla="*/ 3627 w 10516"/>
                <a:gd name="connsiteY15" fmla="*/ 1190 h 10022"/>
                <a:gd name="connsiteX16" fmla="*/ 1480 w 10516"/>
                <a:gd name="connsiteY16" fmla="*/ 524 h 10022"/>
                <a:gd name="connsiteX17" fmla="*/ 409 w 10516"/>
                <a:gd name="connsiteY17" fmla="*/ 479 h 10022"/>
                <a:gd name="connsiteX18" fmla="*/ 45 w 10516"/>
                <a:gd name="connsiteY18" fmla="*/ 479 h 10022"/>
                <a:gd name="connsiteX19" fmla="*/ 896 w 10516"/>
                <a:gd name="connsiteY19" fmla="*/ 732 h 10022"/>
                <a:gd name="connsiteX20" fmla="*/ 336 w 10516"/>
                <a:gd name="connsiteY20" fmla="*/ 1019 h 10022"/>
                <a:gd name="connsiteX21" fmla="*/ 0 w 10516"/>
                <a:gd name="connsiteY21" fmla="*/ 1033 h 10022"/>
                <a:gd name="connsiteX22" fmla="*/ 1505 w 10516"/>
                <a:gd name="connsiteY22" fmla="*/ 991 h 10022"/>
                <a:gd name="connsiteX23" fmla="*/ 2898 w 10516"/>
                <a:gd name="connsiteY23" fmla="*/ 1456 h 10022"/>
                <a:gd name="connsiteX24" fmla="*/ 5645 w 10516"/>
                <a:gd name="connsiteY24" fmla="*/ 2077 h 10022"/>
                <a:gd name="connsiteX25" fmla="*/ 6644 w 10516"/>
                <a:gd name="connsiteY25" fmla="*/ 1005 h 10022"/>
                <a:gd name="connsiteX26" fmla="*/ 6713 w 10516"/>
                <a:gd name="connsiteY26" fmla="*/ 509 h 10022"/>
                <a:gd name="connsiteX27" fmla="*/ 7284 w 10516"/>
                <a:gd name="connsiteY27" fmla="*/ 431 h 10022"/>
                <a:gd name="connsiteX28" fmla="*/ 8778 w 10516"/>
                <a:gd name="connsiteY28" fmla="*/ 703 h 10022"/>
                <a:gd name="connsiteX29" fmla="*/ 9102 w 10516"/>
                <a:gd name="connsiteY29" fmla="*/ 2394 h 10022"/>
                <a:gd name="connsiteX30" fmla="*/ 8959 w 10516"/>
                <a:gd name="connsiteY30" fmla="*/ 2574 h 10022"/>
                <a:gd name="connsiteX31" fmla="*/ 8492 w 10516"/>
                <a:gd name="connsiteY31" fmla="*/ 3177 h 10022"/>
                <a:gd name="connsiteX32" fmla="*/ 7530 w 10516"/>
                <a:gd name="connsiteY32" fmla="*/ 5226 h 10022"/>
                <a:gd name="connsiteX33" fmla="*/ 7923 w 10516"/>
                <a:gd name="connsiteY33" fmla="*/ 7006 h 10022"/>
                <a:gd name="connsiteX34" fmla="*/ 8788 w 10516"/>
                <a:gd name="connsiteY34" fmla="*/ 9840 h 10022"/>
                <a:gd name="connsiteX35" fmla="*/ 8640 w 10516"/>
                <a:gd name="connsiteY35" fmla="*/ 9960 h 10022"/>
                <a:gd name="connsiteX0" fmla="*/ 8640 w 10513"/>
                <a:gd name="connsiteY0" fmla="*/ 9960 h 10022"/>
                <a:gd name="connsiteX1" fmla="*/ 9515 w 10513"/>
                <a:gd name="connsiteY1" fmla="*/ 10006 h 10022"/>
                <a:gd name="connsiteX2" fmla="*/ 9636 w 10513"/>
                <a:gd name="connsiteY2" fmla="*/ 9883 h 10022"/>
                <a:gd name="connsiteX3" fmla="*/ 8854 w 10513"/>
                <a:gd name="connsiteY3" fmla="*/ 6886 h 10022"/>
                <a:gd name="connsiteX4" fmla="*/ 8492 w 10513"/>
                <a:gd name="connsiteY4" fmla="*/ 5166 h 10022"/>
                <a:gd name="connsiteX5" fmla="*/ 9382 w 10513"/>
                <a:gd name="connsiteY5" fmla="*/ 3484 h 10022"/>
                <a:gd name="connsiteX6" fmla="*/ 9883 w 10513"/>
                <a:gd name="connsiteY6" fmla="*/ 2851 h 10022"/>
                <a:gd name="connsiteX7" fmla="*/ 10188 w 10513"/>
                <a:gd name="connsiteY7" fmla="*/ 2398 h 10022"/>
                <a:gd name="connsiteX8" fmla="*/ 10505 w 10513"/>
                <a:gd name="connsiteY8" fmla="*/ 1407 h 10022"/>
                <a:gd name="connsiteX9" fmla="*/ 9818 w 10513"/>
                <a:gd name="connsiteY9" fmla="*/ 544 h 10022"/>
                <a:gd name="connsiteX10" fmla="*/ 8691 w 10513"/>
                <a:gd name="connsiteY10" fmla="*/ 111 h 10022"/>
                <a:gd name="connsiteX11" fmla="*/ 7160 w 10513"/>
                <a:gd name="connsiteY11" fmla="*/ 0 h 10022"/>
                <a:gd name="connsiteX12" fmla="*/ 5965 w 10513"/>
                <a:gd name="connsiteY12" fmla="*/ 237 h 10022"/>
                <a:gd name="connsiteX13" fmla="*/ 5675 w 10513"/>
                <a:gd name="connsiteY13" fmla="*/ 1050 h 10022"/>
                <a:gd name="connsiteX14" fmla="*/ 5318 w 10513"/>
                <a:gd name="connsiteY14" fmla="*/ 1685 h 10022"/>
                <a:gd name="connsiteX15" fmla="*/ 3627 w 10513"/>
                <a:gd name="connsiteY15" fmla="*/ 1190 h 10022"/>
                <a:gd name="connsiteX16" fmla="*/ 1480 w 10513"/>
                <a:gd name="connsiteY16" fmla="*/ 524 h 10022"/>
                <a:gd name="connsiteX17" fmla="*/ 409 w 10513"/>
                <a:gd name="connsiteY17" fmla="*/ 479 h 10022"/>
                <a:gd name="connsiteX18" fmla="*/ 45 w 10513"/>
                <a:gd name="connsiteY18" fmla="*/ 479 h 10022"/>
                <a:gd name="connsiteX19" fmla="*/ 896 w 10513"/>
                <a:gd name="connsiteY19" fmla="*/ 732 h 10022"/>
                <a:gd name="connsiteX20" fmla="*/ 336 w 10513"/>
                <a:gd name="connsiteY20" fmla="*/ 1019 h 10022"/>
                <a:gd name="connsiteX21" fmla="*/ 0 w 10513"/>
                <a:gd name="connsiteY21" fmla="*/ 1033 h 10022"/>
                <a:gd name="connsiteX22" fmla="*/ 1505 w 10513"/>
                <a:gd name="connsiteY22" fmla="*/ 991 h 10022"/>
                <a:gd name="connsiteX23" fmla="*/ 2898 w 10513"/>
                <a:gd name="connsiteY23" fmla="*/ 1456 h 10022"/>
                <a:gd name="connsiteX24" fmla="*/ 5645 w 10513"/>
                <a:gd name="connsiteY24" fmla="*/ 2077 h 10022"/>
                <a:gd name="connsiteX25" fmla="*/ 6644 w 10513"/>
                <a:gd name="connsiteY25" fmla="*/ 1005 h 10022"/>
                <a:gd name="connsiteX26" fmla="*/ 6713 w 10513"/>
                <a:gd name="connsiteY26" fmla="*/ 509 h 10022"/>
                <a:gd name="connsiteX27" fmla="*/ 7284 w 10513"/>
                <a:gd name="connsiteY27" fmla="*/ 431 h 10022"/>
                <a:gd name="connsiteX28" fmla="*/ 8778 w 10513"/>
                <a:gd name="connsiteY28" fmla="*/ 703 h 10022"/>
                <a:gd name="connsiteX29" fmla="*/ 9102 w 10513"/>
                <a:gd name="connsiteY29" fmla="*/ 2394 h 10022"/>
                <a:gd name="connsiteX30" fmla="*/ 8959 w 10513"/>
                <a:gd name="connsiteY30" fmla="*/ 2574 h 10022"/>
                <a:gd name="connsiteX31" fmla="*/ 8492 w 10513"/>
                <a:gd name="connsiteY31" fmla="*/ 3177 h 10022"/>
                <a:gd name="connsiteX32" fmla="*/ 7530 w 10513"/>
                <a:gd name="connsiteY32" fmla="*/ 5226 h 10022"/>
                <a:gd name="connsiteX33" fmla="*/ 7923 w 10513"/>
                <a:gd name="connsiteY33" fmla="*/ 7006 h 10022"/>
                <a:gd name="connsiteX34" fmla="*/ 8788 w 10513"/>
                <a:gd name="connsiteY34" fmla="*/ 9840 h 10022"/>
                <a:gd name="connsiteX35" fmla="*/ 8640 w 10513"/>
                <a:gd name="connsiteY35" fmla="*/ 9960 h 10022"/>
                <a:gd name="connsiteX0" fmla="*/ 8640 w 10523"/>
                <a:gd name="connsiteY0" fmla="*/ 9960 h 10022"/>
                <a:gd name="connsiteX1" fmla="*/ 9515 w 10523"/>
                <a:gd name="connsiteY1" fmla="*/ 10006 h 10022"/>
                <a:gd name="connsiteX2" fmla="*/ 9636 w 10523"/>
                <a:gd name="connsiteY2" fmla="*/ 9883 h 10022"/>
                <a:gd name="connsiteX3" fmla="*/ 8854 w 10523"/>
                <a:gd name="connsiteY3" fmla="*/ 6886 h 10022"/>
                <a:gd name="connsiteX4" fmla="*/ 8492 w 10523"/>
                <a:gd name="connsiteY4" fmla="*/ 5166 h 10022"/>
                <a:gd name="connsiteX5" fmla="*/ 9382 w 10523"/>
                <a:gd name="connsiteY5" fmla="*/ 3484 h 10022"/>
                <a:gd name="connsiteX6" fmla="*/ 9883 w 10523"/>
                <a:gd name="connsiteY6" fmla="*/ 2851 h 10022"/>
                <a:gd name="connsiteX7" fmla="*/ 10292 w 10523"/>
                <a:gd name="connsiteY7" fmla="*/ 2274 h 10022"/>
                <a:gd name="connsiteX8" fmla="*/ 10505 w 10523"/>
                <a:gd name="connsiteY8" fmla="*/ 1407 h 10022"/>
                <a:gd name="connsiteX9" fmla="*/ 9818 w 10523"/>
                <a:gd name="connsiteY9" fmla="*/ 544 h 10022"/>
                <a:gd name="connsiteX10" fmla="*/ 8691 w 10523"/>
                <a:gd name="connsiteY10" fmla="*/ 111 h 10022"/>
                <a:gd name="connsiteX11" fmla="*/ 7160 w 10523"/>
                <a:gd name="connsiteY11" fmla="*/ 0 h 10022"/>
                <a:gd name="connsiteX12" fmla="*/ 5965 w 10523"/>
                <a:gd name="connsiteY12" fmla="*/ 237 h 10022"/>
                <a:gd name="connsiteX13" fmla="*/ 5675 w 10523"/>
                <a:gd name="connsiteY13" fmla="*/ 1050 h 10022"/>
                <a:gd name="connsiteX14" fmla="*/ 5318 w 10523"/>
                <a:gd name="connsiteY14" fmla="*/ 1685 h 10022"/>
                <a:gd name="connsiteX15" fmla="*/ 3627 w 10523"/>
                <a:gd name="connsiteY15" fmla="*/ 1190 h 10022"/>
                <a:gd name="connsiteX16" fmla="*/ 1480 w 10523"/>
                <a:gd name="connsiteY16" fmla="*/ 524 h 10022"/>
                <a:gd name="connsiteX17" fmla="*/ 409 w 10523"/>
                <a:gd name="connsiteY17" fmla="*/ 479 h 10022"/>
                <a:gd name="connsiteX18" fmla="*/ 45 w 10523"/>
                <a:gd name="connsiteY18" fmla="*/ 479 h 10022"/>
                <a:gd name="connsiteX19" fmla="*/ 896 w 10523"/>
                <a:gd name="connsiteY19" fmla="*/ 732 h 10022"/>
                <a:gd name="connsiteX20" fmla="*/ 336 w 10523"/>
                <a:gd name="connsiteY20" fmla="*/ 1019 h 10022"/>
                <a:gd name="connsiteX21" fmla="*/ 0 w 10523"/>
                <a:gd name="connsiteY21" fmla="*/ 1033 h 10022"/>
                <a:gd name="connsiteX22" fmla="*/ 1505 w 10523"/>
                <a:gd name="connsiteY22" fmla="*/ 991 h 10022"/>
                <a:gd name="connsiteX23" fmla="*/ 2898 w 10523"/>
                <a:gd name="connsiteY23" fmla="*/ 1456 h 10022"/>
                <a:gd name="connsiteX24" fmla="*/ 5645 w 10523"/>
                <a:gd name="connsiteY24" fmla="*/ 2077 h 10022"/>
                <a:gd name="connsiteX25" fmla="*/ 6644 w 10523"/>
                <a:gd name="connsiteY25" fmla="*/ 1005 h 10022"/>
                <a:gd name="connsiteX26" fmla="*/ 6713 w 10523"/>
                <a:gd name="connsiteY26" fmla="*/ 509 h 10022"/>
                <a:gd name="connsiteX27" fmla="*/ 7284 w 10523"/>
                <a:gd name="connsiteY27" fmla="*/ 431 h 10022"/>
                <a:gd name="connsiteX28" fmla="*/ 8778 w 10523"/>
                <a:gd name="connsiteY28" fmla="*/ 703 h 10022"/>
                <a:gd name="connsiteX29" fmla="*/ 9102 w 10523"/>
                <a:gd name="connsiteY29" fmla="*/ 2394 h 10022"/>
                <a:gd name="connsiteX30" fmla="*/ 8959 w 10523"/>
                <a:gd name="connsiteY30" fmla="*/ 2574 h 10022"/>
                <a:gd name="connsiteX31" fmla="*/ 8492 w 10523"/>
                <a:gd name="connsiteY31" fmla="*/ 3177 h 10022"/>
                <a:gd name="connsiteX32" fmla="*/ 7530 w 10523"/>
                <a:gd name="connsiteY32" fmla="*/ 5226 h 10022"/>
                <a:gd name="connsiteX33" fmla="*/ 7923 w 10523"/>
                <a:gd name="connsiteY33" fmla="*/ 7006 h 10022"/>
                <a:gd name="connsiteX34" fmla="*/ 8788 w 10523"/>
                <a:gd name="connsiteY34" fmla="*/ 9840 h 10022"/>
                <a:gd name="connsiteX35" fmla="*/ 8640 w 10523"/>
                <a:gd name="connsiteY35" fmla="*/ 9960 h 10022"/>
                <a:gd name="connsiteX0" fmla="*/ 8640 w 10523"/>
                <a:gd name="connsiteY0" fmla="*/ 9960 h 10022"/>
                <a:gd name="connsiteX1" fmla="*/ 9515 w 10523"/>
                <a:gd name="connsiteY1" fmla="*/ 10006 h 10022"/>
                <a:gd name="connsiteX2" fmla="*/ 9636 w 10523"/>
                <a:gd name="connsiteY2" fmla="*/ 9883 h 10022"/>
                <a:gd name="connsiteX3" fmla="*/ 8854 w 10523"/>
                <a:gd name="connsiteY3" fmla="*/ 6886 h 10022"/>
                <a:gd name="connsiteX4" fmla="*/ 8492 w 10523"/>
                <a:gd name="connsiteY4" fmla="*/ 5166 h 10022"/>
                <a:gd name="connsiteX5" fmla="*/ 9382 w 10523"/>
                <a:gd name="connsiteY5" fmla="*/ 3484 h 10022"/>
                <a:gd name="connsiteX6" fmla="*/ 9883 w 10523"/>
                <a:gd name="connsiteY6" fmla="*/ 2851 h 10022"/>
                <a:gd name="connsiteX7" fmla="*/ 10292 w 10523"/>
                <a:gd name="connsiteY7" fmla="*/ 2274 h 10022"/>
                <a:gd name="connsiteX8" fmla="*/ 10505 w 10523"/>
                <a:gd name="connsiteY8" fmla="*/ 1407 h 10022"/>
                <a:gd name="connsiteX9" fmla="*/ 9818 w 10523"/>
                <a:gd name="connsiteY9" fmla="*/ 544 h 10022"/>
                <a:gd name="connsiteX10" fmla="*/ 8691 w 10523"/>
                <a:gd name="connsiteY10" fmla="*/ 111 h 10022"/>
                <a:gd name="connsiteX11" fmla="*/ 7160 w 10523"/>
                <a:gd name="connsiteY11" fmla="*/ 0 h 10022"/>
                <a:gd name="connsiteX12" fmla="*/ 5965 w 10523"/>
                <a:gd name="connsiteY12" fmla="*/ 237 h 10022"/>
                <a:gd name="connsiteX13" fmla="*/ 5675 w 10523"/>
                <a:gd name="connsiteY13" fmla="*/ 1050 h 10022"/>
                <a:gd name="connsiteX14" fmla="*/ 5318 w 10523"/>
                <a:gd name="connsiteY14" fmla="*/ 1685 h 10022"/>
                <a:gd name="connsiteX15" fmla="*/ 3627 w 10523"/>
                <a:gd name="connsiteY15" fmla="*/ 1190 h 10022"/>
                <a:gd name="connsiteX16" fmla="*/ 1480 w 10523"/>
                <a:gd name="connsiteY16" fmla="*/ 524 h 10022"/>
                <a:gd name="connsiteX17" fmla="*/ 409 w 10523"/>
                <a:gd name="connsiteY17" fmla="*/ 479 h 10022"/>
                <a:gd name="connsiteX18" fmla="*/ 45 w 10523"/>
                <a:gd name="connsiteY18" fmla="*/ 479 h 10022"/>
                <a:gd name="connsiteX19" fmla="*/ 896 w 10523"/>
                <a:gd name="connsiteY19" fmla="*/ 732 h 10022"/>
                <a:gd name="connsiteX20" fmla="*/ 336 w 10523"/>
                <a:gd name="connsiteY20" fmla="*/ 1019 h 10022"/>
                <a:gd name="connsiteX21" fmla="*/ 0 w 10523"/>
                <a:gd name="connsiteY21" fmla="*/ 1033 h 10022"/>
                <a:gd name="connsiteX22" fmla="*/ 1505 w 10523"/>
                <a:gd name="connsiteY22" fmla="*/ 991 h 10022"/>
                <a:gd name="connsiteX23" fmla="*/ 2898 w 10523"/>
                <a:gd name="connsiteY23" fmla="*/ 1456 h 10022"/>
                <a:gd name="connsiteX24" fmla="*/ 5645 w 10523"/>
                <a:gd name="connsiteY24" fmla="*/ 2077 h 10022"/>
                <a:gd name="connsiteX25" fmla="*/ 6644 w 10523"/>
                <a:gd name="connsiteY25" fmla="*/ 1005 h 10022"/>
                <a:gd name="connsiteX26" fmla="*/ 6713 w 10523"/>
                <a:gd name="connsiteY26" fmla="*/ 509 h 10022"/>
                <a:gd name="connsiteX27" fmla="*/ 7284 w 10523"/>
                <a:gd name="connsiteY27" fmla="*/ 431 h 10022"/>
                <a:gd name="connsiteX28" fmla="*/ 8778 w 10523"/>
                <a:gd name="connsiteY28" fmla="*/ 703 h 10022"/>
                <a:gd name="connsiteX29" fmla="*/ 9102 w 10523"/>
                <a:gd name="connsiteY29" fmla="*/ 2394 h 10022"/>
                <a:gd name="connsiteX30" fmla="*/ 8959 w 10523"/>
                <a:gd name="connsiteY30" fmla="*/ 2574 h 10022"/>
                <a:gd name="connsiteX31" fmla="*/ 8527 w 10523"/>
                <a:gd name="connsiteY31" fmla="*/ 3177 h 10022"/>
                <a:gd name="connsiteX32" fmla="*/ 7530 w 10523"/>
                <a:gd name="connsiteY32" fmla="*/ 5226 h 10022"/>
                <a:gd name="connsiteX33" fmla="*/ 7923 w 10523"/>
                <a:gd name="connsiteY33" fmla="*/ 7006 h 10022"/>
                <a:gd name="connsiteX34" fmla="*/ 8788 w 10523"/>
                <a:gd name="connsiteY34" fmla="*/ 9840 h 10022"/>
                <a:gd name="connsiteX35" fmla="*/ 8640 w 10523"/>
                <a:gd name="connsiteY35" fmla="*/ 9960 h 10022"/>
                <a:gd name="connsiteX0" fmla="*/ 8640 w 10523"/>
                <a:gd name="connsiteY0" fmla="*/ 9960 h 10022"/>
                <a:gd name="connsiteX1" fmla="*/ 9515 w 10523"/>
                <a:gd name="connsiteY1" fmla="*/ 10006 h 10022"/>
                <a:gd name="connsiteX2" fmla="*/ 9636 w 10523"/>
                <a:gd name="connsiteY2" fmla="*/ 9883 h 10022"/>
                <a:gd name="connsiteX3" fmla="*/ 8854 w 10523"/>
                <a:gd name="connsiteY3" fmla="*/ 6886 h 10022"/>
                <a:gd name="connsiteX4" fmla="*/ 8596 w 10523"/>
                <a:gd name="connsiteY4" fmla="*/ 5193 h 10022"/>
                <a:gd name="connsiteX5" fmla="*/ 9382 w 10523"/>
                <a:gd name="connsiteY5" fmla="*/ 3484 h 10022"/>
                <a:gd name="connsiteX6" fmla="*/ 9883 w 10523"/>
                <a:gd name="connsiteY6" fmla="*/ 2851 h 10022"/>
                <a:gd name="connsiteX7" fmla="*/ 10292 w 10523"/>
                <a:gd name="connsiteY7" fmla="*/ 2274 h 10022"/>
                <a:gd name="connsiteX8" fmla="*/ 10505 w 10523"/>
                <a:gd name="connsiteY8" fmla="*/ 1407 h 10022"/>
                <a:gd name="connsiteX9" fmla="*/ 9818 w 10523"/>
                <a:gd name="connsiteY9" fmla="*/ 544 h 10022"/>
                <a:gd name="connsiteX10" fmla="*/ 8691 w 10523"/>
                <a:gd name="connsiteY10" fmla="*/ 111 h 10022"/>
                <a:gd name="connsiteX11" fmla="*/ 7160 w 10523"/>
                <a:gd name="connsiteY11" fmla="*/ 0 h 10022"/>
                <a:gd name="connsiteX12" fmla="*/ 5965 w 10523"/>
                <a:gd name="connsiteY12" fmla="*/ 237 h 10022"/>
                <a:gd name="connsiteX13" fmla="*/ 5675 w 10523"/>
                <a:gd name="connsiteY13" fmla="*/ 1050 h 10022"/>
                <a:gd name="connsiteX14" fmla="*/ 5318 w 10523"/>
                <a:gd name="connsiteY14" fmla="*/ 1685 h 10022"/>
                <a:gd name="connsiteX15" fmla="*/ 3627 w 10523"/>
                <a:gd name="connsiteY15" fmla="*/ 1190 h 10022"/>
                <a:gd name="connsiteX16" fmla="*/ 1480 w 10523"/>
                <a:gd name="connsiteY16" fmla="*/ 524 h 10022"/>
                <a:gd name="connsiteX17" fmla="*/ 409 w 10523"/>
                <a:gd name="connsiteY17" fmla="*/ 479 h 10022"/>
                <a:gd name="connsiteX18" fmla="*/ 45 w 10523"/>
                <a:gd name="connsiteY18" fmla="*/ 479 h 10022"/>
                <a:gd name="connsiteX19" fmla="*/ 896 w 10523"/>
                <a:gd name="connsiteY19" fmla="*/ 732 h 10022"/>
                <a:gd name="connsiteX20" fmla="*/ 336 w 10523"/>
                <a:gd name="connsiteY20" fmla="*/ 1019 h 10022"/>
                <a:gd name="connsiteX21" fmla="*/ 0 w 10523"/>
                <a:gd name="connsiteY21" fmla="*/ 1033 h 10022"/>
                <a:gd name="connsiteX22" fmla="*/ 1505 w 10523"/>
                <a:gd name="connsiteY22" fmla="*/ 991 h 10022"/>
                <a:gd name="connsiteX23" fmla="*/ 2898 w 10523"/>
                <a:gd name="connsiteY23" fmla="*/ 1456 h 10022"/>
                <a:gd name="connsiteX24" fmla="*/ 5645 w 10523"/>
                <a:gd name="connsiteY24" fmla="*/ 2077 h 10022"/>
                <a:gd name="connsiteX25" fmla="*/ 6644 w 10523"/>
                <a:gd name="connsiteY25" fmla="*/ 1005 h 10022"/>
                <a:gd name="connsiteX26" fmla="*/ 6713 w 10523"/>
                <a:gd name="connsiteY26" fmla="*/ 509 h 10022"/>
                <a:gd name="connsiteX27" fmla="*/ 7284 w 10523"/>
                <a:gd name="connsiteY27" fmla="*/ 431 h 10022"/>
                <a:gd name="connsiteX28" fmla="*/ 8778 w 10523"/>
                <a:gd name="connsiteY28" fmla="*/ 703 h 10022"/>
                <a:gd name="connsiteX29" fmla="*/ 9102 w 10523"/>
                <a:gd name="connsiteY29" fmla="*/ 2394 h 10022"/>
                <a:gd name="connsiteX30" fmla="*/ 8959 w 10523"/>
                <a:gd name="connsiteY30" fmla="*/ 2574 h 10022"/>
                <a:gd name="connsiteX31" fmla="*/ 8527 w 10523"/>
                <a:gd name="connsiteY31" fmla="*/ 3177 h 10022"/>
                <a:gd name="connsiteX32" fmla="*/ 7530 w 10523"/>
                <a:gd name="connsiteY32" fmla="*/ 5226 h 10022"/>
                <a:gd name="connsiteX33" fmla="*/ 7923 w 10523"/>
                <a:gd name="connsiteY33" fmla="*/ 7006 h 10022"/>
                <a:gd name="connsiteX34" fmla="*/ 8788 w 10523"/>
                <a:gd name="connsiteY34" fmla="*/ 9840 h 10022"/>
                <a:gd name="connsiteX35" fmla="*/ 8640 w 10523"/>
                <a:gd name="connsiteY35" fmla="*/ 9960 h 10022"/>
                <a:gd name="connsiteX0" fmla="*/ 8640 w 10523"/>
                <a:gd name="connsiteY0" fmla="*/ 9960 h 10022"/>
                <a:gd name="connsiteX1" fmla="*/ 9515 w 10523"/>
                <a:gd name="connsiteY1" fmla="*/ 10006 h 10022"/>
                <a:gd name="connsiteX2" fmla="*/ 9636 w 10523"/>
                <a:gd name="connsiteY2" fmla="*/ 9883 h 10022"/>
                <a:gd name="connsiteX3" fmla="*/ 8854 w 10523"/>
                <a:gd name="connsiteY3" fmla="*/ 6886 h 10022"/>
                <a:gd name="connsiteX4" fmla="*/ 8596 w 10523"/>
                <a:gd name="connsiteY4" fmla="*/ 5193 h 10022"/>
                <a:gd name="connsiteX5" fmla="*/ 9382 w 10523"/>
                <a:gd name="connsiteY5" fmla="*/ 3484 h 10022"/>
                <a:gd name="connsiteX6" fmla="*/ 9883 w 10523"/>
                <a:gd name="connsiteY6" fmla="*/ 2851 h 10022"/>
                <a:gd name="connsiteX7" fmla="*/ 10292 w 10523"/>
                <a:gd name="connsiteY7" fmla="*/ 2274 h 10022"/>
                <a:gd name="connsiteX8" fmla="*/ 10505 w 10523"/>
                <a:gd name="connsiteY8" fmla="*/ 1407 h 10022"/>
                <a:gd name="connsiteX9" fmla="*/ 9818 w 10523"/>
                <a:gd name="connsiteY9" fmla="*/ 544 h 10022"/>
                <a:gd name="connsiteX10" fmla="*/ 8691 w 10523"/>
                <a:gd name="connsiteY10" fmla="*/ 111 h 10022"/>
                <a:gd name="connsiteX11" fmla="*/ 7160 w 10523"/>
                <a:gd name="connsiteY11" fmla="*/ 0 h 10022"/>
                <a:gd name="connsiteX12" fmla="*/ 5965 w 10523"/>
                <a:gd name="connsiteY12" fmla="*/ 237 h 10022"/>
                <a:gd name="connsiteX13" fmla="*/ 5675 w 10523"/>
                <a:gd name="connsiteY13" fmla="*/ 1050 h 10022"/>
                <a:gd name="connsiteX14" fmla="*/ 5318 w 10523"/>
                <a:gd name="connsiteY14" fmla="*/ 1685 h 10022"/>
                <a:gd name="connsiteX15" fmla="*/ 3627 w 10523"/>
                <a:gd name="connsiteY15" fmla="*/ 1190 h 10022"/>
                <a:gd name="connsiteX16" fmla="*/ 1480 w 10523"/>
                <a:gd name="connsiteY16" fmla="*/ 524 h 10022"/>
                <a:gd name="connsiteX17" fmla="*/ 409 w 10523"/>
                <a:gd name="connsiteY17" fmla="*/ 479 h 10022"/>
                <a:gd name="connsiteX18" fmla="*/ 45 w 10523"/>
                <a:gd name="connsiteY18" fmla="*/ 479 h 10022"/>
                <a:gd name="connsiteX19" fmla="*/ 896 w 10523"/>
                <a:gd name="connsiteY19" fmla="*/ 732 h 10022"/>
                <a:gd name="connsiteX20" fmla="*/ 336 w 10523"/>
                <a:gd name="connsiteY20" fmla="*/ 1019 h 10022"/>
                <a:gd name="connsiteX21" fmla="*/ 0 w 10523"/>
                <a:gd name="connsiteY21" fmla="*/ 1033 h 10022"/>
                <a:gd name="connsiteX22" fmla="*/ 1505 w 10523"/>
                <a:gd name="connsiteY22" fmla="*/ 991 h 10022"/>
                <a:gd name="connsiteX23" fmla="*/ 2898 w 10523"/>
                <a:gd name="connsiteY23" fmla="*/ 1456 h 10022"/>
                <a:gd name="connsiteX24" fmla="*/ 5645 w 10523"/>
                <a:gd name="connsiteY24" fmla="*/ 2077 h 10022"/>
                <a:gd name="connsiteX25" fmla="*/ 6644 w 10523"/>
                <a:gd name="connsiteY25" fmla="*/ 1005 h 10022"/>
                <a:gd name="connsiteX26" fmla="*/ 6713 w 10523"/>
                <a:gd name="connsiteY26" fmla="*/ 509 h 10022"/>
                <a:gd name="connsiteX27" fmla="*/ 7284 w 10523"/>
                <a:gd name="connsiteY27" fmla="*/ 431 h 10022"/>
                <a:gd name="connsiteX28" fmla="*/ 8778 w 10523"/>
                <a:gd name="connsiteY28" fmla="*/ 703 h 10022"/>
                <a:gd name="connsiteX29" fmla="*/ 9102 w 10523"/>
                <a:gd name="connsiteY29" fmla="*/ 2394 h 10022"/>
                <a:gd name="connsiteX30" fmla="*/ 8959 w 10523"/>
                <a:gd name="connsiteY30" fmla="*/ 2574 h 10022"/>
                <a:gd name="connsiteX31" fmla="*/ 8527 w 10523"/>
                <a:gd name="connsiteY31" fmla="*/ 3177 h 10022"/>
                <a:gd name="connsiteX32" fmla="*/ 7582 w 10523"/>
                <a:gd name="connsiteY32" fmla="*/ 5235 h 10022"/>
                <a:gd name="connsiteX33" fmla="*/ 7923 w 10523"/>
                <a:gd name="connsiteY33" fmla="*/ 7006 h 10022"/>
                <a:gd name="connsiteX34" fmla="*/ 8788 w 10523"/>
                <a:gd name="connsiteY34" fmla="*/ 9840 h 10022"/>
                <a:gd name="connsiteX35" fmla="*/ 8640 w 10523"/>
                <a:gd name="connsiteY35" fmla="*/ 9960 h 10022"/>
                <a:gd name="connsiteX0" fmla="*/ 8640 w 10523"/>
                <a:gd name="connsiteY0" fmla="*/ 9960 h 10022"/>
                <a:gd name="connsiteX1" fmla="*/ 9515 w 10523"/>
                <a:gd name="connsiteY1" fmla="*/ 10006 h 10022"/>
                <a:gd name="connsiteX2" fmla="*/ 9636 w 10523"/>
                <a:gd name="connsiteY2" fmla="*/ 9883 h 10022"/>
                <a:gd name="connsiteX3" fmla="*/ 8854 w 10523"/>
                <a:gd name="connsiteY3" fmla="*/ 6886 h 10022"/>
                <a:gd name="connsiteX4" fmla="*/ 8596 w 10523"/>
                <a:gd name="connsiteY4" fmla="*/ 5193 h 10022"/>
                <a:gd name="connsiteX5" fmla="*/ 9382 w 10523"/>
                <a:gd name="connsiteY5" fmla="*/ 3484 h 10022"/>
                <a:gd name="connsiteX6" fmla="*/ 9883 w 10523"/>
                <a:gd name="connsiteY6" fmla="*/ 2851 h 10022"/>
                <a:gd name="connsiteX7" fmla="*/ 10292 w 10523"/>
                <a:gd name="connsiteY7" fmla="*/ 2274 h 10022"/>
                <a:gd name="connsiteX8" fmla="*/ 10505 w 10523"/>
                <a:gd name="connsiteY8" fmla="*/ 1407 h 10022"/>
                <a:gd name="connsiteX9" fmla="*/ 9818 w 10523"/>
                <a:gd name="connsiteY9" fmla="*/ 544 h 10022"/>
                <a:gd name="connsiteX10" fmla="*/ 8691 w 10523"/>
                <a:gd name="connsiteY10" fmla="*/ 111 h 10022"/>
                <a:gd name="connsiteX11" fmla="*/ 7160 w 10523"/>
                <a:gd name="connsiteY11" fmla="*/ 0 h 10022"/>
                <a:gd name="connsiteX12" fmla="*/ 5965 w 10523"/>
                <a:gd name="connsiteY12" fmla="*/ 237 h 10022"/>
                <a:gd name="connsiteX13" fmla="*/ 5675 w 10523"/>
                <a:gd name="connsiteY13" fmla="*/ 1050 h 10022"/>
                <a:gd name="connsiteX14" fmla="*/ 5318 w 10523"/>
                <a:gd name="connsiteY14" fmla="*/ 1685 h 10022"/>
                <a:gd name="connsiteX15" fmla="*/ 3627 w 10523"/>
                <a:gd name="connsiteY15" fmla="*/ 1190 h 10022"/>
                <a:gd name="connsiteX16" fmla="*/ 1480 w 10523"/>
                <a:gd name="connsiteY16" fmla="*/ 524 h 10022"/>
                <a:gd name="connsiteX17" fmla="*/ 409 w 10523"/>
                <a:gd name="connsiteY17" fmla="*/ 479 h 10022"/>
                <a:gd name="connsiteX18" fmla="*/ 45 w 10523"/>
                <a:gd name="connsiteY18" fmla="*/ 479 h 10022"/>
                <a:gd name="connsiteX19" fmla="*/ 896 w 10523"/>
                <a:gd name="connsiteY19" fmla="*/ 732 h 10022"/>
                <a:gd name="connsiteX20" fmla="*/ 336 w 10523"/>
                <a:gd name="connsiteY20" fmla="*/ 1019 h 10022"/>
                <a:gd name="connsiteX21" fmla="*/ 0 w 10523"/>
                <a:gd name="connsiteY21" fmla="*/ 1033 h 10022"/>
                <a:gd name="connsiteX22" fmla="*/ 1505 w 10523"/>
                <a:gd name="connsiteY22" fmla="*/ 991 h 10022"/>
                <a:gd name="connsiteX23" fmla="*/ 2898 w 10523"/>
                <a:gd name="connsiteY23" fmla="*/ 1456 h 10022"/>
                <a:gd name="connsiteX24" fmla="*/ 5645 w 10523"/>
                <a:gd name="connsiteY24" fmla="*/ 2077 h 10022"/>
                <a:gd name="connsiteX25" fmla="*/ 6644 w 10523"/>
                <a:gd name="connsiteY25" fmla="*/ 1005 h 10022"/>
                <a:gd name="connsiteX26" fmla="*/ 6713 w 10523"/>
                <a:gd name="connsiteY26" fmla="*/ 509 h 10022"/>
                <a:gd name="connsiteX27" fmla="*/ 7284 w 10523"/>
                <a:gd name="connsiteY27" fmla="*/ 431 h 10022"/>
                <a:gd name="connsiteX28" fmla="*/ 8778 w 10523"/>
                <a:gd name="connsiteY28" fmla="*/ 703 h 10022"/>
                <a:gd name="connsiteX29" fmla="*/ 9102 w 10523"/>
                <a:gd name="connsiteY29" fmla="*/ 2394 h 10022"/>
                <a:gd name="connsiteX30" fmla="*/ 8959 w 10523"/>
                <a:gd name="connsiteY30" fmla="*/ 2574 h 10022"/>
                <a:gd name="connsiteX31" fmla="*/ 8527 w 10523"/>
                <a:gd name="connsiteY31" fmla="*/ 3177 h 10022"/>
                <a:gd name="connsiteX32" fmla="*/ 7582 w 10523"/>
                <a:gd name="connsiteY32" fmla="*/ 5235 h 10022"/>
                <a:gd name="connsiteX33" fmla="*/ 7923 w 10523"/>
                <a:gd name="connsiteY33" fmla="*/ 7006 h 10022"/>
                <a:gd name="connsiteX34" fmla="*/ 8788 w 10523"/>
                <a:gd name="connsiteY34" fmla="*/ 9840 h 10022"/>
                <a:gd name="connsiteX35" fmla="*/ 8640 w 10523"/>
                <a:gd name="connsiteY35" fmla="*/ 9960 h 10022"/>
                <a:gd name="connsiteX0" fmla="*/ 8673 w 10556"/>
                <a:gd name="connsiteY0" fmla="*/ 9960 h 10022"/>
                <a:gd name="connsiteX1" fmla="*/ 9548 w 10556"/>
                <a:gd name="connsiteY1" fmla="*/ 10006 h 10022"/>
                <a:gd name="connsiteX2" fmla="*/ 9669 w 10556"/>
                <a:gd name="connsiteY2" fmla="*/ 9883 h 10022"/>
                <a:gd name="connsiteX3" fmla="*/ 8887 w 10556"/>
                <a:gd name="connsiteY3" fmla="*/ 6886 h 10022"/>
                <a:gd name="connsiteX4" fmla="*/ 8629 w 10556"/>
                <a:gd name="connsiteY4" fmla="*/ 5193 h 10022"/>
                <a:gd name="connsiteX5" fmla="*/ 9415 w 10556"/>
                <a:gd name="connsiteY5" fmla="*/ 3484 h 10022"/>
                <a:gd name="connsiteX6" fmla="*/ 9916 w 10556"/>
                <a:gd name="connsiteY6" fmla="*/ 2851 h 10022"/>
                <a:gd name="connsiteX7" fmla="*/ 10325 w 10556"/>
                <a:gd name="connsiteY7" fmla="*/ 2274 h 10022"/>
                <a:gd name="connsiteX8" fmla="*/ 10538 w 10556"/>
                <a:gd name="connsiteY8" fmla="*/ 1407 h 10022"/>
                <a:gd name="connsiteX9" fmla="*/ 9851 w 10556"/>
                <a:gd name="connsiteY9" fmla="*/ 544 h 10022"/>
                <a:gd name="connsiteX10" fmla="*/ 8724 w 10556"/>
                <a:gd name="connsiteY10" fmla="*/ 111 h 10022"/>
                <a:gd name="connsiteX11" fmla="*/ 7193 w 10556"/>
                <a:gd name="connsiteY11" fmla="*/ 0 h 10022"/>
                <a:gd name="connsiteX12" fmla="*/ 5998 w 10556"/>
                <a:gd name="connsiteY12" fmla="*/ 237 h 10022"/>
                <a:gd name="connsiteX13" fmla="*/ 5708 w 10556"/>
                <a:gd name="connsiteY13" fmla="*/ 1050 h 10022"/>
                <a:gd name="connsiteX14" fmla="*/ 5351 w 10556"/>
                <a:gd name="connsiteY14" fmla="*/ 1685 h 10022"/>
                <a:gd name="connsiteX15" fmla="*/ 3660 w 10556"/>
                <a:gd name="connsiteY15" fmla="*/ 1190 h 10022"/>
                <a:gd name="connsiteX16" fmla="*/ 1513 w 10556"/>
                <a:gd name="connsiteY16" fmla="*/ 524 h 10022"/>
                <a:gd name="connsiteX17" fmla="*/ 442 w 10556"/>
                <a:gd name="connsiteY17" fmla="*/ 479 h 10022"/>
                <a:gd name="connsiteX18" fmla="*/ 78 w 10556"/>
                <a:gd name="connsiteY18" fmla="*/ 479 h 10022"/>
                <a:gd name="connsiteX19" fmla="*/ 929 w 10556"/>
                <a:gd name="connsiteY19" fmla="*/ 732 h 10022"/>
                <a:gd name="connsiteX20" fmla="*/ 527 w 10556"/>
                <a:gd name="connsiteY20" fmla="*/ 954 h 10022"/>
                <a:gd name="connsiteX21" fmla="*/ 33 w 10556"/>
                <a:gd name="connsiteY21" fmla="*/ 1033 h 10022"/>
                <a:gd name="connsiteX22" fmla="*/ 1538 w 10556"/>
                <a:gd name="connsiteY22" fmla="*/ 991 h 10022"/>
                <a:gd name="connsiteX23" fmla="*/ 2931 w 10556"/>
                <a:gd name="connsiteY23" fmla="*/ 1456 h 10022"/>
                <a:gd name="connsiteX24" fmla="*/ 5678 w 10556"/>
                <a:gd name="connsiteY24" fmla="*/ 2077 h 10022"/>
                <a:gd name="connsiteX25" fmla="*/ 6677 w 10556"/>
                <a:gd name="connsiteY25" fmla="*/ 1005 h 10022"/>
                <a:gd name="connsiteX26" fmla="*/ 6746 w 10556"/>
                <a:gd name="connsiteY26" fmla="*/ 509 h 10022"/>
                <a:gd name="connsiteX27" fmla="*/ 7317 w 10556"/>
                <a:gd name="connsiteY27" fmla="*/ 431 h 10022"/>
                <a:gd name="connsiteX28" fmla="*/ 8811 w 10556"/>
                <a:gd name="connsiteY28" fmla="*/ 703 h 10022"/>
                <a:gd name="connsiteX29" fmla="*/ 9135 w 10556"/>
                <a:gd name="connsiteY29" fmla="*/ 2394 h 10022"/>
                <a:gd name="connsiteX30" fmla="*/ 8992 w 10556"/>
                <a:gd name="connsiteY30" fmla="*/ 2574 h 10022"/>
                <a:gd name="connsiteX31" fmla="*/ 8560 w 10556"/>
                <a:gd name="connsiteY31" fmla="*/ 3177 h 10022"/>
                <a:gd name="connsiteX32" fmla="*/ 7615 w 10556"/>
                <a:gd name="connsiteY32" fmla="*/ 5235 h 10022"/>
                <a:gd name="connsiteX33" fmla="*/ 7956 w 10556"/>
                <a:gd name="connsiteY33" fmla="*/ 7006 h 10022"/>
                <a:gd name="connsiteX34" fmla="*/ 8821 w 10556"/>
                <a:gd name="connsiteY34" fmla="*/ 9840 h 10022"/>
                <a:gd name="connsiteX35" fmla="*/ 8673 w 10556"/>
                <a:gd name="connsiteY35" fmla="*/ 9960 h 10022"/>
                <a:gd name="connsiteX0" fmla="*/ 8614 w 10497"/>
                <a:gd name="connsiteY0" fmla="*/ 9960 h 10022"/>
                <a:gd name="connsiteX1" fmla="*/ 9489 w 10497"/>
                <a:gd name="connsiteY1" fmla="*/ 10006 h 10022"/>
                <a:gd name="connsiteX2" fmla="*/ 9610 w 10497"/>
                <a:gd name="connsiteY2" fmla="*/ 9883 h 10022"/>
                <a:gd name="connsiteX3" fmla="*/ 8828 w 10497"/>
                <a:gd name="connsiteY3" fmla="*/ 6886 h 10022"/>
                <a:gd name="connsiteX4" fmla="*/ 8570 w 10497"/>
                <a:gd name="connsiteY4" fmla="*/ 5193 h 10022"/>
                <a:gd name="connsiteX5" fmla="*/ 9356 w 10497"/>
                <a:gd name="connsiteY5" fmla="*/ 3484 h 10022"/>
                <a:gd name="connsiteX6" fmla="*/ 9857 w 10497"/>
                <a:gd name="connsiteY6" fmla="*/ 2851 h 10022"/>
                <a:gd name="connsiteX7" fmla="*/ 10266 w 10497"/>
                <a:gd name="connsiteY7" fmla="*/ 2274 h 10022"/>
                <a:gd name="connsiteX8" fmla="*/ 10479 w 10497"/>
                <a:gd name="connsiteY8" fmla="*/ 1407 h 10022"/>
                <a:gd name="connsiteX9" fmla="*/ 9792 w 10497"/>
                <a:gd name="connsiteY9" fmla="*/ 544 h 10022"/>
                <a:gd name="connsiteX10" fmla="*/ 8665 w 10497"/>
                <a:gd name="connsiteY10" fmla="*/ 111 h 10022"/>
                <a:gd name="connsiteX11" fmla="*/ 7134 w 10497"/>
                <a:gd name="connsiteY11" fmla="*/ 0 h 10022"/>
                <a:gd name="connsiteX12" fmla="*/ 5939 w 10497"/>
                <a:gd name="connsiteY12" fmla="*/ 237 h 10022"/>
                <a:gd name="connsiteX13" fmla="*/ 5649 w 10497"/>
                <a:gd name="connsiteY13" fmla="*/ 1050 h 10022"/>
                <a:gd name="connsiteX14" fmla="*/ 5292 w 10497"/>
                <a:gd name="connsiteY14" fmla="*/ 1685 h 10022"/>
                <a:gd name="connsiteX15" fmla="*/ 3601 w 10497"/>
                <a:gd name="connsiteY15" fmla="*/ 1190 h 10022"/>
                <a:gd name="connsiteX16" fmla="*/ 1454 w 10497"/>
                <a:gd name="connsiteY16" fmla="*/ 524 h 10022"/>
                <a:gd name="connsiteX17" fmla="*/ 383 w 10497"/>
                <a:gd name="connsiteY17" fmla="*/ 479 h 10022"/>
                <a:gd name="connsiteX18" fmla="*/ 19 w 10497"/>
                <a:gd name="connsiteY18" fmla="*/ 479 h 10022"/>
                <a:gd name="connsiteX19" fmla="*/ 870 w 10497"/>
                <a:gd name="connsiteY19" fmla="*/ 732 h 10022"/>
                <a:gd name="connsiteX20" fmla="*/ 468 w 10497"/>
                <a:gd name="connsiteY20" fmla="*/ 954 h 10022"/>
                <a:gd name="connsiteX21" fmla="*/ 37 w 10497"/>
                <a:gd name="connsiteY21" fmla="*/ 1017 h 10022"/>
                <a:gd name="connsiteX22" fmla="*/ 1479 w 10497"/>
                <a:gd name="connsiteY22" fmla="*/ 991 h 10022"/>
                <a:gd name="connsiteX23" fmla="*/ 2872 w 10497"/>
                <a:gd name="connsiteY23" fmla="*/ 1456 h 10022"/>
                <a:gd name="connsiteX24" fmla="*/ 5619 w 10497"/>
                <a:gd name="connsiteY24" fmla="*/ 2077 h 10022"/>
                <a:gd name="connsiteX25" fmla="*/ 6618 w 10497"/>
                <a:gd name="connsiteY25" fmla="*/ 1005 h 10022"/>
                <a:gd name="connsiteX26" fmla="*/ 6687 w 10497"/>
                <a:gd name="connsiteY26" fmla="*/ 509 h 10022"/>
                <a:gd name="connsiteX27" fmla="*/ 7258 w 10497"/>
                <a:gd name="connsiteY27" fmla="*/ 431 h 10022"/>
                <a:gd name="connsiteX28" fmla="*/ 8752 w 10497"/>
                <a:gd name="connsiteY28" fmla="*/ 703 h 10022"/>
                <a:gd name="connsiteX29" fmla="*/ 9076 w 10497"/>
                <a:gd name="connsiteY29" fmla="*/ 2394 h 10022"/>
                <a:gd name="connsiteX30" fmla="*/ 8933 w 10497"/>
                <a:gd name="connsiteY30" fmla="*/ 2574 h 10022"/>
                <a:gd name="connsiteX31" fmla="*/ 8501 w 10497"/>
                <a:gd name="connsiteY31" fmla="*/ 3177 h 10022"/>
                <a:gd name="connsiteX32" fmla="*/ 7556 w 10497"/>
                <a:gd name="connsiteY32" fmla="*/ 5235 h 10022"/>
                <a:gd name="connsiteX33" fmla="*/ 7897 w 10497"/>
                <a:gd name="connsiteY33" fmla="*/ 7006 h 10022"/>
                <a:gd name="connsiteX34" fmla="*/ 8762 w 10497"/>
                <a:gd name="connsiteY34" fmla="*/ 9840 h 10022"/>
                <a:gd name="connsiteX35" fmla="*/ 8614 w 10497"/>
                <a:gd name="connsiteY35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275 w 10480"/>
                <a:gd name="connsiteY14" fmla="*/ 1685 h 10022"/>
                <a:gd name="connsiteX15" fmla="*/ 3584 w 10480"/>
                <a:gd name="connsiteY15" fmla="*/ 1190 h 10022"/>
                <a:gd name="connsiteX16" fmla="*/ 1437 w 10480"/>
                <a:gd name="connsiteY16" fmla="*/ 524 h 10022"/>
                <a:gd name="connsiteX17" fmla="*/ 366 w 10480"/>
                <a:gd name="connsiteY17" fmla="*/ 479 h 10022"/>
                <a:gd name="connsiteX18" fmla="*/ 2 w 10480"/>
                <a:gd name="connsiteY18" fmla="*/ 479 h 10022"/>
                <a:gd name="connsiteX19" fmla="*/ 853 w 10480"/>
                <a:gd name="connsiteY19" fmla="*/ 732 h 10022"/>
                <a:gd name="connsiteX20" fmla="*/ 640 w 10480"/>
                <a:gd name="connsiteY20" fmla="*/ 938 h 10022"/>
                <a:gd name="connsiteX21" fmla="*/ 20 w 10480"/>
                <a:gd name="connsiteY21" fmla="*/ 1017 h 10022"/>
                <a:gd name="connsiteX22" fmla="*/ 1462 w 10480"/>
                <a:gd name="connsiteY22" fmla="*/ 991 h 10022"/>
                <a:gd name="connsiteX23" fmla="*/ 2855 w 10480"/>
                <a:gd name="connsiteY23" fmla="*/ 1456 h 10022"/>
                <a:gd name="connsiteX24" fmla="*/ 5602 w 10480"/>
                <a:gd name="connsiteY24" fmla="*/ 2077 h 10022"/>
                <a:gd name="connsiteX25" fmla="*/ 6601 w 10480"/>
                <a:gd name="connsiteY25" fmla="*/ 1005 h 10022"/>
                <a:gd name="connsiteX26" fmla="*/ 6670 w 10480"/>
                <a:gd name="connsiteY26" fmla="*/ 509 h 10022"/>
                <a:gd name="connsiteX27" fmla="*/ 7241 w 10480"/>
                <a:gd name="connsiteY27" fmla="*/ 431 h 10022"/>
                <a:gd name="connsiteX28" fmla="*/ 8735 w 10480"/>
                <a:gd name="connsiteY28" fmla="*/ 703 h 10022"/>
                <a:gd name="connsiteX29" fmla="*/ 9059 w 10480"/>
                <a:gd name="connsiteY29" fmla="*/ 2394 h 10022"/>
                <a:gd name="connsiteX30" fmla="*/ 8916 w 10480"/>
                <a:gd name="connsiteY30" fmla="*/ 2574 h 10022"/>
                <a:gd name="connsiteX31" fmla="*/ 8484 w 10480"/>
                <a:gd name="connsiteY31" fmla="*/ 3177 h 10022"/>
                <a:gd name="connsiteX32" fmla="*/ 7539 w 10480"/>
                <a:gd name="connsiteY32" fmla="*/ 5235 h 10022"/>
                <a:gd name="connsiteX33" fmla="*/ 7880 w 10480"/>
                <a:gd name="connsiteY33" fmla="*/ 7006 h 10022"/>
                <a:gd name="connsiteX34" fmla="*/ 8745 w 10480"/>
                <a:gd name="connsiteY34" fmla="*/ 9840 h 10022"/>
                <a:gd name="connsiteX35" fmla="*/ 8597 w 10480"/>
                <a:gd name="connsiteY35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275 w 10480"/>
                <a:gd name="connsiteY14" fmla="*/ 1685 h 10022"/>
                <a:gd name="connsiteX15" fmla="*/ 3584 w 10480"/>
                <a:gd name="connsiteY15" fmla="*/ 1190 h 10022"/>
                <a:gd name="connsiteX16" fmla="*/ 1347 w 10480"/>
                <a:gd name="connsiteY16" fmla="*/ 516 h 10022"/>
                <a:gd name="connsiteX17" fmla="*/ 366 w 10480"/>
                <a:gd name="connsiteY17" fmla="*/ 479 h 10022"/>
                <a:gd name="connsiteX18" fmla="*/ 2 w 10480"/>
                <a:gd name="connsiteY18" fmla="*/ 479 h 10022"/>
                <a:gd name="connsiteX19" fmla="*/ 853 w 10480"/>
                <a:gd name="connsiteY19" fmla="*/ 732 h 10022"/>
                <a:gd name="connsiteX20" fmla="*/ 640 w 10480"/>
                <a:gd name="connsiteY20" fmla="*/ 938 h 10022"/>
                <a:gd name="connsiteX21" fmla="*/ 20 w 10480"/>
                <a:gd name="connsiteY21" fmla="*/ 1017 h 10022"/>
                <a:gd name="connsiteX22" fmla="*/ 1462 w 10480"/>
                <a:gd name="connsiteY22" fmla="*/ 991 h 10022"/>
                <a:gd name="connsiteX23" fmla="*/ 2855 w 10480"/>
                <a:gd name="connsiteY23" fmla="*/ 1456 h 10022"/>
                <a:gd name="connsiteX24" fmla="*/ 5602 w 10480"/>
                <a:gd name="connsiteY24" fmla="*/ 2077 h 10022"/>
                <a:gd name="connsiteX25" fmla="*/ 6601 w 10480"/>
                <a:gd name="connsiteY25" fmla="*/ 1005 h 10022"/>
                <a:gd name="connsiteX26" fmla="*/ 6670 w 10480"/>
                <a:gd name="connsiteY26" fmla="*/ 509 h 10022"/>
                <a:gd name="connsiteX27" fmla="*/ 7241 w 10480"/>
                <a:gd name="connsiteY27" fmla="*/ 431 h 10022"/>
                <a:gd name="connsiteX28" fmla="*/ 8735 w 10480"/>
                <a:gd name="connsiteY28" fmla="*/ 703 h 10022"/>
                <a:gd name="connsiteX29" fmla="*/ 9059 w 10480"/>
                <a:gd name="connsiteY29" fmla="*/ 2394 h 10022"/>
                <a:gd name="connsiteX30" fmla="*/ 8916 w 10480"/>
                <a:gd name="connsiteY30" fmla="*/ 2574 h 10022"/>
                <a:gd name="connsiteX31" fmla="*/ 8484 w 10480"/>
                <a:gd name="connsiteY31" fmla="*/ 3177 h 10022"/>
                <a:gd name="connsiteX32" fmla="*/ 7539 w 10480"/>
                <a:gd name="connsiteY32" fmla="*/ 5235 h 10022"/>
                <a:gd name="connsiteX33" fmla="*/ 7880 w 10480"/>
                <a:gd name="connsiteY33" fmla="*/ 7006 h 10022"/>
                <a:gd name="connsiteX34" fmla="*/ 8745 w 10480"/>
                <a:gd name="connsiteY34" fmla="*/ 9840 h 10022"/>
                <a:gd name="connsiteX35" fmla="*/ 8597 w 10480"/>
                <a:gd name="connsiteY35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275 w 10480"/>
                <a:gd name="connsiteY14" fmla="*/ 1685 h 10022"/>
                <a:gd name="connsiteX15" fmla="*/ 3584 w 10480"/>
                <a:gd name="connsiteY15" fmla="*/ 1190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275 w 10480"/>
                <a:gd name="connsiteY14" fmla="*/ 1685 h 10022"/>
                <a:gd name="connsiteX15" fmla="*/ 3584 w 10480"/>
                <a:gd name="connsiteY15" fmla="*/ 1190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275 w 10480"/>
                <a:gd name="connsiteY14" fmla="*/ 1685 h 10022"/>
                <a:gd name="connsiteX15" fmla="*/ 3584 w 10480"/>
                <a:gd name="connsiteY15" fmla="*/ 1190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275 w 10480"/>
                <a:gd name="connsiteY14" fmla="*/ 1685 h 10022"/>
                <a:gd name="connsiteX15" fmla="*/ 3584 w 10480"/>
                <a:gd name="connsiteY15" fmla="*/ 1190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305 w 10480"/>
                <a:gd name="connsiteY14" fmla="*/ 1662 h 10022"/>
                <a:gd name="connsiteX15" fmla="*/ 3584 w 10480"/>
                <a:gd name="connsiteY15" fmla="*/ 1190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305 w 10480"/>
                <a:gd name="connsiteY14" fmla="*/ 1662 h 10022"/>
                <a:gd name="connsiteX15" fmla="*/ 3584 w 10480"/>
                <a:gd name="connsiteY15" fmla="*/ 1190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305 w 10480"/>
                <a:gd name="connsiteY14" fmla="*/ 1662 h 10022"/>
                <a:gd name="connsiteX15" fmla="*/ 3524 w 10480"/>
                <a:gd name="connsiteY15" fmla="*/ 1167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305 w 10480"/>
                <a:gd name="connsiteY14" fmla="*/ 1662 h 10022"/>
                <a:gd name="connsiteX15" fmla="*/ 3524 w 10480"/>
                <a:gd name="connsiteY15" fmla="*/ 1167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60 h 10022"/>
                <a:gd name="connsiteX1" fmla="*/ 9472 w 10480"/>
                <a:gd name="connsiteY1" fmla="*/ 10006 h 10022"/>
                <a:gd name="connsiteX2" fmla="*/ 9593 w 10480"/>
                <a:gd name="connsiteY2" fmla="*/ 9883 h 10022"/>
                <a:gd name="connsiteX3" fmla="*/ 8811 w 10480"/>
                <a:gd name="connsiteY3" fmla="*/ 6886 h 10022"/>
                <a:gd name="connsiteX4" fmla="*/ 8553 w 10480"/>
                <a:gd name="connsiteY4" fmla="*/ 5193 h 10022"/>
                <a:gd name="connsiteX5" fmla="*/ 9339 w 10480"/>
                <a:gd name="connsiteY5" fmla="*/ 3484 h 10022"/>
                <a:gd name="connsiteX6" fmla="*/ 9840 w 10480"/>
                <a:gd name="connsiteY6" fmla="*/ 2851 h 10022"/>
                <a:gd name="connsiteX7" fmla="*/ 10249 w 10480"/>
                <a:gd name="connsiteY7" fmla="*/ 2274 h 10022"/>
                <a:gd name="connsiteX8" fmla="*/ 10462 w 10480"/>
                <a:gd name="connsiteY8" fmla="*/ 1407 h 10022"/>
                <a:gd name="connsiteX9" fmla="*/ 9775 w 10480"/>
                <a:gd name="connsiteY9" fmla="*/ 544 h 10022"/>
                <a:gd name="connsiteX10" fmla="*/ 8648 w 10480"/>
                <a:gd name="connsiteY10" fmla="*/ 111 h 10022"/>
                <a:gd name="connsiteX11" fmla="*/ 7117 w 10480"/>
                <a:gd name="connsiteY11" fmla="*/ 0 h 10022"/>
                <a:gd name="connsiteX12" fmla="*/ 5922 w 10480"/>
                <a:gd name="connsiteY12" fmla="*/ 237 h 10022"/>
                <a:gd name="connsiteX13" fmla="*/ 5632 w 10480"/>
                <a:gd name="connsiteY13" fmla="*/ 1050 h 10022"/>
                <a:gd name="connsiteX14" fmla="*/ 5305 w 10480"/>
                <a:gd name="connsiteY14" fmla="*/ 1662 h 10022"/>
                <a:gd name="connsiteX15" fmla="*/ 3524 w 10480"/>
                <a:gd name="connsiteY15" fmla="*/ 1167 h 10022"/>
                <a:gd name="connsiteX16" fmla="*/ 2561 w 10480"/>
                <a:gd name="connsiteY16" fmla="*/ 734 h 10022"/>
                <a:gd name="connsiteX17" fmla="*/ 1347 w 10480"/>
                <a:gd name="connsiteY17" fmla="*/ 516 h 10022"/>
                <a:gd name="connsiteX18" fmla="*/ 366 w 10480"/>
                <a:gd name="connsiteY18" fmla="*/ 479 h 10022"/>
                <a:gd name="connsiteX19" fmla="*/ 2 w 10480"/>
                <a:gd name="connsiteY19" fmla="*/ 479 h 10022"/>
                <a:gd name="connsiteX20" fmla="*/ 853 w 10480"/>
                <a:gd name="connsiteY20" fmla="*/ 732 h 10022"/>
                <a:gd name="connsiteX21" fmla="*/ 640 w 10480"/>
                <a:gd name="connsiteY21" fmla="*/ 938 h 10022"/>
                <a:gd name="connsiteX22" fmla="*/ 20 w 10480"/>
                <a:gd name="connsiteY22" fmla="*/ 1017 h 10022"/>
                <a:gd name="connsiteX23" fmla="*/ 1462 w 10480"/>
                <a:gd name="connsiteY23" fmla="*/ 991 h 10022"/>
                <a:gd name="connsiteX24" fmla="*/ 2855 w 10480"/>
                <a:gd name="connsiteY24" fmla="*/ 1456 h 10022"/>
                <a:gd name="connsiteX25" fmla="*/ 5602 w 10480"/>
                <a:gd name="connsiteY25" fmla="*/ 2077 h 10022"/>
                <a:gd name="connsiteX26" fmla="*/ 6601 w 10480"/>
                <a:gd name="connsiteY26" fmla="*/ 1005 h 10022"/>
                <a:gd name="connsiteX27" fmla="*/ 6670 w 10480"/>
                <a:gd name="connsiteY27" fmla="*/ 509 h 10022"/>
                <a:gd name="connsiteX28" fmla="*/ 7241 w 10480"/>
                <a:gd name="connsiteY28" fmla="*/ 431 h 10022"/>
                <a:gd name="connsiteX29" fmla="*/ 8735 w 10480"/>
                <a:gd name="connsiteY29" fmla="*/ 703 h 10022"/>
                <a:gd name="connsiteX30" fmla="*/ 9059 w 10480"/>
                <a:gd name="connsiteY30" fmla="*/ 2394 h 10022"/>
                <a:gd name="connsiteX31" fmla="*/ 8916 w 10480"/>
                <a:gd name="connsiteY31" fmla="*/ 2574 h 10022"/>
                <a:gd name="connsiteX32" fmla="*/ 8484 w 10480"/>
                <a:gd name="connsiteY32" fmla="*/ 3177 h 10022"/>
                <a:gd name="connsiteX33" fmla="*/ 7539 w 10480"/>
                <a:gd name="connsiteY33" fmla="*/ 5235 h 10022"/>
                <a:gd name="connsiteX34" fmla="*/ 7880 w 10480"/>
                <a:gd name="connsiteY34" fmla="*/ 7006 h 10022"/>
                <a:gd name="connsiteX35" fmla="*/ 8745 w 10480"/>
                <a:gd name="connsiteY35" fmla="*/ 9840 h 10022"/>
                <a:gd name="connsiteX36" fmla="*/ 8597 w 10480"/>
                <a:gd name="connsiteY36" fmla="*/ 9960 h 10022"/>
                <a:gd name="connsiteX0" fmla="*/ 8597 w 10480"/>
                <a:gd name="connsiteY0" fmla="*/ 9975 h 10037"/>
                <a:gd name="connsiteX1" fmla="*/ 9472 w 10480"/>
                <a:gd name="connsiteY1" fmla="*/ 10021 h 10037"/>
                <a:gd name="connsiteX2" fmla="*/ 9593 w 10480"/>
                <a:gd name="connsiteY2" fmla="*/ 9898 h 10037"/>
                <a:gd name="connsiteX3" fmla="*/ 8811 w 10480"/>
                <a:gd name="connsiteY3" fmla="*/ 6901 h 10037"/>
                <a:gd name="connsiteX4" fmla="*/ 8553 w 10480"/>
                <a:gd name="connsiteY4" fmla="*/ 5208 h 10037"/>
                <a:gd name="connsiteX5" fmla="*/ 9339 w 10480"/>
                <a:gd name="connsiteY5" fmla="*/ 3499 h 10037"/>
                <a:gd name="connsiteX6" fmla="*/ 9840 w 10480"/>
                <a:gd name="connsiteY6" fmla="*/ 2866 h 10037"/>
                <a:gd name="connsiteX7" fmla="*/ 10249 w 10480"/>
                <a:gd name="connsiteY7" fmla="*/ 2289 h 10037"/>
                <a:gd name="connsiteX8" fmla="*/ 10462 w 10480"/>
                <a:gd name="connsiteY8" fmla="*/ 1422 h 10037"/>
                <a:gd name="connsiteX9" fmla="*/ 9775 w 10480"/>
                <a:gd name="connsiteY9" fmla="*/ 559 h 10037"/>
                <a:gd name="connsiteX10" fmla="*/ 8648 w 10480"/>
                <a:gd name="connsiteY10" fmla="*/ 126 h 10037"/>
                <a:gd name="connsiteX11" fmla="*/ 7162 w 10480"/>
                <a:gd name="connsiteY11" fmla="*/ 0 h 10037"/>
                <a:gd name="connsiteX12" fmla="*/ 5922 w 10480"/>
                <a:gd name="connsiteY12" fmla="*/ 252 h 10037"/>
                <a:gd name="connsiteX13" fmla="*/ 5632 w 10480"/>
                <a:gd name="connsiteY13" fmla="*/ 1065 h 10037"/>
                <a:gd name="connsiteX14" fmla="*/ 5305 w 10480"/>
                <a:gd name="connsiteY14" fmla="*/ 1677 h 10037"/>
                <a:gd name="connsiteX15" fmla="*/ 3524 w 10480"/>
                <a:gd name="connsiteY15" fmla="*/ 1182 h 10037"/>
                <a:gd name="connsiteX16" fmla="*/ 2561 w 10480"/>
                <a:gd name="connsiteY16" fmla="*/ 749 h 10037"/>
                <a:gd name="connsiteX17" fmla="*/ 1347 w 10480"/>
                <a:gd name="connsiteY17" fmla="*/ 531 h 10037"/>
                <a:gd name="connsiteX18" fmla="*/ 366 w 10480"/>
                <a:gd name="connsiteY18" fmla="*/ 494 h 10037"/>
                <a:gd name="connsiteX19" fmla="*/ 2 w 10480"/>
                <a:gd name="connsiteY19" fmla="*/ 494 h 10037"/>
                <a:gd name="connsiteX20" fmla="*/ 853 w 10480"/>
                <a:gd name="connsiteY20" fmla="*/ 747 h 10037"/>
                <a:gd name="connsiteX21" fmla="*/ 640 w 10480"/>
                <a:gd name="connsiteY21" fmla="*/ 953 h 10037"/>
                <a:gd name="connsiteX22" fmla="*/ 20 w 10480"/>
                <a:gd name="connsiteY22" fmla="*/ 1032 h 10037"/>
                <a:gd name="connsiteX23" fmla="*/ 1462 w 10480"/>
                <a:gd name="connsiteY23" fmla="*/ 1006 h 10037"/>
                <a:gd name="connsiteX24" fmla="*/ 2855 w 10480"/>
                <a:gd name="connsiteY24" fmla="*/ 1471 h 10037"/>
                <a:gd name="connsiteX25" fmla="*/ 5602 w 10480"/>
                <a:gd name="connsiteY25" fmla="*/ 2092 h 10037"/>
                <a:gd name="connsiteX26" fmla="*/ 6601 w 10480"/>
                <a:gd name="connsiteY26" fmla="*/ 1020 h 10037"/>
                <a:gd name="connsiteX27" fmla="*/ 6670 w 10480"/>
                <a:gd name="connsiteY27" fmla="*/ 524 h 10037"/>
                <a:gd name="connsiteX28" fmla="*/ 7241 w 10480"/>
                <a:gd name="connsiteY28" fmla="*/ 446 h 10037"/>
                <a:gd name="connsiteX29" fmla="*/ 8735 w 10480"/>
                <a:gd name="connsiteY29" fmla="*/ 718 h 10037"/>
                <a:gd name="connsiteX30" fmla="*/ 9059 w 10480"/>
                <a:gd name="connsiteY30" fmla="*/ 2409 h 10037"/>
                <a:gd name="connsiteX31" fmla="*/ 8916 w 10480"/>
                <a:gd name="connsiteY31" fmla="*/ 2589 h 10037"/>
                <a:gd name="connsiteX32" fmla="*/ 8484 w 10480"/>
                <a:gd name="connsiteY32" fmla="*/ 3192 h 10037"/>
                <a:gd name="connsiteX33" fmla="*/ 7539 w 10480"/>
                <a:gd name="connsiteY33" fmla="*/ 5250 h 10037"/>
                <a:gd name="connsiteX34" fmla="*/ 7880 w 10480"/>
                <a:gd name="connsiteY34" fmla="*/ 7021 h 10037"/>
                <a:gd name="connsiteX35" fmla="*/ 8745 w 10480"/>
                <a:gd name="connsiteY35" fmla="*/ 9855 h 10037"/>
                <a:gd name="connsiteX36" fmla="*/ 8597 w 10480"/>
                <a:gd name="connsiteY36" fmla="*/ 9975 h 10037"/>
                <a:gd name="connsiteX0" fmla="*/ 8597 w 10480"/>
                <a:gd name="connsiteY0" fmla="*/ 9975 h 10037"/>
                <a:gd name="connsiteX1" fmla="*/ 9472 w 10480"/>
                <a:gd name="connsiteY1" fmla="*/ 10021 h 10037"/>
                <a:gd name="connsiteX2" fmla="*/ 9593 w 10480"/>
                <a:gd name="connsiteY2" fmla="*/ 9898 h 10037"/>
                <a:gd name="connsiteX3" fmla="*/ 8811 w 10480"/>
                <a:gd name="connsiteY3" fmla="*/ 6901 h 10037"/>
                <a:gd name="connsiteX4" fmla="*/ 8553 w 10480"/>
                <a:gd name="connsiteY4" fmla="*/ 5208 h 10037"/>
                <a:gd name="connsiteX5" fmla="*/ 9339 w 10480"/>
                <a:gd name="connsiteY5" fmla="*/ 3499 h 10037"/>
                <a:gd name="connsiteX6" fmla="*/ 9840 w 10480"/>
                <a:gd name="connsiteY6" fmla="*/ 2866 h 10037"/>
                <a:gd name="connsiteX7" fmla="*/ 10249 w 10480"/>
                <a:gd name="connsiteY7" fmla="*/ 2289 h 10037"/>
                <a:gd name="connsiteX8" fmla="*/ 10462 w 10480"/>
                <a:gd name="connsiteY8" fmla="*/ 1422 h 10037"/>
                <a:gd name="connsiteX9" fmla="*/ 9775 w 10480"/>
                <a:gd name="connsiteY9" fmla="*/ 559 h 10037"/>
                <a:gd name="connsiteX10" fmla="*/ 8663 w 10480"/>
                <a:gd name="connsiteY10" fmla="*/ 118 h 10037"/>
                <a:gd name="connsiteX11" fmla="*/ 7162 w 10480"/>
                <a:gd name="connsiteY11" fmla="*/ 0 h 10037"/>
                <a:gd name="connsiteX12" fmla="*/ 5922 w 10480"/>
                <a:gd name="connsiteY12" fmla="*/ 252 h 10037"/>
                <a:gd name="connsiteX13" fmla="*/ 5632 w 10480"/>
                <a:gd name="connsiteY13" fmla="*/ 1065 h 10037"/>
                <a:gd name="connsiteX14" fmla="*/ 5305 w 10480"/>
                <a:gd name="connsiteY14" fmla="*/ 1677 h 10037"/>
                <a:gd name="connsiteX15" fmla="*/ 3524 w 10480"/>
                <a:gd name="connsiteY15" fmla="*/ 1182 h 10037"/>
                <a:gd name="connsiteX16" fmla="*/ 2561 w 10480"/>
                <a:gd name="connsiteY16" fmla="*/ 749 h 10037"/>
                <a:gd name="connsiteX17" fmla="*/ 1347 w 10480"/>
                <a:gd name="connsiteY17" fmla="*/ 531 h 10037"/>
                <a:gd name="connsiteX18" fmla="*/ 366 w 10480"/>
                <a:gd name="connsiteY18" fmla="*/ 494 h 10037"/>
                <a:gd name="connsiteX19" fmla="*/ 2 w 10480"/>
                <a:gd name="connsiteY19" fmla="*/ 494 h 10037"/>
                <a:gd name="connsiteX20" fmla="*/ 853 w 10480"/>
                <a:gd name="connsiteY20" fmla="*/ 747 h 10037"/>
                <a:gd name="connsiteX21" fmla="*/ 640 w 10480"/>
                <a:gd name="connsiteY21" fmla="*/ 953 h 10037"/>
                <a:gd name="connsiteX22" fmla="*/ 20 w 10480"/>
                <a:gd name="connsiteY22" fmla="*/ 1032 h 10037"/>
                <a:gd name="connsiteX23" fmla="*/ 1462 w 10480"/>
                <a:gd name="connsiteY23" fmla="*/ 1006 h 10037"/>
                <a:gd name="connsiteX24" fmla="*/ 2855 w 10480"/>
                <a:gd name="connsiteY24" fmla="*/ 1471 h 10037"/>
                <a:gd name="connsiteX25" fmla="*/ 5602 w 10480"/>
                <a:gd name="connsiteY25" fmla="*/ 2092 h 10037"/>
                <a:gd name="connsiteX26" fmla="*/ 6601 w 10480"/>
                <a:gd name="connsiteY26" fmla="*/ 1020 h 10037"/>
                <a:gd name="connsiteX27" fmla="*/ 6670 w 10480"/>
                <a:gd name="connsiteY27" fmla="*/ 524 h 10037"/>
                <a:gd name="connsiteX28" fmla="*/ 7241 w 10480"/>
                <a:gd name="connsiteY28" fmla="*/ 446 h 10037"/>
                <a:gd name="connsiteX29" fmla="*/ 8735 w 10480"/>
                <a:gd name="connsiteY29" fmla="*/ 718 h 10037"/>
                <a:gd name="connsiteX30" fmla="*/ 9059 w 10480"/>
                <a:gd name="connsiteY30" fmla="*/ 2409 h 10037"/>
                <a:gd name="connsiteX31" fmla="*/ 8916 w 10480"/>
                <a:gd name="connsiteY31" fmla="*/ 2589 h 10037"/>
                <a:gd name="connsiteX32" fmla="*/ 8484 w 10480"/>
                <a:gd name="connsiteY32" fmla="*/ 3192 h 10037"/>
                <a:gd name="connsiteX33" fmla="*/ 7539 w 10480"/>
                <a:gd name="connsiteY33" fmla="*/ 5250 h 10037"/>
                <a:gd name="connsiteX34" fmla="*/ 7880 w 10480"/>
                <a:gd name="connsiteY34" fmla="*/ 7021 h 10037"/>
                <a:gd name="connsiteX35" fmla="*/ 8745 w 10480"/>
                <a:gd name="connsiteY35" fmla="*/ 9855 h 10037"/>
                <a:gd name="connsiteX36" fmla="*/ 8597 w 10480"/>
                <a:gd name="connsiteY36" fmla="*/ 9975 h 10037"/>
                <a:gd name="connsiteX0" fmla="*/ 8597 w 10478"/>
                <a:gd name="connsiteY0" fmla="*/ 9975 h 10037"/>
                <a:gd name="connsiteX1" fmla="*/ 9472 w 10478"/>
                <a:gd name="connsiteY1" fmla="*/ 10021 h 10037"/>
                <a:gd name="connsiteX2" fmla="*/ 9593 w 10478"/>
                <a:gd name="connsiteY2" fmla="*/ 9898 h 10037"/>
                <a:gd name="connsiteX3" fmla="*/ 8811 w 10478"/>
                <a:gd name="connsiteY3" fmla="*/ 6901 h 10037"/>
                <a:gd name="connsiteX4" fmla="*/ 8553 w 10478"/>
                <a:gd name="connsiteY4" fmla="*/ 5208 h 10037"/>
                <a:gd name="connsiteX5" fmla="*/ 9339 w 10478"/>
                <a:gd name="connsiteY5" fmla="*/ 3499 h 10037"/>
                <a:gd name="connsiteX6" fmla="*/ 9840 w 10478"/>
                <a:gd name="connsiteY6" fmla="*/ 2866 h 10037"/>
                <a:gd name="connsiteX7" fmla="*/ 10249 w 10478"/>
                <a:gd name="connsiteY7" fmla="*/ 2289 h 10037"/>
                <a:gd name="connsiteX8" fmla="*/ 10462 w 10478"/>
                <a:gd name="connsiteY8" fmla="*/ 1422 h 10037"/>
                <a:gd name="connsiteX9" fmla="*/ 9820 w 10478"/>
                <a:gd name="connsiteY9" fmla="*/ 551 h 10037"/>
                <a:gd name="connsiteX10" fmla="*/ 8663 w 10478"/>
                <a:gd name="connsiteY10" fmla="*/ 118 h 10037"/>
                <a:gd name="connsiteX11" fmla="*/ 7162 w 10478"/>
                <a:gd name="connsiteY11" fmla="*/ 0 h 10037"/>
                <a:gd name="connsiteX12" fmla="*/ 5922 w 10478"/>
                <a:gd name="connsiteY12" fmla="*/ 252 h 10037"/>
                <a:gd name="connsiteX13" fmla="*/ 5632 w 10478"/>
                <a:gd name="connsiteY13" fmla="*/ 1065 h 10037"/>
                <a:gd name="connsiteX14" fmla="*/ 5305 w 10478"/>
                <a:gd name="connsiteY14" fmla="*/ 1677 h 10037"/>
                <a:gd name="connsiteX15" fmla="*/ 3524 w 10478"/>
                <a:gd name="connsiteY15" fmla="*/ 1182 h 10037"/>
                <a:gd name="connsiteX16" fmla="*/ 2561 w 10478"/>
                <a:gd name="connsiteY16" fmla="*/ 749 h 10037"/>
                <a:gd name="connsiteX17" fmla="*/ 1347 w 10478"/>
                <a:gd name="connsiteY17" fmla="*/ 531 h 10037"/>
                <a:gd name="connsiteX18" fmla="*/ 366 w 10478"/>
                <a:gd name="connsiteY18" fmla="*/ 494 h 10037"/>
                <a:gd name="connsiteX19" fmla="*/ 2 w 10478"/>
                <a:gd name="connsiteY19" fmla="*/ 494 h 10037"/>
                <a:gd name="connsiteX20" fmla="*/ 853 w 10478"/>
                <a:gd name="connsiteY20" fmla="*/ 747 h 10037"/>
                <a:gd name="connsiteX21" fmla="*/ 640 w 10478"/>
                <a:gd name="connsiteY21" fmla="*/ 953 h 10037"/>
                <a:gd name="connsiteX22" fmla="*/ 20 w 10478"/>
                <a:gd name="connsiteY22" fmla="*/ 1032 h 10037"/>
                <a:gd name="connsiteX23" fmla="*/ 1462 w 10478"/>
                <a:gd name="connsiteY23" fmla="*/ 1006 h 10037"/>
                <a:gd name="connsiteX24" fmla="*/ 2855 w 10478"/>
                <a:gd name="connsiteY24" fmla="*/ 1471 h 10037"/>
                <a:gd name="connsiteX25" fmla="*/ 5602 w 10478"/>
                <a:gd name="connsiteY25" fmla="*/ 2092 h 10037"/>
                <a:gd name="connsiteX26" fmla="*/ 6601 w 10478"/>
                <a:gd name="connsiteY26" fmla="*/ 1020 h 10037"/>
                <a:gd name="connsiteX27" fmla="*/ 6670 w 10478"/>
                <a:gd name="connsiteY27" fmla="*/ 524 h 10037"/>
                <a:gd name="connsiteX28" fmla="*/ 7241 w 10478"/>
                <a:gd name="connsiteY28" fmla="*/ 446 h 10037"/>
                <a:gd name="connsiteX29" fmla="*/ 8735 w 10478"/>
                <a:gd name="connsiteY29" fmla="*/ 718 h 10037"/>
                <a:gd name="connsiteX30" fmla="*/ 9059 w 10478"/>
                <a:gd name="connsiteY30" fmla="*/ 2409 h 10037"/>
                <a:gd name="connsiteX31" fmla="*/ 8916 w 10478"/>
                <a:gd name="connsiteY31" fmla="*/ 2589 h 10037"/>
                <a:gd name="connsiteX32" fmla="*/ 8484 w 10478"/>
                <a:gd name="connsiteY32" fmla="*/ 3192 h 10037"/>
                <a:gd name="connsiteX33" fmla="*/ 7539 w 10478"/>
                <a:gd name="connsiteY33" fmla="*/ 5250 h 10037"/>
                <a:gd name="connsiteX34" fmla="*/ 7880 w 10478"/>
                <a:gd name="connsiteY34" fmla="*/ 7021 h 10037"/>
                <a:gd name="connsiteX35" fmla="*/ 8745 w 10478"/>
                <a:gd name="connsiteY35" fmla="*/ 9855 h 10037"/>
                <a:gd name="connsiteX36" fmla="*/ 8597 w 10478"/>
                <a:gd name="connsiteY36" fmla="*/ 9975 h 10037"/>
                <a:gd name="connsiteX0" fmla="*/ 8597 w 10450"/>
                <a:gd name="connsiteY0" fmla="*/ 9975 h 10037"/>
                <a:gd name="connsiteX1" fmla="*/ 9472 w 10450"/>
                <a:gd name="connsiteY1" fmla="*/ 10021 h 10037"/>
                <a:gd name="connsiteX2" fmla="*/ 9593 w 10450"/>
                <a:gd name="connsiteY2" fmla="*/ 9898 h 10037"/>
                <a:gd name="connsiteX3" fmla="*/ 8811 w 10450"/>
                <a:gd name="connsiteY3" fmla="*/ 6901 h 10037"/>
                <a:gd name="connsiteX4" fmla="*/ 8553 w 10450"/>
                <a:gd name="connsiteY4" fmla="*/ 5208 h 10037"/>
                <a:gd name="connsiteX5" fmla="*/ 9339 w 10450"/>
                <a:gd name="connsiteY5" fmla="*/ 3499 h 10037"/>
                <a:gd name="connsiteX6" fmla="*/ 9840 w 10450"/>
                <a:gd name="connsiteY6" fmla="*/ 2866 h 10037"/>
                <a:gd name="connsiteX7" fmla="*/ 10249 w 10450"/>
                <a:gd name="connsiteY7" fmla="*/ 2289 h 10037"/>
                <a:gd name="connsiteX8" fmla="*/ 10432 w 10450"/>
                <a:gd name="connsiteY8" fmla="*/ 1437 h 10037"/>
                <a:gd name="connsiteX9" fmla="*/ 9820 w 10450"/>
                <a:gd name="connsiteY9" fmla="*/ 551 h 10037"/>
                <a:gd name="connsiteX10" fmla="*/ 8663 w 10450"/>
                <a:gd name="connsiteY10" fmla="*/ 118 h 10037"/>
                <a:gd name="connsiteX11" fmla="*/ 7162 w 10450"/>
                <a:gd name="connsiteY11" fmla="*/ 0 h 10037"/>
                <a:gd name="connsiteX12" fmla="*/ 5922 w 10450"/>
                <a:gd name="connsiteY12" fmla="*/ 252 h 10037"/>
                <a:gd name="connsiteX13" fmla="*/ 5632 w 10450"/>
                <a:gd name="connsiteY13" fmla="*/ 1065 h 10037"/>
                <a:gd name="connsiteX14" fmla="*/ 5305 w 10450"/>
                <a:gd name="connsiteY14" fmla="*/ 1677 h 10037"/>
                <a:gd name="connsiteX15" fmla="*/ 3524 w 10450"/>
                <a:gd name="connsiteY15" fmla="*/ 1182 h 10037"/>
                <a:gd name="connsiteX16" fmla="*/ 2561 w 10450"/>
                <a:gd name="connsiteY16" fmla="*/ 749 h 10037"/>
                <a:gd name="connsiteX17" fmla="*/ 1347 w 10450"/>
                <a:gd name="connsiteY17" fmla="*/ 531 h 10037"/>
                <a:gd name="connsiteX18" fmla="*/ 366 w 10450"/>
                <a:gd name="connsiteY18" fmla="*/ 494 h 10037"/>
                <a:gd name="connsiteX19" fmla="*/ 2 w 10450"/>
                <a:gd name="connsiteY19" fmla="*/ 494 h 10037"/>
                <a:gd name="connsiteX20" fmla="*/ 853 w 10450"/>
                <a:gd name="connsiteY20" fmla="*/ 747 h 10037"/>
                <a:gd name="connsiteX21" fmla="*/ 640 w 10450"/>
                <a:gd name="connsiteY21" fmla="*/ 953 h 10037"/>
                <a:gd name="connsiteX22" fmla="*/ 20 w 10450"/>
                <a:gd name="connsiteY22" fmla="*/ 1032 h 10037"/>
                <a:gd name="connsiteX23" fmla="*/ 1462 w 10450"/>
                <a:gd name="connsiteY23" fmla="*/ 1006 h 10037"/>
                <a:gd name="connsiteX24" fmla="*/ 2855 w 10450"/>
                <a:gd name="connsiteY24" fmla="*/ 1471 h 10037"/>
                <a:gd name="connsiteX25" fmla="*/ 5602 w 10450"/>
                <a:gd name="connsiteY25" fmla="*/ 2092 h 10037"/>
                <a:gd name="connsiteX26" fmla="*/ 6601 w 10450"/>
                <a:gd name="connsiteY26" fmla="*/ 1020 h 10037"/>
                <a:gd name="connsiteX27" fmla="*/ 6670 w 10450"/>
                <a:gd name="connsiteY27" fmla="*/ 524 h 10037"/>
                <a:gd name="connsiteX28" fmla="*/ 7241 w 10450"/>
                <a:gd name="connsiteY28" fmla="*/ 446 h 10037"/>
                <a:gd name="connsiteX29" fmla="*/ 8735 w 10450"/>
                <a:gd name="connsiteY29" fmla="*/ 718 h 10037"/>
                <a:gd name="connsiteX30" fmla="*/ 9059 w 10450"/>
                <a:gd name="connsiteY30" fmla="*/ 2409 h 10037"/>
                <a:gd name="connsiteX31" fmla="*/ 8916 w 10450"/>
                <a:gd name="connsiteY31" fmla="*/ 2589 h 10037"/>
                <a:gd name="connsiteX32" fmla="*/ 8484 w 10450"/>
                <a:gd name="connsiteY32" fmla="*/ 3192 h 10037"/>
                <a:gd name="connsiteX33" fmla="*/ 7539 w 10450"/>
                <a:gd name="connsiteY33" fmla="*/ 5250 h 10037"/>
                <a:gd name="connsiteX34" fmla="*/ 7880 w 10450"/>
                <a:gd name="connsiteY34" fmla="*/ 7021 h 10037"/>
                <a:gd name="connsiteX35" fmla="*/ 8745 w 10450"/>
                <a:gd name="connsiteY35" fmla="*/ 9855 h 10037"/>
                <a:gd name="connsiteX36" fmla="*/ 8597 w 10450"/>
                <a:gd name="connsiteY36" fmla="*/ 9975 h 10037"/>
                <a:gd name="connsiteX0" fmla="*/ 8823 w 10450"/>
                <a:gd name="connsiteY0" fmla="*/ 10069 h 10076"/>
                <a:gd name="connsiteX1" fmla="*/ 9472 w 10450"/>
                <a:gd name="connsiteY1" fmla="*/ 10021 h 10076"/>
                <a:gd name="connsiteX2" fmla="*/ 9593 w 10450"/>
                <a:gd name="connsiteY2" fmla="*/ 9898 h 10076"/>
                <a:gd name="connsiteX3" fmla="*/ 8811 w 10450"/>
                <a:gd name="connsiteY3" fmla="*/ 6901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880 w 10450"/>
                <a:gd name="connsiteY34" fmla="*/ 7021 h 10076"/>
                <a:gd name="connsiteX35" fmla="*/ 8745 w 10450"/>
                <a:gd name="connsiteY35" fmla="*/ 9855 h 10076"/>
                <a:gd name="connsiteX36" fmla="*/ 8823 w 10450"/>
                <a:gd name="connsiteY36" fmla="*/ 10069 h 10076"/>
                <a:gd name="connsiteX0" fmla="*/ 8823 w 10450"/>
                <a:gd name="connsiteY0" fmla="*/ 10069 h 10171"/>
                <a:gd name="connsiteX1" fmla="*/ 9595 w 10450"/>
                <a:gd name="connsiteY1" fmla="*/ 10063 h 10171"/>
                <a:gd name="connsiteX2" fmla="*/ 9593 w 10450"/>
                <a:gd name="connsiteY2" fmla="*/ 9898 h 10171"/>
                <a:gd name="connsiteX3" fmla="*/ 8811 w 10450"/>
                <a:gd name="connsiteY3" fmla="*/ 6901 h 10171"/>
                <a:gd name="connsiteX4" fmla="*/ 8553 w 10450"/>
                <a:gd name="connsiteY4" fmla="*/ 5208 h 10171"/>
                <a:gd name="connsiteX5" fmla="*/ 9339 w 10450"/>
                <a:gd name="connsiteY5" fmla="*/ 3499 h 10171"/>
                <a:gd name="connsiteX6" fmla="*/ 9840 w 10450"/>
                <a:gd name="connsiteY6" fmla="*/ 2866 h 10171"/>
                <a:gd name="connsiteX7" fmla="*/ 10249 w 10450"/>
                <a:gd name="connsiteY7" fmla="*/ 2289 h 10171"/>
                <a:gd name="connsiteX8" fmla="*/ 10432 w 10450"/>
                <a:gd name="connsiteY8" fmla="*/ 1437 h 10171"/>
                <a:gd name="connsiteX9" fmla="*/ 9820 w 10450"/>
                <a:gd name="connsiteY9" fmla="*/ 551 h 10171"/>
                <a:gd name="connsiteX10" fmla="*/ 8663 w 10450"/>
                <a:gd name="connsiteY10" fmla="*/ 118 h 10171"/>
                <a:gd name="connsiteX11" fmla="*/ 7162 w 10450"/>
                <a:gd name="connsiteY11" fmla="*/ 0 h 10171"/>
                <a:gd name="connsiteX12" fmla="*/ 5922 w 10450"/>
                <a:gd name="connsiteY12" fmla="*/ 252 h 10171"/>
                <a:gd name="connsiteX13" fmla="*/ 5632 w 10450"/>
                <a:gd name="connsiteY13" fmla="*/ 1065 h 10171"/>
                <a:gd name="connsiteX14" fmla="*/ 5305 w 10450"/>
                <a:gd name="connsiteY14" fmla="*/ 1677 h 10171"/>
                <a:gd name="connsiteX15" fmla="*/ 3524 w 10450"/>
                <a:gd name="connsiteY15" fmla="*/ 1182 h 10171"/>
                <a:gd name="connsiteX16" fmla="*/ 2561 w 10450"/>
                <a:gd name="connsiteY16" fmla="*/ 749 h 10171"/>
                <a:gd name="connsiteX17" fmla="*/ 1347 w 10450"/>
                <a:gd name="connsiteY17" fmla="*/ 531 h 10171"/>
                <a:gd name="connsiteX18" fmla="*/ 366 w 10450"/>
                <a:gd name="connsiteY18" fmla="*/ 494 h 10171"/>
                <a:gd name="connsiteX19" fmla="*/ 2 w 10450"/>
                <a:gd name="connsiteY19" fmla="*/ 494 h 10171"/>
                <a:gd name="connsiteX20" fmla="*/ 853 w 10450"/>
                <a:gd name="connsiteY20" fmla="*/ 747 h 10171"/>
                <a:gd name="connsiteX21" fmla="*/ 640 w 10450"/>
                <a:gd name="connsiteY21" fmla="*/ 953 h 10171"/>
                <a:gd name="connsiteX22" fmla="*/ 20 w 10450"/>
                <a:gd name="connsiteY22" fmla="*/ 1032 h 10171"/>
                <a:gd name="connsiteX23" fmla="*/ 1462 w 10450"/>
                <a:gd name="connsiteY23" fmla="*/ 1006 h 10171"/>
                <a:gd name="connsiteX24" fmla="*/ 2855 w 10450"/>
                <a:gd name="connsiteY24" fmla="*/ 1471 h 10171"/>
                <a:gd name="connsiteX25" fmla="*/ 5602 w 10450"/>
                <a:gd name="connsiteY25" fmla="*/ 2092 h 10171"/>
                <a:gd name="connsiteX26" fmla="*/ 6601 w 10450"/>
                <a:gd name="connsiteY26" fmla="*/ 1020 h 10171"/>
                <a:gd name="connsiteX27" fmla="*/ 6670 w 10450"/>
                <a:gd name="connsiteY27" fmla="*/ 524 h 10171"/>
                <a:gd name="connsiteX28" fmla="*/ 7241 w 10450"/>
                <a:gd name="connsiteY28" fmla="*/ 446 h 10171"/>
                <a:gd name="connsiteX29" fmla="*/ 8735 w 10450"/>
                <a:gd name="connsiteY29" fmla="*/ 718 h 10171"/>
                <a:gd name="connsiteX30" fmla="*/ 9059 w 10450"/>
                <a:gd name="connsiteY30" fmla="*/ 2409 h 10171"/>
                <a:gd name="connsiteX31" fmla="*/ 8916 w 10450"/>
                <a:gd name="connsiteY31" fmla="*/ 2589 h 10171"/>
                <a:gd name="connsiteX32" fmla="*/ 8484 w 10450"/>
                <a:gd name="connsiteY32" fmla="*/ 3192 h 10171"/>
                <a:gd name="connsiteX33" fmla="*/ 7539 w 10450"/>
                <a:gd name="connsiteY33" fmla="*/ 5250 h 10171"/>
                <a:gd name="connsiteX34" fmla="*/ 7880 w 10450"/>
                <a:gd name="connsiteY34" fmla="*/ 7021 h 10171"/>
                <a:gd name="connsiteX35" fmla="*/ 8745 w 10450"/>
                <a:gd name="connsiteY35" fmla="*/ 9855 h 10171"/>
                <a:gd name="connsiteX36" fmla="*/ 8823 w 10450"/>
                <a:gd name="connsiteY36" fmla="*/ 10069 h 10171"/>
                <a:gd name="connsiteX0" fmla="*/ 8823 w 10450"/>
                <a:gd name="connsiteY0" fmla="*/ 10069 h 10085"/>
                <a:gd name="connsiteX1" fmla="*/ 9595 w 10450"/>
                <a:gd name="connsiteY1" fmla="*/ 10063 h 10085"/>
                <a:gd name="connsiteX2" fmla="*/ 9778 w 10450"/>
                <a:gd name="connsiteY2" fmla="*/ 9468 h 10085"/>
                <a:gd name="connsiteX3" fmla="*/ 8811 w 10450"/>
                <a:gd name="connsiteY3" fmla="*/ 6901 h 10085"/>
                <a:gd name="connsiteX4" fmla="*/ 8553 w 10450"/>
                <a:gd name="connsiteY4" fmla="*/ 5208 h 10085"/>
                <a:gd name="connsiteX5" fmla="*/ 9339 w 10450"/>
                <a:gd name="connsiteY5" fmla="*/ 3499 h 10085"/>
                <a:gd name="connsiteX6" fmla="*/ 9840 w 10450"/>
                <a:gd name="connsiteY6" fmla="*/ 2866 h 10085"/>
                <a:gd name="connsiteX7" fmla="*/ 10249 w 10450"/>
                <a:gd name="connsiteY7" fmla="*/ 2289 h 10085"/>
                <a:gd name="connsiteX8" fmla="*/ 10432 w 10450"/>
                <a:gd name="connsiteY8" fmla="*/ 1437 h 10085"/>
                <a:gd name="connsiteX9" fmla="*/ 9820 w 10450"/>
                <a:gd name="connsiteY9" fmla="*/ 551 h 10085"/>
                <a:gd name="connsiteX10" fmla="*/ 8663 w 10450"/>
                <a:gd name="connsiteY10" fmla="*/ 118 h 10085"/>
                <a:gd name="connsiteX11" fmla="*/ 7162 w 10450"/>
                <a:gd name="connsiteY11" fmla="*/ 0 h 10085"/>
                <a:gd name="connsiteX12" fmla="*/ 5922 w 10450"/>
                <a:gd name="connsiteY12" fmla="*/ 252 h 10085"/>
                <a:gd name="connsiteX13" fmla="*/ 5632 w 10450"/>
                <a:gd name="connsiteY13" fmla="*/ 1065 h 10085"/>
                <a:gd name="connsiteX14" fmla="*/ 5305 w 10450"/>
                <a:gd name="connsiteY14" fmla="*/ 1677 h 10085"/>
                <a:gd name="connsiteX15" fmla="*/ 3524 w 10450"/>
                <a:gd name="connsiteY15" fmla="*/ 1182 h 10085"/>
                <a:gd name="connsiteX16" fmla="*/ 2561 w 10450"/>
                <a:gd name="connsiteY16" fmla="*/ 749 h 10085"/>
                <a:gd name="connsiteX17" fmla="*/ 1347 w 10450"/>
                <a:gd name="connsiteY17" fmla="*/ 531 h 10085"/>
                <a:gd name="connsiteX18" fmla="*/ 366 w 10450"/>
                <a:gd name="connsiteY18" fmla="*/ 494 h 10085"/>
                <a:gd name="connsiteX19" fmla="*/ 2 w 10450"/>
                <a:gd name="connsiteY19" fmla="*/ 494 h 10085"/>
                <a:gd name="connsiteX20" fmla="*/ 853 w 10450"/>
                <a:gd name="connsiteY20" fmla="*/ 747 h 10085"/>
                <a:gd name="connsiteX21" fmla="*/ 640 w 10450"/>
                <a:gd name="connsiteY21" fmla="*/ 953 h 10085"/>
                <a:gd name="connsiteX22" fmla="*/ 20 w 10450"/>
                <a:gd name="connsiteY22" fmla="*/ 1032 h 10085"/>
                <a:gd name="connsiteX23" fmla="*/ 1462 w 10450"/>
                <a:gd name="connsiteY23" fmla="*/ 1006 h 10085"/>
                <a:gd name="connsiteX24" fmla="*/ 2855 w 10450"/>
                <a:gd name="connsiteY24" fmla="*/ 1471 h 10085"/>
                <a:gd name="connsiteX25" fmla="*/ 5602 w 10450"/>
                <a:gd name="connsiteY25" fmla="*/ 2092 h 10085"/>
                <a:gd name="connsiteX26" fmla="*/ 6601 w 10450"/>
                <a:gd name="connsiteY26" fmla="*/ 1020 h 10085"/>
                <a:gd name="connsiteX27" fmla="*/ 6670 w 10450"/>
                <a:gd name="connsiteY27" fmla="*/ 524 h 10085"/>
                <a:gd name="connsiteX28" fmla="*/ 7241 w 10450"/>
                <a:gd name="connsiteY28" fmla="*/ 446 h 10085"/>
                <a:gd name="connsiteX29" fmla="*/ 8735 w 10450"/>
                <a:gd name="connsiteY29" fmla="*/ 718 h 10085"/>
                <a:gd name="connsiteX30" fmla="*/ 9059 w 10450"/>
                <a:gd name="connsiteY30" fmla="*/ 2409 h 10085"/>
                <a:gd name="connsiteX31" fmla="*/ 8916 w 10450"/>
                <a:gd name="connsiteY31" fmla="*/ 2589 h 10085"/>
                <a:gd name="connsiteX32" fmla="*/ 8484 w 10450"/>
                <a:gd name="connsiteY32" fmla="*/ 3192 h 10085"/>
                <a:gd name="connsiteX33" fmla="*/ 7539 w 10450"/>
                <a:gd name="connsiteY33" fmla="*/ 5250 h 10085"/>
                <a:gd name="connsiteX34" fmla="*/ 7880 w 10450"/>
                <a:gd name="connsiteY34" fmla="*/ 7021 h 10085"/>
                <a:gd name="connsiteX35" fmla="*/ 8745 w 10450"/>
                <a:gd name="connsiteY35" fmla="*/ 9855 h 10085"/>
                <a:gd name="connsiteX36" fmla="*/ 8823 w 10450"/>
                <a:gd name="connsiteY36" fmla="*/ 10069 h 10085"/>
                <a:gd name="connsiteX0" fmla="*/ 8823 w 10450"/>
                <a:gd name="connsiteY0" fmla="*/ 10069 h 10085"/>
                <a:gd name="connsiteX1" fmla="*/ 9595 w 10450"/>
                <a:gd name="connsiteY1" fmla="*/ 10063 h 10085"/>
                <a:gd name="connsiteX2" fmla="*/ 9778 w 10450"/>
                <a:gd name="connsiteY2" fmla="*/ 9468 h 10085"/>
                <a:gd name="connsiteX3" fmla="*/ 8811 w 10450"/>
                <a:gd name="connsiteY3" fmla="*/ 6901 h 10085"/>
                <a:gd name="connsiteX4" fmla="*/ 8553 w 10450"/>
                <a:gd name="connsiteY4" fmla="*/ 5208 h 10085"/>
                <a:gd name="connsiteX5" fmla="*/ 9339 w 10450"/>
                <a:gd name="connsiteY5" fmla="*/ 3499 h 10085"/>
                <a:gd name="connsiteX6" fmla="*/ 9840 w 10450"/>
                <a:gd name="connsiteY6" fmla="*/ 2866 h 10085"/>
                <a:gd name="connsiteX7" fmla="*/ 10249 w 10450"/>
                <a:gd name="connsiteY7" fmla="*/ 2289 h 10085"/>
                <a:gd name="connsiteX8" fmla="*/ 10432 w 10450"/>
                <a:gd name="connsiteY8" fmla="*/ 1437 h 10085"/>
                <a:gd name="connsiteX9" fmla="*/ 9820 w 10450"/>
                <a:gd name="connsiteY9" fmla="*/ 551 h 10085"/>
                <a:gd name="connsiteX10" fmla="*/ 8663 w 10450"/>
                <a:gd name="connsiteY10" fmla="*/ 118 h 10085"/>
                <a:gd name="connsiteX11" fmla="*/ 7162 w 10450"/>
                <a:gd name="connsiteY11" fmla="*/ 0 h 10085"/>
                <a:gd name="connsiteX12" fmla="*/ 5922 w 10450"/>
                <a:gd name="connsiteY12" fmla="*/ 252 h 10085"/>
                <a:gd name="connsiteX13" fmla="*/ 5632 w 10450"/>
                <a:gd name="connsiteY13" fmla="*/ 1065 h 10085"/>
                <a:gd name="connsiteX14" fmla="*/ 5305 w 10450"/>
                <a:gd name="connsiteY14" fmla="*/ 1677 h 10085"/>
                <a:gd name="connsiteX15" fmla="*/ 3524 w 10450"/>
                <a:gd name="connsiteY15" fmla="*/ 1182 h 10085"/>
                <a:gd name="connsiteX16" fmla="*/ 2561 w 10450"/>
                <a:gd name="connsiteY16" fmla="*/ 749 h 10085"/>
                <a:gd name="connsiteX17" fmla="*/ 1347 w 10450"/>
                <a:gd name="connsiteY17" fmla="*/ 531 h 10085"/>
                <a:gd name="connsiteX18" fmla="*/ 366 w 10450"/>
                <a:gd name="connsiteY18" fmla="*/ 494 h 10085"/>
                <a:gd name="connsiteX19" fmla="*/ 2 w 10450"/>
                <a:gd name="connsiteY19" fmla="*/ 494 h 10085"/>
                <a:gd name="connsiteX20" fmla="*/ 853 w 10450"/>
                <a:gd name="connsiteY20" fmla="*/ 747 h 10085"/>
                <a:gd name="connsiteX21" fmla="*/ 640 w 10450"/>
                <a:gd name="connsiteY21" fmla="*/ 953 h 10085"/>
                <a:gd name="connsiteX22" fmla="*/ 20 w 10450"/>
                <a:gd name="connsiteY22" fmla="*/ 1032 h 10085"/>
                <a:gd name="connsiteX23" fmla="*/ 1462 w 10450"/>
                <a:gd name="connsiteY23" fmla="*/ 1006 h 10085"/>
                <a:gd name="connsiteX24" fmla="*/ 2855 w 10450"/>
                <a:gd name="connsiteY24" fmla="*/ 1471 h 10085"/>
                <a:gd name="connsiteX25" fmla="*/ 5602 w 10450"/>
                <a:gd name="connsiteY25" fmla="*/ 2092 h 10085"/>
                <a:gd name="connsiteX26" fmla="*/ 6601 w 10450"/>
                <a:gd name="connsiteY26" fmla="*/ 1020 h 10085"/>
                <a:gd name="connsiteX27" fmla="*/ 6670 w 10450"/>
                <a:gd name="connsiteY27" fmla="*/ 524 h 10085"/>
                <a:gd name="connsiteX28" fmla="*/ 7241 w 10450"/>
                <a:gd name="connsiteY28" fmla="*/ 446 h 10085"/>
                <a:gd name="connsiteX29" fmla="*/ 8735 w 10450"/>
                <a:gd name="connsiteY29" fmla="*/ 718 h 10085"/>
                <a:gd name="connsiteX30" fmla="*/ 9059 w 10450"/>
                <a:gd name="connsiteY30" fmla="*/ 2409 h 10085"/>
                <a:gd name="connsiteX31" fmla="*/ 8916 w 10450"/>
                <a:gd name="connsiteY31" fmla="*/ 2589 h 10085"/>
                <a:gd name="connsiteX32" fmla="*/ 8484 w 10450"/>
                <a:gd name="connsiteY32" fmla="*/ 3192 h 10085"/>
                <a:gd name="connsiteX33" fmla="*/ 7539 w 10450"/>
                <a:gd name="connsiteY33" fmla="*/ 5250 h 10085"/>
                <a:gd name="connsiteX34" fmla="*/ 7880 w 10450"/>
                <a:gd name="connsiteY34" fmla="*/ 7021 h 10085"/>
                <a:gd name="connsiteX35" fmla="*/ 8745 w 10450"/>
                <a:gd name="connsiteY35" fmla="*/ 9855 h 10085"/>
                <a:gd name="connsiteX36" fmla="*/ 8823 w 10450"/>
                <a:gd name="connsiteY36" fmla="*/ 10069 h 10085"/>
                <a:gd name="connsiteX0" fmla="*/ 8823 w 10450"/>
                <a:gd name="connsiteY0" fmla="*/ 10069 h 10085"/>
                <a:gd name="connsiteX1" fmla="*/ 9595 w 10450"/>
                <a:gd name="connsiteY1" fmla="*/ 10063 h 10085"/>
                <a:gd name="connsiteX2" fmla="*/ 9778 w 10450"/>
                <a:gd name="connsiteY2" fmla="*/ 9468 h 10085"/>
                <a:gd name="connsiteX3" fmla="*/ 8852 w 10450"/>
                <a:gd name="connsiteY3" fmla="*/ 6765 h 10085"/>
                <a:gd name="connsiteX4" fmla="*/ 8553 w 10450"/>
                <a:gd name="connsiteY4" fmla="*/ 5208 h 10085"/>
                <a:gd name="connsiteX5" fmla="*/ 9339 w 10450"/>
                <a:gd name="connsiteY5" fmla="*/ 3499 h 10085"/>
                <a:gd name="connsiteX6" fmla="*/ 9840 w 10450"/>
                <a:gd name="connsiteY6" fmla="*/ 2866 h 10085"/>
                <a:gd name="connsiteX7" fmla="*/ 10249 w 10450"/>
                <a:gd name="connsiteY7" fmla="*/ 2289 h 10085"/>
                <a:gd name="connsiteX8" fmla="*/ 10432 w 10450"/>
                <a:gd name="connsiteY8" fmla="*/ 1437 h 10085"/>
                <a:gd name="connsiteX9" fmla="*/ 9820 w 10450"/>
                <a:gd name="connsiteY9" fmla="*/ 551 h 10085"/>
                <a:gd name="connsiteX10" fmla="*/ 8663 w 10450"/>
                <a:gd name="connsiteY10" fmla="*/ 118 h 10085"/>
                <a:gd name="connsiteX11" fmla="*/ 7162 w 10450"/>
                <a:gd name="connsiteY11" fmla="*/ 0 h 10085"/>
                <a:gd name="connsiteX12" fmla="*/ 5922 w 10450"/>
                <a:gd name="connsiteY12" fmla="*/ 252 h 10085"/>
                <a:gd name="connsiteX13" fmla="*/ 5632 w 10450"/>
                <a:gd name="connsiteY13" fmla="*/ 1065 h 10085"/>
                <a:gd name="connsiteX14" fmla="*/ 5305 w 10450"/>
                <a:gd name="connsiteY14" fmla="*/ 1677 h 10085"/>
                <a:gd name="connsiteX15" fmla="*/ 3524 w 10450"/>
                <a:gd name="connsiteY15" fmla="*/ 1182 h 10085"/>
                <a:gd name="connsiteX16" fmla="*/ 2561 w 10450"/>
                <a:gd name="connsiteY16" fmla="*/ 749 h 10085"/>
                <a:gd name="connsiteX17" fmla="*/ 1347 w 10450"/>
                <a:gd name="connsiteY17" fmla="*/ 531 h 10085"/>
                <a:gd name="connsiteX18" fmla="*/ 366 w 10450"/>
                <a:gd name="connsiteY18" fmla="*/ 494 h 10085"/>
                <a:gd name="connsiteX19" fmla="*/ 2 w 10450"/>
                <a:gd name="connsiteY19" fmla="*/ 494 h 10085"/>
                <a:gd name="connsiteX20" fmla="*/ 853 w 10450"/>
                <a:gd name="connsiteY20" fmla="*/ 747 h 10085"/>
                <a:gd name="connsiteX21" fmla="*/ 640 w 10450"/>
                <a:gd name="connsiteY21" fmla="*/ 953 h 10085"/>
                <a:gd name="connsiteX22" fmla="*/ 20 w 10450"/>
                <a:gd name="connsiteY22" fmla="*/ 1032 h 10085"/>
                <a:gd name="connsiteX23" fmla="*/ 1462 w 10450"/>
                <a:gd name="connsiteY23" fmla="*/ 1006 h 10085"/>
                <a:gd name="connsiteX24" fmla="*/ 2855 w 10450"/>
                <a:gd name="connsiteY24" fmla="*/ 1471 h 10085"/>
                <a:gd name="connsiteX25" fmla="*/ 5602 w 10450"/>
                <a:gd name="connsiteY25" fmla="*/ 2092 h 10085"/>
                <a:gd name="connsiteX26" fmla="*/ 6601 w 10450"/>
                <a:gd name="connsiteY26" fmla="*/ 1020 h 10085"/>
                <a:gd name="connsiteX27" fmla="*/ 6670 w 10450"/>
                <a:gd name="connsiteY27" fmla="*/ 524 h 10085"/>
                <a:gd name="connsiteX28" fmla="*/ 7241 w 10450"/>
                <a:gd name="connsiteY28" fmla="*/ 446 h 10085"/>
                <a:gd name="connsiteX29" fmla="*/ 8735 w 10450"/>
                <a:gd name="connsiteY29" fmla="*/ 718 h 10085"/>
                <a:gd name="connsiteX30" fmla="*/ 9059 w 10450"/>
                <a:gd name="connsiteY30" fmla="*/ 2409 h 10085"/>
                <a:gd name="connsiteX31" fmla="*/ 8916 w 10450"/>
                <a:gd name="connsiteY31" fmla="*/ 2589 h 10085"/>
                <a:gd name="connsiteX32" fmla="*/ 8484 w 10450"/>
                <a:gd name="connsiteY32" fmla="*/ 3192 h 10085"/>
                <a:gd name="connsiteX33" fmla="*/ 7539 w 10450"/>
                <a:gd name="connsiteY33" fmla="*/ 5250 h 10085"/>
                <a:gd name="connsiteX34" fmla="*/ 7880 w 10450"/>
                <a:gd name="connsiteY34" fmla="*/ 7021 h 10085"/>
                <a:gd name="connsiteX35" fmla="*/ 8745 w 10450"/>
                <a:gd name="connsiteY35" fmla="*/ 9855 h 10085"/>
                <a:gd name="connsiteX36" fmla="*/ 8823 w 10450"/>
                <a:gd name="connsiteY36" fmla="*/ 10069 h 10085"/>
                <a:gd name="connsiteX0" fmla="*/ 8823 w 10450"/>
                <a:gd name="connsiteY0" fmla="*/ 10069 h 10085"/>
                <a:gd name="connsiteX1" fmla="*/ 9595 w 10450"/>
                <a:gd name="connsiteY1" fmla="*/ 10063 h 10085"/>
                <a:gd name="connsiteX2" fmla="*/ 9778 w 10450"/>
                <a:gd name="connsiteY2" fmla="*/ 9468 h 10085"/>
                <a:gd name="connsiteX3" fmla="*/ 8852 w 10450"/>
                <a:gd name="connsiteY3" fmla="*/ 6765 h 10085"/>
                <a:gd name="connsiteX4" fmla="*/ 8553 w 10450"/>
                <a:gd name="connsiteY4" fmla="*/ 5208 h 10085"/>
                <a:gd name="connsiteX5" fmla="*/ 9339 w 10450"/>
                <a:gd name="connsiteY5" fmla="*/ 3499 h 10085"/>
                <a:gd name="connsiteX6" fmla="*/ 9840 w 10450"/>
                <a:gd name="connsiteY6" fmla="*/ 2866 h 10085"/>
                <a:gd name="connsiteX7" fmla="*/ 10249 w 10450"/>
                <a:gd name="connsiteY7" fmla="*/ 2289 h 10085"/>
                <a:gd name="connsiteX8" fmla="*/ 10432 w 10450"/>
                <a:gd name="connsiteY8" fmla="*/ 1437 h 10085"/>
                <a:gd name="connsiteX9" fmla="*/ 9820 w 10450"/>
                <a:gd name="connsiteY9" fmla="*/ 551 h 10085"/>
                <a:gd name="connsiteX10" fmla="*/ 8663 w 10450"/>
                <a:gd name="connsiteY10" fmla="*/ 118 h 10085"/>
                <a:gd name="connsiteX11" fmla="*/ 7162 w 10450"/>
                <a:gd name="connsiteY11" fmla="*/ 0 h 10085"/>
                <a:gd name="connsiteX12" fmla="*/ 5922 w 10450"/>
                <a:gd name="connsiteY12" fmla="*/ 252 h 10085"/>
                <a:gd name="connsiteX13" fmla="*/ 5632 w 10450"/>
                <a:gd name="connsiteY13" fmla="*/ 1065 h 10085"/>
                <a:gd name="connsiteX14" fmla="*/ 5305 w 10450"/>
                <a:gd name="connsiteY14" fmla="*/ 1677 h 10085"/>
                <a:gd name="connsiteX15" fmla="*/ 3524 w 10450"/>
                <a:gd name="connsiteY15" fmla="*/ 1182 h 10085"/>
                <a:gd name="connsiteX16" fmla="*/ 2561 w 10450"/>
                <a:gd name="connsiteY16" fmla="*/ 749 h 10085"/>
                <a:gd name="connsiteX17" fmla="*/ 1347 w 10450"/>
                <a:gd name="connsiteY17" fmla="*/ 531 h 10085"/>
                <a:gd name="connsiteX18" fmla="*/ 366 w 10450"/>
                <a:gd name="connsiteY18" fmla="*/ 494 h 10085"/>
                <a:gd name="connsiteX19" fmla="*/ 2 w 10450"/>
                <a:gd name="connsiteY19" fmla="*/ 494 h 10085"/>
                <a:gd name="connsiteX20" fmla="*/ 853 w 10450"/>
                <a:gd name="connsiteY20" fmla="*/ 747 h 10085"/>
                <a:gd name="connsiteX21" fmla="*/ 640 w 10450"/>
                <a:gd name="connsiteY21" fmla="*/ 953 h 10085"/>
                <a:gd name="connsiteX22" fmla="*/ 20 w 10450"/>
                <a:gd name="connsiteY22" fmla="*/ 1032 h 10085"/>
                <a:gd name="connsiteX23" fmla="*/ 1462 w 10450"/>
                <a:gd name="connsiteY23" fmla="*/ 1006 h 10085"/>
                <a:gd name="connsiteX24" fmla="*/ 2855 w 10450"/>
                <a:gd name="connsiteY24" fmla="*/ 1471 h 10085"/>
                <a:gd name="connsiteX25" fmla="*/ 5602 w 10450"/>
                <a:gd name="connsiteY25" fmla="*/ 2092 h 10085"/>
                <a:gd name="connsiteX26" fmla="*/ 6601 w 10450"/>
                <a:gd name="connsiteY26" fmla="*/ 1020 h 10085"/>
                <a:gd name="connsiteX27" fmla="*/ 6670 w 10450"/>
                <a:gd name="connsiteY27" fmla="*/ 524 h 10085"/>
                <a:gd name="connsiteX28" fmla="*/ 7241 w 10450"/>
                <a:gd name="connsiteY28" fmla="*/ 446 h 10085"/>
                <a:gd name="connsiteX29" fmla="*/ 8735 w 10450"/>
                <a:gd name="connsiteY29" fmla="*/ 718 h 10085"/>
                <a:gd name="connsiteX30" fmla="*/ 9059 w 10450"/>
                <a:gd name="connsiteY30" fmla="*/ 2409 h 10085"/>
                <a:gd name="connsiteX31" fmla="*/ 8916 w 10450"/>
                <a:gd name="connsiteY31" fmla="*/ 2589 h 10085"/>
                <a:gd name="connsiteX32" fmla="*/ 8484 w 10450"/>
                <a:gd name="connsiteY32" fmla="*/ 3192 h 10085"/>
                <a:gd name="connsiteX33" fmla="*/ 7539 w 10450"/>
                <a:gd name="connsiteY33" fmla="*/ 5250 h 10085"/>
                <a:gd name="connsiteX34" fmla="*/ 7962 w 10450"/>
                <a:gd name="connsiteY34" fmla="*/ 7021 h 10085"/>
                <a:gd name="connsiteX35" fmla="*/ 8745 w 10450"/>
                <a:gd name="connsiteY35" fmla="*/ 9855 h 10085"/>
                <a:gd name="connsiteX36" fmla="*/ 8823 w 10450"/>
                <a:gd name="connsiteY36" fmla="*/ 10069 h 10085"/>
                <a:gd name="connsiteX0" fmla="*/ 8823 w 10450"/>
                <a:gd name="connsiteY0" fmla="*/ 10069 h 10089"/>
                <a:gd name="connsiteX1" fmla="*/ 9595 w 10450"/>
                <a:gd name="connsiteY1" fmla="*/ 10063 h 10089"/>
                <a:gd name="connsiteX2" fmla="*/ 9778 w 10450"/>
                <a:gd name="connsiteY2" fmla="*/ 9468 h 10089"/>
                <a:gd name="connsiteX3" fmla="*/ 8852 w 10450"/>
                <a:gd name="connsiteY3" fmla="*/ 6765 h 10089"/>
                <a:gd name="connsiteX4" fmla="*/ 8553 w 10450"/>
                <a:gd name="connsiteY4" fmla="*/ 5208 h 10089"/>
                <a:gd name="connsiteX5" fmla="*/ 9339 w 10450"/>
                <a:gd name="connsiteY5" fmla="*/ 3499 h 10089"/>
                <a:gd name="connsiteX6" fmla="*/ 9840 w 10450"/>
                <a:gd name="connsiteY6" fmla="*/ 2866 h 10089"/>
                <a:gd name="connsiteX7" fmla="*/ 10249 w 10450"/>
                <a:gd name="connsiteY7" fmla="*/ 2289 h 10089"/>
                <a:gd name="connsiteX8" fmla="*/ 10432 w 10450"/>
                <a:gd name="connsiteY8" fmla="*/ 1437 h 10089"/>
                <a:gd name="connsiteX9" fmla="*/ 9820 w 10450"/>
                <a:gd name="connsiteY9" fmla="*/ 551 h 10089"/>
                <a:gd name="connsiteX10" fmla="*/ 8663 w 10450"/>
                <a:gd name="connsiteY10" fmla="*/ 118 h 10089"/>
                <a:gd name="connsiteX11" fmla="*/ 7162 w 10450"/>
                <a:gd name="connsiteY11" fmla="*/ 0 h 10089"/>
                <a:gd name="connsiteX12" fmla="*/ 5922 w 10450"/>
                <a:gd name="connsiteY12" fmla="*/ 252 h 10089"/>
                <a:gd name="connsiteX13" fmla="*/ 5632 w 10450"/>
                <a:gd name="connsiteY13" fmla="*/ 1065 h 10089"/>
                <a:gd name="connsiteX14" fmla="*/ 5305 w 10450"/>
                <a:gd name="connsiteY14" fmla="*/ 1677 h 10089"/>
                <a:gd name="connsiteX15" fmla="*/ 3524 w 10450"/>
                <a:gd name="connsiteY15" fmla="*/ 1182 h 10089"/>
                <a:gd name="connsiteX16" fmla="*/ 2561 w 10450"/>
                <a:gd name="connsiteY16" fmla="*/ 749 h 10089"/>
                <a:gd name="connsiteX17" fmla="*/ 1347 w 10450"/>
                <a:gd name="connsiteY17" fmla="*/ 531 h 10089"/>
                <a:gd name="connsiteX18" fmla="*/ 366 w 10450"/>
                <a:gd name="connsiteY18" fmla="*/ 494 h 10089"/>
                <a:gd name="connsiteX19" fmla="*/ 2 w 10450"/>
                <a:gd name="connsiteY19" fmla="*/ 494 h 10089"/>
                <a:gd name="connsiteX20" fmla="*/ 853 w 10450"/>
                <a:gd name="connsiteY20" fmla="*/ 747 h 10089"/>
                <a:gd name="connsiteX21" fmla="*/ 640 w 10450"/>
                <a:gd name="connsiteY21" fmla="*/ 953 h 10089"/>
                <a:gd name="connsiteX22" fmla="*/ 20 w 10450"/>
                <a:gd name="connsiteY22" fmla="*/ 1032 h 10089"/>
                <a:gd name="connsiteX23" fmla="*/ 1462 w 10450"/>
                <a:gd name="connsiteY23" fmla="*/ 1006 h 10089"/>
                <a:gd name="connsiteX24" fmla="*/ 2855 w 10450"/>
                <a:gd name="connsiteY24" fmla="*/ 1471 h 10089"/>
                <a:gd name="connsiteX25" fmla="*/ 5602 w 10450"/>
                <a:gd name="connsiteY25" fmla="*/ 2092 h 10089"/>
                <a:gd name="connsiteX26" fmla="*/ 6601 w 10450"/>
                <a:gd name="connsiteY26" fmla="*/ 1020 h 10089"/>
                <a:gd name="connsiteX27" fmla="*/ 6670 w 10450"/>
                <a:gd name="connsiteY27" fmla="*/ 524 h 10089"/>
                <a:gd name="connsiteX28" fmla="*/ 7241 w 10450"/>
                <a:gd name="connsiteY28" fmla="*/ 446 h 10089"/>
                <a:gd name="connsiteX29" fmla="*/ 8735 w 10450"/>
                <a:gd name="connsiteY29" fmla="*/ 718 h 10089"/>
                <a:gd name="connsiteX30" fmla="*/ 9059 w 10450"/>
                <a:gd name="connsiteY30" fmla="*/ 2409 h 10089"/>
                <a:gd name="connsiteX31" fmla="*/ 8916 w 10450"/>
                <a:gd name="connsiteY31" fmla="*/ 2589 h 10089"/>
                <a:gd name="connsiteX32" fmla="*/ 8484 w 10450"/>
                <a:gd name="connsiteY32" fmla="*/ 3192 h 10089"/>
                <a:gd name="connsiteX33" fmla="*/ 7539 w 10450"/>
                <a:gd name="connsiteY33" fmla="*/ 5250 h 10089"/>
                <a:gd name="connsiteX34" fmla="*/ 7962 w 10450"/>
                <a:gd name="connsiteY34" fmla="*/ 7021 h 10089"/>
                <a:gd name="connsiteX35" fmla="*/ 8848 w 10450"/>
                <a:gd name="connsiteY35" fmla="*/ 9803 h 10089"/>
                <a:gd name="connsiteX36" fmla="*/ 8823 w 10450"/>
                <a:gd name="connsiteY36" fmla="*/ 10069 h 10089"/>
                <a:gd name="connsiteX0" fmla="*/ 8844 w 10450"/>
                <a:gd name="connsiteY0" fmla="*/ 9996 h 10065"/>
                <a:gd name="connsiteX1" fmla="*/ 9595 w 10450"/>
                <a:gd name="connsiteY1" fmla="*/ 10063 h 10065"/>
                <a:gd name="connsiteX2" fmla="*/ 9778 w 10450"/>
                <a:gd name="connsiteY2" fmla="*/ 9468 h 10065"/>
                <a:gd name="connsiteX3" fmla="*/ 8852 w 10450"/>
                <a:gd name="connsiteY3" fmla="*/ 6765 h 10065"/>
                <a:gd name="connsiteX4" fmla="*/ 8553 w 10450"/>
                <a:gd name="connsiteY4" fmla="*/ 5208 h 10065"/>
                <a:gd name="connsiteX5" fmla="*/ 9339 w 10450"/>
                <a:gd name="connsiteY5" fmla="*/ 3499 h 10065"/>
                <a:gd name="connsiteX6" fmla="*/ 9840 w 10450"/>
                <a:gd name="connsiteY6" fmla="*/ 2866 h 10065"/>
                <a:gd name="connsiteX7" fmla="*/ 10249 w 10450"/>
                <a:gd name="connsiteY7" fmla="*/ 2289 h 10065"/>
                <a:gd name="connsiteX8" fmla="*/ 10432 w 10450"/>
                <a:gd name="connsiteY8" fmla="*/ 1437 h 10065"/>
                <a:gd name="connsiteX9" fmla="*/ 9820 w 10450"/>
                <a:gd name="connsiteY9" fmla="*/ 551 h 10065"/>
                <a:gd name="connsiteX10" fmla="*/ 8663 w 10450"/>
                <a:gd name="connsiteY10" fmla="*/ 118 h 10065"/>
                <a:gd name="connsiteX11" fmla="*/ 7162 w 10450"/>
                <a:gd name="connsiteY11" fmla="*/ 0 h 10065"/>
                <a:gd name="connsiteX12" fmla="*/ 5922 w 10450"/>
                <a:gd name="connsiteY12" fmla="*/ 252 h 10065"/>
                <a:gd name="connsiteX13" fmla="*/ 5632 w 10450"/>
                <a:gd name="connsiteY13" fmla="*/ 1065 h 10065"/>
                <a:gd name="connsiteX14" fmla="*/ 5305 w 10450"/>
                <a:gd name="connsiteY14" fmla="*/ 1677 h 10065"/>
                <a:gd name="connsiteX15" fmla="*/ 3524 w 10450"/>
                <a:gd name="connsiteY15" fmla="*/ 1182 h 10065"/>
                <a:gd name="connsiteX16" fmla="*/ 2561 w 10450"/>
                <a:gd name="connsiteY16" fmla="*/ 749 h 10065"/>
                <a:gd name="connsiteX17" fmla="*/ 1347 w 10450"/>
                <a:gd name="connsiteY17" fmla="*/ 531 h 10065"/>
                <a:gd name="connsiteX18" fmla="*/ 366 w 10450"/>
                <a:gd name="connsiteY18" fmla="*/ 494 h 10065"/>
                <a:gd name="connsiteX19" fmla="*/ 2 w 10450"/>
                <a:gd name="connsiteY19" fmla="*/ 494 h 10065"/>
                <a:gd name="connsiteX20" fmla="*/ 853 w 10450"/>
                <a:gd name="connsiteY20" fmla="*/ 747 h 10065"/>
                <a:gd name="connsiteX21" fmla="*/ 640 w 10450"/>
                <a:gd name="connsiteY21" fmla="*/ 953 h 10065"/>
                <a:gd name="connsiteX22" fmla="*/ 20 w 10450"/>
                <a:gd name="connsiteY22" fmla="*/ 1032 h 10065"/>
                <a:gd name="connsiteX23" fmla="*/ 1462 w 10450"/>
                <a:gd name="connsiteY23" fmla="*/ 1006 h 10065"/>
                <a:gd name="connsiteX24" fmla="*/ 2855 w 10450"/>
                <a:gd name="connsiteY24" fmla="*/ 1471 h 10065"/>
                <a:gd name="connsiteX25" fmla="*/ 5602 w 10450"/>
                <a:gd name="connsiteY25" fmla="*/ 2092 h 10065"/>
                <a:gd name="connsiteX26" fmla="*/ 6601 w 10450"/>
                <a:gd name="connsiteY26" fmla="*/ 1020 h 10065"/>
                <a:gd name="connsiteX27" fmla="*/ 6670 w 10450"/>
                <a:gd name="connsiteY27" fmla="*/ 524 h 10065"/>
                <a:gd name="connsiteX28" fmla="*/ 7241 w 10450"/>
                <a:gd name="connsiteY28" fmla="*/ 446 h 10065"/>
                <a:gd name="connsiteX29" fmla="*/ 8735 w 10450"/>
                <a:gd name="connsiteY29" fmla="*/ 718 h 10065"/>
                <a:gd name="connsiteX30" fmla="*/ 9059 w 10450"/>
                <a:gd name="connsiteY30" fmla="*/ 2409 h 10065"/>
                <a:gd name="connsiteX31" fmla="*/ 8916 w 10450"/>
                <a:gd name="connsiteY31" fmla="*/ 2589 h 10065"/>
                <a:gd name="connsiteX32" fmla="*/ 8484 w 10450"/>
                <a:gd name="connsiteY32" fmla="*/ 3192 h 10065"/>
                <a:gd name="connsiteX33" fmla="*/ 7539 w 10450"/>
                <a:gd name="connsiteY33" fmla="*/ 5250 h 10065"/>
                <a:gd name="connsiteX34" fmla="*/ 7962 w 10450"/>
                <a:gd name="connsiteY34" fmla="*/ 7021 h 10065"/>
                <a:gd name="connsiteX35" fmla="*/ 8848 w 10450"/>
                <a:gd name="connsiteY35" fmla="*/ 9803 h 10065"/>
                <a:gd name="connsiteX36" fmla="*/ 8844 w 10450"/>
                <a:gd name="connsiteY36" fmla="*/ 9996 h 10065"/>
                <a:gd name="connsiteX0" fmla="*/ 8906 w 10450"/>
                <a:gd name="connsiteY0" fmla="*/ 10017 h 10066"/>
                <a:gd name="connsiteX1" fmla="*/ 9595 w 10450"/>
                <a:gd name="connsiteY1" fmla="*/ 10063 h 10066"/>
                <a:gd name="connsiteX2" fmla="*/ 9778 w 10450"/>
                <a:gd name="connsiteY2" fmla="*/ 9468 h 10066"/>
                <a:gd name="connsiteX3" fmla="*/ 8852 w 10450"/>
                <a:gd name="connsiteY3" fmla="*/ 6765 h 10066"/>
                <a:gd name="connsiteX4" fmla="*/ 8553 w 10450"/>
                <a:gd name="connsiteY4" fmla="*/ 5208 h 10066"/>
                <a:gd name="connsiteX5" fmla="*/ 9339 w 10450"/>
                <a:gd name="connsiteY5" fmla="*/ 3499 h 10066"/>
                <a:gd name="connsiteX6" fmla="*/ 9840 w 10450"/>
                <a:gd name="connsiteY6" fmla="*/ 2866 h 10066"/>
                <a:gd name="connsiteX7" fmla="*/ 10249 w 10450"/>
                <a:gd name="connsiteY7" fmla="*/ 2289 h 10066"/>
                <a:gd name="connsiteX8" fmla="*/ 10432 w 10450"/>
                <a:gd name="connsiteY8" fmla="*/ 1437 h 10066"/>
                <a:gd name="connsiteX9" fmla="*/ 9820 w 10450"/>
                <a:gd name="connsiteY9" fmla="*/ 551 h 10066"/>
                <a:gd name="connsiteX10" fmla="*/ 8663 w 10450"/>
                <a:gd name="connsiteY10" fmla="*/ 118 h 10066"/>
                <a:gd name="connsiteX11" fmla="*/ 7162 w 10450"/>
                <a:gd name="connsiteY11" fmla="*/ 0 h 10066"/>
                <a:gd name="connsiteX12" fmla="*/ 5922 w 10450"/>
                <a:gd name="connsiteY12" fmla="*/ 252 h 10066"/>
                <a:gd name="connsiteX13" fmla="*/ 5632 w 10450"/>
                <a:gd name="connsiteY13" fmla="*/ 1065 h 10066"/>
                <a:gd name="connsiteX14" fmla="*/ 5305 w 10450"/>
                <a:gd name="connsiteY14" fmla="*/ 1677 h 10066"/>
                <a:gd name="connsiteX15" fmla="*/ 3524 w 10450"/>
                <a:gd name="connsiteY15" fmla="*/ 1182 h 10066"/>
                <a:gd name="connsiteX16" fmla="*/ 2561 w 10450"/>
                <a:gd name="connsiteY16" fmla="*/ 749 h 10066"/>
                <a:gd name="connsiteX17" fmla="*/ 1347 w 10450"/>
                <a:gd name="connsiteY17" fmla="*/ 531 h 10066"/>
                <a:gd name="connsiteX18" fmla="*/ 366 w 10450"/>
                <a:gd name="connsiteY18" fmla="*/ 494 h 10066"/>
                <a:gd name="connsiteX19" fmla="*/ 2 w 10450"/>
                <a:gd name="connsiteY19" fmla="*/ 494 h 10066"/>
                <a:gd name="connsiteX20" fmla="*/ 853 w 10450"/>
                <a:gd name="connsiteY20" fmla="*/ 747 h 10066"/>
                <a:gd name="connsiteX21" fmla="*/ 640 w 10450"/>
                <a:gd name="connsiteY21" fmla="*/ 953 h 10066"/>
                <a:gd name="connsiteX22" fmla="*/ 20 w 10450"/>
                <a:gd name="connsiteY22" fmla="*/ 1032 h 10066"/>
                <a:gd name="connsiteX23" fmla="*/ 1462 w 10450"/>
                <a:gd name="connsiteY23" fmla="*/ 1006 h 10066"/>
                <a:gd name="connsiteX24" fmla="*/ 2855 w 10450"/>
                <a:gd name="connsiteY24" fmla="*/ 1471 h 10066"/>
                <a:gd name="connsiteX25" fmla="*/ 5602 w 10450"/>
                <a:gd name="connsiteY25" fmla="*/ 2092 h 10066"/>
                <a:gd name="connsiteX26" fmla="*/ 6601 w 10450"/>
                <a:gd name="connsiteY26" fmla="*/ 1020 h 10066"/>
                <a:gd name="connsiteX27" fmla="*/ 6670 w 10450"/>
                <a:gd name="connsiteY27" fmla="*/ 524 h 10066"/>
                <a:gd name="connsiteX28" fmla="*/ 7241 w 10450"/>
                <a:gd name="connsiteY28" fmla="*/ 446 h 10066"/>
                <a:gd name="connsiteX29" fmla="*/ 8735 w 10450"/>
                <a:gd name="connsiteY29" fmla="*/ 718 h 10066"/>
                <a:gd name="connsiteX30" fmla="*/ 9059 w 10450"/>
                <a:gd name="connsiteY30" fmla="*/ 2409 h 10066"/>
                <a:gd name="connsiteX31" fmla="*/ 8916 w 10450"/>
                <a:gd name="connsiteY31" fmla="*/ 2589 h 10066"/>
                <a:gd name="connsiteX32" fmla="*/ 8484 w 10450"/>
                <a:gd name="connsiteY32" fmla="*/ 3192 h 10066"/>
                <a:gd name="connsiteX33" fmla="*/ 7539 w 10450"/>
                <a:gd name="connsiteY33" fmla="*/ 5250 h 10066"/>
                <a:gd name="connsiteX34" fmla="*/ 7962 w 10450"/>
                <a:gd name="connsiteY34" fmla="*/ 7021 h 10066"/>
                <a:gd name="connsiteX35" fmla="*/ 8848 w 10450"/>
                <a:gd name="connsiteY35" fmla="*/ 9803 h 10066"/>
                <a:gd name="connsiteX36" fmla="*/ 8906 w 10450"/>
                <a:gd name="connsiteY36" fmla="*/ 10017 h 1006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852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852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852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78 w 10450"/>
                <a:gd name="connsiteY2" fmla="*/ 946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7962 w 10450"/>
                <a:gd name="connsiteY34" fmla="*/ 702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539 w 10450"/>
                <a:gd name="connsiteY33" fmla="*/ 5250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601 w 10450"/>
                <a:gd name="connsiteY33" fmla="*/ 5260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84 w 10450"/>
                <a:gd name="connsiteY32" fmla="*/ 3192 h 10076"/>
                <a:gd name="connsiteX33" fmla="*/ 7601 w 10450"/>
                <a:gd name="connsiteY33" fmla="*/ 5260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607 w 10450"/>
                <a:gd name="connsiteY32" fmla="*/ 3213 h 10076"/>
                <a:gd name="connsiteX33" fmla="*/ 7601 w 10450"/>
                <a:gd name="connsiteY33" fmla="*/ 5260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43 w 10450"/>
                <a:gd name="connsiteY32" fmla="*/ 3423 h 10076"/>
                <a:gd name="connsiteX33" fmla="*/ 7601 w 10450"/>
                <a:gd name="connsiteY33" fmla="*/ 5260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43 w 10450"/>
                <a:gd name="connsiteY32" fmla="*/ 3423 h 10076"/>
                <a:gd name="connsiteX33" fmla="*/ 7683 w 10450"/>
                <a:gd name="connsiteY33" fmla="*/ 5208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43 w 10450"/>
                <a:gd name="connsiteY32" fmla="*/ 3423 h 10076"/>
                <a:gd name="connsiteX33" fmla="*/ 7683 w 10450"/>
                <a:gd name="connsiteY33" fmla="*/ 5208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43 w 10450"/>
                <a:gd name="connsiteY32" fmla="*/ 3423 h 10076"/>
                <a:gd name="connsiteX33" fmla="*/ 7601 w 10450"/>
                <a:gd name="connsiteY33" fmla="*/ 5250 h 10076"/>
                <a:gd name="connsiteX34" fmla="*/ 8044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43 w 10450"/>
                <a:gd name="connsiteY32" fmla="*/ 3423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443 w 10450"/>
                <a:gd name="connsiteY32" fmla="*/ 3423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589 h 10076"/>
                <a:gd name="connsiteX32" fmla="*/ 8279 w 10450"/>
                <a:gd name="connsiteY32" fmla="*/ 3622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059 w 10450"/>
                <a:gd name="connsiteY30" fmla="*/ 2409 h 10076"/>
                <a:gd name="connsiteX31" fmla="*/ 8916 w 10450"/>
                <a:gd name="connsiteY31" fmla="*/ 2778 h 10076"/>
                <a:gd name="connsiteX32" fmla="*/ 8279 w 10450"/>
                <a:gd name="connsiteY32" fmla="*/ 3622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279 w 10450"/>
                <a:gd name="connsiteY32" fmla="*/ 3622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279 w 10450"/>
                <a:gd name="connsiteY32" fmla="*/ 3622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601 w 10450"/>
                <a:gd name="connsiteY33" fmla="*/ 5250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539 w 10450"/>
                <a:gd name="connsiteY33" fmla="*/ 5638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539 w 10450"/>
                <a:gd name="connsiteY33" fmla="*/ 5638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539 w 10450"/>
                <a:gd name="connsiteY33" fmla="*/ 5638 h 10076"/>
                <a:gd name="connsiteX34" fmla="*/ 8003 w 10450"/>
                <a:gd name="connsiteY34" fmla="*/ 7011 h 10076"/>
                <a:gd name="connsiteX35" fmla="*/ 8848 w 10450"/>
                <a:gd name="connsiteY35" fmla="*/ 9803 h 10076"/>
                <a:gd name="connsiteX36" fmla="*/ 8906 w 10450"/>
                <a:gd name="connsiteY36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35 w 10450"/>
                <a:gd name="connsiteY33" fmla="*/ 4639 h 10076"/>
                <a:gd name="connsiteX34" fmla="*/ 7539 w 10450"/>
                <a:gd name="connsiteY34" fmla="*/ 5638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39 w 10450"/>
                <a:gd name="connsiteY34" fmla="*/ 5638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39 w 10450"/>
                <a:gd name="connsiteY34" fmla="*/ 5638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26 w 10450"/>
                <a:gd name="connsiteY30" fmla="*/ 2136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735 w 10450"/>
                <a:gd name="connsiteY29" fmla="*/ 718 h 10076"/>
                <a:gd name="connsiteX30" fmla="*/ 9347 w 10450"/>
                <a:gd name="connsiteY30" fmla="*/ 2209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899 w 10450"/>
                <a:gd name="connsiteY29" fmla="*/ 749 h 10076"/>
                <a:gd name="connsiteX30" fmla="*/ 9347 w 10450"/>
                <a:gd name="connsiteY30" fmla="*/ 2209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899 w 10450"/>
                <a:gd name="connsiteY29" fmla="*/ 749 h 10076"/>
                <a:gd name="connsiteX30" fmla="*/ 9409 w 10450"/>
                <a:gd name="connsiteY30" fmla="*/ 2251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241 w 10450"/>
                <a:gd name="connsiteY28" fmla="*/ 446 h 10076"/>
                <a:gd name="connsiteX29" fmla="*/ 8899 w 10450"/>
                <a:gd name="connsiteY29" fmla="*/ 749 h 10076"/>
                <a:gd name="connsiteX30" fmla="*/ 9409 w 10450"/>
                <a:gd name="connsiteY30" fmla="*/ 2251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549 w 10450"/>
                <a:gd name="connsiteY28" fmla="*/ 436 h 10076"/>
                <a:gd name="connsiteX29" fmla="*/ 8899 w 10450"/>
                <a:gd name="connsiteY29" fmla="*/ 749 h 10076"/>
                <a:gd name="connsiteX30" fmla="*/ 9409 w 10450"/>
                <a:gd name="connsiteY30" fmla="*/ 2251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549 w 10450"/>
                <a:gd name="connsiteY28" fmla="*/ 436 h 10076"/>
                <a:gd name="connsiteX29" fmla="*/ 8899 w 10450"/>
                <a:gd name="connsiteY29" fmla="*/ 749 h 10076"/>
                <a:gd name="connsiteX30" fmla="*/ 9347 w 10450"/>
                <a:gd name="connsiteY30" fmla="*/ 2199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  <a:gd name="connsiteX0" fmla="*/ 8906 w 10450"/>
                <a:gd name="connsiteY0" fmla="*/ 10017 h 10076"/>
                <a:gd name="connsiteX1" fmla="*/ 9472 w 10450"/>
                <a:gd name="connsiteY1" fmla="*/ 10073 h 10076"/>
                <a:gd name="connsiteX2" fmla="*/ 9716 w 10450"/>
                <a:gd name="connsiteY2" fmla="*/ 9478 h 10076"/>
                <a:gd name="connsiteX3" fmla="*/ 8790 w 10450"/>
                <a:gd name="connsiteY3" fmla="*/ 6765 h 10076"/>
                <a:gd name="connsiteX4" fmla="*/ 8553 w 10450"/>
                <a:gd name="connsiteY4" fmla="*/ 5208 h 10076"/>
                <a:gd name="connsiteX5" fmla="*/ 9339 w 10450"/>
                <a:gd name="connsiteY5" fmla="*/ 3499 h 10076"/>
                <a:gd name="connsiteX6" fmla="*/ 9840 w 10450"/>
                <a:gd name="connsiteY6" fmla="*/ 2866 h 10076"/>
                <a:gd name="connsiteX7" fmla="*/ 10249 w 10450"/>
                <a:gd name="connsiteY7" fmla="*/ 2289 h 10076"/>
                <a:gd name="connsiteX8" fmla="*/ 10432 w 10450"/>
                <a:gd name="connsiteY8" fmla="*/ 1437 h 10076"/>
                <a:gd name="connsiteX9" fmla="*/ 9820 w 10450"/>
                <a:gd name="connsiteY9" fmla="*/ 551 h 10076"/>
                <a:gd name="connsiteX10" fmla="*/ 8663 w 10450"/>
                <a:gd name="connsiteY10" fmla="*/ 118 h 10076"/>
                <a:gd name="connsiteX11" fmla="*/ 7162 w 10450"/>
                <a:gd name="connsiteY11" fmla="*/ 0 h 10076"/>
                <a:gd name="connsiteX12" fmla="*/ 5922 w 10450"/>
                <a:gd name="connsiteY12" fmla="*/ 252 h 10076"/>
                <a:gd name="connsiteX13" fmla="*/ 5632 w 10450"/>
                <a:gd name="connsiteY13" fmla="*/ 1065 h 10076"/>
                <a:gd name="connsiteX14" fmla="*/ 5305 w 10450"/>
                <a:gd name="connsiteY14" fmla="*/ 1677 h 10076"/>
                <a:gd name="connsiteX15" fmla="*/ 3524 w 10450"/>
                <a:gd name="connsiteY15" fmla="*/ 1182 h 10076"/>
                <a:gd name="connsiteX16" fmla="*/ 2561 w 10450"/>
                <a:gd name="connsiteY16" fmla="*/ 749 h 10076"/>
                <a:gd name="connsiteX17" fmla="*/ 1347 w 10450"/>
                <a:gd name="connsiteY17" fmla="*/ 531 h 10076"/>
                <a:gd name="connsiteX18" fmla="*/ 366 w 10450"/>
                <a:gd name="connsiteY18" fmla="*/ 494 h 10076"/>
                <a:gd name="connsiteX19" fmla="*/ 2 w 10450"/>
                <a:gd name="connsiteY19" fmla="*/ 494 h 10076"/>
                <a:gd name="connsiteX20" fmla="*/ 853 w 10450"/>
                <a:gd name="connsiteY20" fmla="*/ 747 h 10076"/>
                <a:gd name="connsiteX21" fmla="*/ 640 w 10450"/>
                <a:gd name="connsiteY21" fmla="*/ 953 h 10076"/>
                <a:gd name="connsiteX22" fmla="*/ 20 w 10450"/>
                <a:gd name="connsiteY22" fmla="*/ 1032 h 10076"/>
                <a:gd name="connsiteX23" fmla="*/ 1462 w 10450"/>
                <a:gd name="connsiteY23" fmla="*/ 1006 h 10076"/>
                <a:gd name="connsiteX24" fmla="*/ 2855 w 10450"/>
                <a:gd name="connsiteY24" fmla="*/ 1471 h 10076"/>
                <a:gd name="connsiteX25" fmla="*/ 5602 w 10450"/>
                <a:gd name="connsiteY25" fmla="*/ 2092 h 10076"/>
                <a:gd name="connsiteX26" fmla="*/ 6601 w 10450"/>
                <a:gd name="connsiteY26" fmla="*/ 1020 h 10076"/>
                <a:gd name="connsiteX27" fmla="*/ 6670 w 10450"/>
                <a:gd name="connsiteY27" fmla="*/ 524 h 10076"/>
                <a:gd name="connsiteX28" fmla="*/ 7549 w 10450"/>
                <a:gd name="connsiteY28" fmla="*/ 436 h 10076"/>
                <a:gd name="connsiteX29" fmla="*/ 8899 w 10450"/>
                <a:gd name="connsiteY29" fmla="*/ 749 h 10076"/>
                <a:gd name="connsiteX30" fmla="*/ 9347 w 10450"/>
                <a:gd name="connsiteY30" fmla="*/ 2199 h 10076"/>
                <a:gd name="connsiteX31" fmla="*/ 8916 w 10450"/>
                <a:gd name="connsiteY31" fmla="*/ 2778 h 10076"/>
                <a:gd name="connsiteX32" fmla="*/ 8176 w 10450"/>
                <a:gd name="connsiteY32" fmla="*/ 3748 h 10076"/>
                <a:gd name="connsiteX33" fmla="*/ 7797 w 10450"/>
                <a:gd name="connsiteY33" fmla="*/ 4566 h 10076"/>
                <a:gd name="connsiteX34" fmla="*/ 7560 w 10450"/>
                <a:gd name="connsiteY34" fmla="*/ 5680 h 10076"/>
                <a:gd name="connsiteX35" fmla="*/ 8003 w 10450"/>
                <a:gd name="connsiteY35" fmla="*/ 7011 h 10076"/>
                <a:gd name="connsiteX36" fmla="*/ 8848 w 10450"/>
                <a:gd name="connsiteY36" fmla="*/ 9803 h 10076"/>
                <a:gd name="connsiteX37" fmla="*/ 8906 w 10450"/>
                <a:gd name="connsiteY37" fmla="*/ 10017 h 1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0450" h="10076">
                  <a:moveTo>
                    <a:pt x="8906" y="10017"/>
                  </a:moveTo>
                  <a:cubicBezTo>
                    <a:pt x="9010" y="10062"/>
                    <a:pt x="9306" y="10085"/>
                    <a:pt x="9472" y="10073"/>
                  </a:cubicBezTo>
                  <a:cubicBezTo>
                    <a:pt x="9489" y="10032"/>
                    <a:pt x="9711" y="9861"/>
                    <a:pt x="9716" y="9478"/>
                  </a:cubicBezTo>
                  <a:cubicBezTo>
                    <a:pt x="9721" y="9105"/>
                    <a:pt x="10174" y="8834"/>
                    <a:pt x="8790" y="6765"/>
                  </a:cubicBezTo>
                  <a:cubicBezTo>
                    <a:pt x="8398" y="6206"/>
                    <a:pt x="8449" y="5782"/>
                    <a:pt x="8553" y="5208"/>
                  </a:cubicBezTo>
                  <a:cubicBezTo>
                    <a:pt x="8839" y="4408"/>
                    <a:pt x="9087" y="3925"/>
                    <a:pt x="9339" y="3499"/>
                  </a:cubicBezTo>
                  <a:cubicBezTo>
                    <a:pt x="9510" y="3259"/>
                    <a:pt x="9668" y="3063"/>
                    <a:pt x="9840" y="2866"/>
                  </a:cubicBezTo>
                  <a:cubicBezTo>
                    <a:pt x="9881" y="2807"/>
                    <a:pt x="10150" y="2527"/>
                    <a:pt x="10249" y="2289"/>
                  </a:cubicBezTo>
                  <a:cubicBezTo>
                    <a:pt x="10348" y="2051"/>
                    <a:pt x="10503" y="1727"/>
                    <a:pt x="10432" y="1437"/>
                  </a:cubicBezTo>
                  <a:cubicBezTo>
                    <a:pt x="10361" y="1147"/>
                    <a:pt x="10115" y="771"/>
                    <a:pt x="9820" y="551"/>
                  </a:cubicBezTo>
                  <a:cubicBezTo>
                    <a:pt x="9525" y="331"/>
                    <a:pt x="9106" y="210"/>
                    <a:pt x="8663" y="118"/>
                  </a:cubicBezTo>
                  <a:cubicBezTo>
                    <a:pt x="8220" y="26"/>
                    <a:pt x="7634" y="1"/>
                    <a:pt x="7162" y="0"/>
                  </a:cubicBezTo>
                  <a:cubicBezTo>
                    <a:pt x="6628" y="16"/>
                    <a:pt x="6206" y="115"/>
                    <a:pt x="5922" y="252"/>
                  </a:cubicBezTo>
                  <a:cubicBezTo>
                    <a:pt x="5494" y="480"/>
                    <a:pt x="5569" y="793"/>
                    <a:pt x="5632" y="1065"/>
                  </a:cubicBezTo>
                  <a:cubicBezTo>
                    <a:pt x="5744" y="1488"/>
                    <a:pt x="5654" y="1632"/>
                    <a:pt x="5305" y="1677"/>
                  </a:cubicBezTo>
                  <a:cubicBezTo>
                    <a:pt x="4804" y="1742"/>
                    <a:pt x="4041" y="1406"/>
                    <a:pt x="3524" y="1182"/>
                  </a:cubicBezTo>
                  <a:cubicBezTo>
                    <a:pt x="3081" y="990"/>
                    <a:pt x="2934" y="861"/>
                    <a:pt x="2561" y="749"/>
                  </a:cubicBezTo>
                  <a:cubicBezTo>
                    <a:pt x="2188" y="637"/>
                    <a:pt x="1708" y="581"/>
                    <a:pt x="1347" y="531"/>
                  </a:cubicBezTo>
                  <a:lnTo>
                    <a:pt x="366" y="494"/>
                  </a:lnTo>
                  <a:cubicBezTo>
                    <a:pt x="127" y="487"/>
                    <a:pt x="123" y="494"/>
                    <a:pt x="2" y="494"/>
                  </a:cubicBezTo>
                  <a:cubicBezTo>
                    <a:pt x="83" y="536"/>
                    <a:pt x="820" y="584"/>
                    <a:pt x="853" y="747"/>
                  </a:cubicBezTo>
                  <a:cubicBezTo>
                    <a:pt x="853" y="914"/>
                    <a:pt x="779" y="906"/>
                    <a:pt x="640" y="953"/>
                  </a:cubicBezTo>
                  <a:cubicBezTo>
                    <a:pt x="501" y="1001"/>
                    <a:pt x="-117" y="1023"/>
                    <a:pt x="20" y="1032"/>
                  </a:cubicBezTo>
                  <a:cubicBezTo>
                    <a:pt x="157" y="1041"/>
                    <a:pt x="937" y="977"/>
                    <a:pt x="1462" y="1006"/>
                  </a:cubicBezTo>
                  <a:cubicBezTo>
                    <a:pt x="1930" y="1049"/>
                    <a:pt x="2361" y="1216"/>
                    <a:pt x="2855" y="1471"/>
                  </a:cubicBezTo>
                  <a:cubicBezTo>
                    <a:pt x="3601" y="1834"/>
                    <a:pt x="4499" y="2256"/>
                    <a:pt x="5602" y="2092"/>
                  </a:cubicBezTo>
                  <a:cubicBezTo>
                    <a:pt x="6849" y="1895"/>
                    <a:pt x="6710" y="1401"/>
                    <a:pt x="6601" y="1020"/>
                  </a:cubicBezTo>
                  <a:cubicBezTo>
                    <a:pt x="6568" y="826"/>
                    <a:pt x="6491" y="613"/>
                    <a:pt x="6670" y="524"/>
                  </a:cubicBezTo>
                  <a:cubicBezTo>
                    <a:pt x="6783" y="462"/>
                    <a:pt x="7178" y="399"/>
                    <a:pt x="7549" y="436"/>
                  </a:cubicBezTo>
                  <a:cubicBezTo>
                    <a:pt x="7920" y="473"/>
                    <a:pt x="8509" y="555"/>
                    <a:pt x="8899" y="749"/>
                  </a:cubicBezTo>
                  <a:cubicBezTo>
                    <a:pt x="9539" y="1114"/>
                    <a:pt x="9547" y="1755"/>
                    <a:pt x="9347" y="2199"/>
                  </a:cubicBezTo>
                  <a:cubicBezTo>
                    <a:pt x="9300" y="2258"/>
                    <a:pt x="9111" y="2520"/>
                    <a:pt x="8916" y="2778"/>
                  </a:cubicBezTo>
                  <a:cubicBezTo>
                    <a:pt x="8721" y="3036"/>
                    <a:pt x="8369" y="3441"/>
                    <a:pt x="8176" y="3748"/>
                  </a:cubicBezTo>
                  <a:cubicBezTo>
                    <a:pt x="7983" y="4055"/>
                    <a:pt x="7903" y="4251"/>
                    <a:pt x="7797" y="4566"/>
                  </a:cubicBezTo>
                  <a:cubicBezTo>
                    <a:pt x="7691" y="4881"/>
                    <a:pt x="7601" y="5156"/>
                    <a:pt x="7560" y="5680"/>
                  </a:cubicBezTo>
                  <a:cubicBezTo>
                    <a:pt x="7625" y="6163"/>
                    <a:pt x="7577" y="6423"/>
                    <a:pt x="8003" y="7011"/>
                  </a:cubicBezTo>
                  <a:cubicBezTo>
                    <a:pt x="9073" y="8502"/>
                    <a:pt x="8950" y="9336"/>
                    <a:pt x="8848" y="9803"/>
                  </a:cubicBezTo>
                  <a:cubicBezTo>
                    <a:pt x="8835" y="9843"/>
                    <a:pt x="8802" y="9972"/>
                    <a:pt x="8906" y="10017"/>
                  </a:cubicBezTo>
                  <a:close/>
                </a:path>
              </a:pathLst>
            </a:custGeom>
            <a:gradFill>
              <a:gsLst>
                <a:gs pos="0">
                  <a:srgbClr val="FDC270"/>
                </a:gs>
                <a:gs pos="39000">
                  <a:srgbClr val="FFDCB9">
                    <a:shade val="67500"/>
                    <a:satMod val="115000"/>
                  </a:srgbClr>
                </a:gs>
                <a:gs pos="100000">
                  <a:srgbClr val="9A3204"/>
                </a:gs>
              </a:gsLst>
              <a:path path="circle">
                <a:fillToRect l="100000" t="100000"/>
              </a:path>
            </a:gradFill>
            <a:ln w="9525">
              <a:noFill/>
              <a:round/>
              <a:headEnd/>
              <a:tailEnd/>
            </a:ln>
            <a:effectLst/>
            <a:extLst/>
          </p:spPr>
          <p:txBody>
            <a:bodyPr/>
            <a:lstStyle>
              <a:defPPr>
                <a:defRPr lang="fr-F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de-DE" sz="1050" baseline="0">
                <a:solidFill>
                  <a:prstClr val="black"/>
                </a:solidFill>
              </a:endParaRPr>
            </a:p>
          </p:txBody>
        </p:sp>
        <p:sp>
          <p:nvSpPr>
            <p:cNvPr id="494" name="Freeform 27"/>
            <p:cNvSpPr>
              <a:spLocks/>
            </p:cNvSpPr>
            <p:nvPr/>
          </p:nvSpPr>
          <p:spPr bwMode="auto">
            <a:xfrm>
              <a:off x="6386513" y="1350963"/>
              <a:ext cx="106362" cy="334962"/>
            </a:xfrm>
            <a:custGeom>
              <a:avLst/>
              <a:gdLst>
                <a:gd name="T0" fmla="*/ 0 w 18"/>
                <a:gd name="T1" fmla="*/ 2147483646 h 71"/>
                <a:gd name="T2" fmla="*/ 2147483646 w 18"/>
                <a:gd name="T3" fmla="*/ 0 h 71"/>
                <a:gd name="T4" fmla="*/ 0 w 18"/>
                <a:gd name="T5" fmla="*/ 2147483646 h 7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71">
                  <a:moveTo>
                    <a:pt x="0" y="71"/>
                  </a:moveTo>
                  <a:cubicBezTo>
                    <a:pt x="11" y="45"/>
                    <a:pt x="18" y="16"/>
                    <a:pt x="14" y="0"/>
                  </a:cubicBezTo>
                  <a:cubicBezTo>
                    <a:pt x="15" y="7"/>
                    <a:pt x="5" y="63"/>
                    <a:pt x="0" y="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5" name="Freeform 20"/>
            <p:cNvSpPr>
              <a:spLocks/>
            </p:cNvSpPr>
            <p:nvPr/>
          </p:nvSpPr>
          <p:spPr bwMode="auto">
            <a:xfrm>
              <a:off x="6324600" y="3349625"/>
              <a:ext cx="69850" cy="330200"/>
            </a:xfrm>
            <a:custGeom>
              <a:avLst/>
              <a:gdLst>
                <a:gd name="T0" fmla="*/ 2147483646 w 12"/>
                <a:gd name="T1" fmla="*/ 2147483646 h 70"/>
                <a:gd name="T2" fmla="*/ 0 w 12"/>
                <a:gd name="T3" fmla="*/ 0 h 70"/>
                <a:gd name="T4" fmla="*/ 2147483646 w 12"/>
                <a:gd name="T5" fmla="*/ 2147483646 h 7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" h="70">
                  <a:moveTo>
                    <a:pt x="8" y="70"/>
                  </a:moveTo>
                  <a:cubicBezTo>
                    <a:pt x="7" y="50"/>
                    <a:pt x="5" y="27"/>
                    <a:pt x="0" y="0"/>
                  </a:cubicBezTo>
                  <a:cubicBezTo>
                    <a:pt x="8" y="16"/>
                    <a:pt x="12" y="41"/>
                    <a:pt x="8" y="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6" name="Freeform 29"/>
            <p:cNvSpPr>
              <a:spLocks/>
            </p:cNvSpPr>
            <p:nvPr/>
          </p:nvSpPr>
          <p:spPr bwMode="auto">
            <a:xfrm>
              <a:off x="5187950" y="1150938"/>
              <a:ext cx="538163" cy="350837"/>
            </a:xfrm>
            <a:custGeom>
              <a:avLst/>
              <a:gdLst>
                <a:gd name="T0" fmla="*/ 0 w 92"/>
                <a:gd name="T1" fmla="*/ 2147483646 h 74"/>
                <a:gd name="T2" fmla="*/ 2147483646 w 92"/>
                <a:gd name="T3" fmla="*/ 2147483646 h 74"/>
                <a:gd name="T4" fmla="*/ 2147483646 w 92"/>
                <a:gd name="T5" fmla="*/ 2147483646 h 74"/>
                <a:gd name="T6" fmla="*/ 2147483646 w 92"/>
                <a:gd name="T7" fmla="*/ 2147483646 h 74"/>
                <a:gd name="T8" fmla="*/ 0 w 92"/>
                <a:gd name="T9" fmla="*/ 2147483646 h 7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2" h="74">
                  <a:moveTo>
                    <a:pt x="0" y="3"/>
                  </a:moveTo>
                  <a:cubicBezTo>
                    <a:pt x="11" y="4"/>
                    <a:pt x="30" y="25"/>
                    <a:pt x="47" y="43"/>
                  </a:cubicBezTo>
                  <a:cubicBezTo>
                    <a:pt x="64" y="62"/>
                    <a:pt x="80" y="74"/>
                    <a:pt x="92" y="74"/>
                  </a:cubicBezTo>
                  <a:cubicBezTo>
                    <a:pt x="83" y="72"/>
                    <a:pt x="58" y="52"/>
                    <a:pt x="47" y="39"/>
                  </a:cubicBezTo>
                  <a:cubicBezTo>
                    <a:pt x="37" y="26"/>
                    <a:pt x="9" y="0"/>
                    <a:pt x="0" y="3"/>
                  </a:cubicBezTo>
                  <a:close/>
                </a:path>
              </a:pathLst>
            </a:custGeom>
            <a:solidFill>
              <a:srgbClr val="FEA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7" name="Freeform 26"/>
            <p:cNvSpPr>
              <a:spLocks/>
            </p:cNvSpPr>
            <p:nvPr/>
          </p:nvSpPr>
          <p:spPr bwMode="auto">
            <a:xfrm>
              <a:off x="5821363" y="890588"/>
              <a:ext cx="157162" cy="482600"/>
            </a:xfrm>
            <a:custGeom>
              <a:avLst/>
              <a:gdLst>
                <a:gd name="T0" fmla="*/ 2147483646 w 10000"/>
                <a:gd name="T1" fmla="*/ 0 h 10000"/>
                <a:gd name="T2" fmla="*/ 2147483646 w 10000"/>
                <a:gd name="T3" fmla="*/ 2147483646 h 10000"/>
                <a:gd name="T4" fmla="*/ 0 w 10000"/>
                <a:gd name="T5" fmla="*/ 2147483646 h 10000"/>
                <a:gd name="T6" fmla="*/ 2147483646 w 10000"/>
                <a:gd name="T7" fmla="*/ 2147483646 h 10000"/>
                <a:gd name="T8" fmla="*/ 2147483646 w 10000"/>
                <a:gd name="T9" fmla="*/ 0 h 100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00" h="10000">
                  <a:moveTo>
                    <a:pt x="10000" y="0"/>
                  </a:moveTo>
                  <a:cubicBezTo>
                    <a:pt x="5185" y="392"/>
                    <a:pt x="1111" y="1471"/>
                    <a:pt x="1481" y="4118"/>
                  </a:cubicBezTo>
                  <a:cubicBezTo>
                    <a:pt x="1852" y="6667"/>
                    <a:pt x="4074" y="9216"/>
                    <a:pt x="0" y="10000"/>
                  </a:cubicBezTo>
                  <a:cubicBezTo>
                    <a:pt x="4074" y="9314"/>
                    <a:pt x="2826" y="7287"/>
                    <a:pt x="2826" y="5326"/>
                  </a:cubicBezTo>
                  <a:cubicBezTo>
                    <a:pt x="2826" y="3463"/>
                    <a:pt x="2593" y="686"/>
                    <a:pt x="1000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8" name="Freeform 8"/>
            <p:cNvSpPr>
              <a:spLocks/>
            </p:cNvSpPr>
            <p:nvPr/>
          </p:nvSpPr>
          <p:spPr bwMode="auto">
            <a:xfrm>
              <a:off x="8558213" y="2738438"/>
              <a:ext cx="422275" cy="95250"/>
            </a:xfrm>
            <a:custGeom>
              <a:avLst/>
              <a:gdLst>
                <a:gd name="T0" fmla="*/ 2147483646 w 72"/>
                <a:gd name="T1" fmla="*/ 2147483646 h 20"/>
                <a:gd name="T2" fmla="*/ 2147483646 w 72"/>
                <a:gd name="T3" fmla="*/ 2147483646 h 20"/>
                <a:gd name="T4" fmla="*/ 2147483646 w 72"/>
                <a:gd name="T5" fmla="*/ 2147483646 h 20"/>
                <a:gd name="T6" fmla="*/ 2147483646 w 72"/>
                <a:gd name="T7" fmla="*/ 2147483646 h 20"/>
                <a:gd name="T8" fmla="*/ 2147483646 w 72"/>
                <a:gd name="T9" fmla="*/ 2147483646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2" h="20">
                  <a:moveTo>
                    <a:pt x="1" y="9"/>
                  </a:moveTo>
                  <a:cubicBezTo>
                    <a:pt x="0" y="15"/>
                    <a:pt x="15" y="19"/>
                    <a:pt x="35" y="20"/>
                  </a:cubicBezTo>
                  <a:cubicBezTo>
                    <a:pt x="54" y="20"/>
                    <a:pt x="70" y="16"/>
                    <a:pt x="71" y="11"/>
                  </a:cubicBezTo>
                  <a:cubicBezTo>
                    <a:pt x="72" y="6"/>
                    <a:pt x="57" y="1"/>
                    <a:pt x="37" y="1"/>
                  </a:cubicBezTo>
                  <a:cubicBezTo>
                    <a:pt x="18" y="0"/>
                    <a:pt x="2" y="4"/>
                    <a:pt x="1" y="9"/>
                  </a:cubicBezTo>
                  <a:close/>
                </a:path>
              </a:pathLst>
            </a:custGeom>
            <a:solidFill>
              <a:srgbClr val="FEE1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499" name="Freeform 9"/>
            <p:cNvSpPr>
              <a:spLocks/>
            </p:cNvSpPr>
            <p:nvPr/>
          </p:nvSpPr>
          <p:spPr bwMode="auto">
            <a:xfrm>
              <a:off x="8610600" y="2752725"/>
              <a:ext cx="315913" cy="66675"/>
            </a:xfrm>
            <a:custGeom>
              <a:avLst/>
              <a:gdLst>
                <a:gd name="T0" fmla="*/ 2147483646 w 54"/>
                <a:gd name="T1" fmla="*/ 2147483646 h 14"/>
                <a:gd name="T2" fmla="*/ 2147483646 w 54"/>
                <a:gd name="T3" fmla="*/ 2147483646 h 14"/>
                <a:gd name="T4" fmla="*/ 2147483646 w 54"/>
                <a:gd name="T5" fmla="*/ 2147483646 h 14"/>
                <a:gd name="T6" fmla="*/ 2147483646 w 54"/>
                <a:gd name="T7" fmla="*/ 0 h 14"/>
                <a:gd name="T8" fmla="*/ 2147483646 w 54"/>
                <a:gd name="T9" fmla="*/ 2147483646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14">
                  <a:moveTo>
                    <a:pt x="1" y="7"/>
                  </a:moveTo>
                  <a:cubicBezTo>
                    <a:pt x="0" y="10"/>
                    <a:pt x="12" y="14"/>
                    <a:pt x="26" y="14"/>
                  </a:cubicBezTo>
                  <a:cubicBezTo>
                    <a:pt x="40" y="14"/>
                    <a:pt x="52" y="11"/>
                    <a:pt x="53" y="8"/>
                  </a:cubicBezTo>
                  <a:cubicBezTo>
                    <a:pt x="54" y="4"/>
                    <a:pt x="42" y="1"/>
                    <a:pt x="28" y="0"/>
                  </a:cubicBezTo>
                  <a:cubicBezTo>
                    <a:pt x="14" y="0"/>
                    <a:pt x="2" y="3"/>
                    <a:pt x="1" y="7"/>
                  </a:cubicBezTo>
                  <a:close/>
                </a:path>
              </a:pathLst>
            </a:custGeom>
            <a:gradFill rotWithShape="1">
              <a:gsLst>
                <a:gs pos="0">
                  <a:srgbClr val="8A4E05"/>
                </a:gs>
                <a:gs pos="50000">
                  <a:srgbClr val="C7720D"/>
                </a:gs>
                <a:gs pos="100000">
                  <a:srgbClr val="ED8912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0" name="Freeform 17"/>
            <p:cNvSpPr>
              <a:spLocks/>
            </p:cNvSpPr>
            <p:nvPr/>
          </p:nvSpPr>
          <p:spPr bwMode="auto">
            <a:xfrm>
              <a:off x="9170988" y="3348038"/>
              <a:ext cx="93662" cy="109537"/>
            </a:xfrm>
            <a:custGeom>
              <a:avLst/>
              <a:gdLst>
                <a:gd name="T0" fmla="*/ 2147483646 w 16"/>
                <a:gd name="T1" fmla="*/ 2147483646 h 23"/>
                <a:gd name="T2" fmla="*/ 2147483646 w 16"/>
                <a:gd name="T3" fmla="*/ 2147483646 h 23"/>
                <a:gd name="T4" fmla="*/ 2147483646 w 16"/>
                <a:gd name="T5" fmla="*/ 2147483646 h 23"/>
                <a:gd name="T6" fmla="*/ 2147483646 w 16"/>
                <a:gd name="T7" fmla="*/ 2147483646 h 23"/>
                <a:gd name="T8" fmla="*/ 2147483646 w 16"/>
                <a:gd name="T9" fmla="*/ 2147483646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23">
                  <a:moveTo>
                    <a:pt x="2" y="14"/>
                  </a:moveTo>
                  <a:cubicBezTo>
                    <a:pt x="5" y="19"/>
                    <a:pt x="9" y="23"/>
                    <a:pt x="12" y="22"/>
                  </a:cubicBezTo>
                  <a:cubicBezTo>
                    <a:pt x="15" y="20"/>
                    <a:pt x="16" y="15"/>
                    <a:pt x="14" y="9"/>
                  </a:cubicBezTo>
                  <a:cubicBezTo>
                    <a:pt x="11" y="3"/>
                    <a:pt x="7" y="0"/>
                    <a:pt x="4" y="1"/>
                  </a:cubicBezTo>
                  <a:cubicBezTo>
                    <a:pt x="1" y="2"/>
                    <a:pt x="0" y="8"/>
                    <a:pt x="2" y="14"/>
                  </a:cubicBezTo>
                  <a:close/>
                </a:path>
              </a:pathLst>
            </a:custGeom>
            <a:solidFill>
              <a:srgbClr val="FEE1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1" name="Freeform 18"/>
            <p:cNvSpPr>
              <a:spLocks/>
            </p:cNvSpPr>
            <p:nvPr/>
          </p:nvSpPr>
          <p:spPr bwMode="auto">
            <a:xfrm>
              <a:off x="9193213" y="3371850"/>
              <a:ext cx="46037" cy="61913"/>
            </a:xfrm>
            <a:custGeom>
              <a:avLst/>
              <a:gdLst>
                <a:gd name="T0" fmla="*/ 2147483646 w 8"/>
                <a:gd name="T1" fmla="*/ 2147483646 h 13"/>
                <a:gd name="T2" fmla="*/ 2147483646 w 8"/>
                <a:gd name="T3" fmla="*/ 2147483646 h 13"/>
                <a:gd name="T4" fmla="*/ 2147483646 w 8"/>
                <a:gd name="T5" fmla="*/ 2147483646 h 13"/>
                <a:gd name="T6" fmla="*/ 2147483646 w 8"/>
                <a:gd name="T7" fmla="*/ 2147483646 h 13"/>
                <a:gd name="T8" fmla="*/ 2147483646 w 8"/>
                <a:gd name="T9" fmla="*/ 2147483646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13">
                  <a:moveTo>
                    <a:pt x="1" y="8"/>
                  </a:moveTo>
                  <a:cubicBezTo>
                    <a:pt x="2" y="11"/>
                    <a:pt x="4" y="13"/>
                    <a:pt x="6" y="12"/>
                  </a:cubicBezTo>
                  <a:cubicBezTo>
                    <a:pt x="8" y="11"/>
                    <a:pt x="8" y="8"/>
                    <a:pt x="7" y="5"/>
                  </a:cubicBezTo>
                  <a:cubicBezTo>
                    <a:pt x="6" y="2"/>
                    <a:pt x="4" y="0"/>
                    <a:pt x="2" y="1"/>
                  </a:cubicBezTo>
                  <a:cubicBezTo>
                    <a:pt x="0" y="1"/>
                    <a:pt x="0" y="4"/>
                    <a:pt x="1" y="8"/>
                  </a:cubicBezTo>
                  <a:close/>
                </a:path>
              </a:pathLst>
            </a:custGeom>
            <a:gradFill rotWithShape="1">
              <a:gsLst>
                <a:gs pos="0">
                  <a:srgbClr val="8A4E05"/>
                </a:gs>
                <a:gs pos="50000">
                  <a:srgbClr val="C7720D"/>
                </a:gs>
                <a:gs pos="100000">
                  <a:srgbClr val="ED8912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2" name="Freeform 28"/>
            <p:cNvSpPr>
              <a:spLocks/>
            </p:cNvSpPr>
            <p:nvPr/>
          </p:nvSpPr>
          <p:spPr bwMode="auto">
            <a:xfrm>
              <a:off x="8802688" y="3492500"/>
              <a:ext cx="361950" cy="1517650"/>
            </a:xfrm>
            <a:custGeom>
              <a:avLst/>
              <a:gdLst>
                <a:gd name="T0" fmla="*/ 2147483646 w 62"/>
                <a:gd name="T1" fmla="*/ 2147483646 h 321"/>
                <a:gd name="T2" fmla="*/ 2147483646 w 62"/>
                <a:gd name="T3" fmla="*/ 2147483646 h 321"/>
                <a:gd name="T4" fmla="*/ 2147483646 w 62"/>
                <a:gd name="T5" fmla="*/ 0 h 321"/>
                <a:gd name="T6" fmla="*/ 2147483646 w 62"/>
                <a:gd name="T7" fmla="*/ 2147483646 h 321"/>
                <a:gd name="T8" fmla="*/ 2147483646 w 62"/>
                <a:gd name="T9" fmla="*/ 2147483646 h 3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2" h="321">
                  <a:moveTo>
                    <a:pt x="10" y="321"/>
                  </a:moveTo>
                  <a:cubicBezTo>
                    <a:pt x="10" y="295"/>
                    <a:pt x="8" y="280"/>
                    <a:pt x="15" y="162"/>
                  </a:cubicBezTo>
                  <a:cubicBezTo>
                    <a:pt x="21" y="44"/>
                    <a:pt x="54" y="13"/>
                    <a:pt x="62" y="0"/>
                  </a:cubicBezTo>
                  <a:cubicBezTo>
                    <a:pt x="37" y="36"/>
                    <a:pt x="14" y="75"/>
                    <a:pt x="7" y="177"/>
                  </a:cubicBezTo>
                  <a:cubicBezTo>
                    <a:pt x="0" y="278"/>
                    <a:pt x="10" y="321"/>
                    <a:pt x="10" y="321"/>
                  </a:cubicBezTo>
                  <a:close/>
                </a:path>
              </a:pathLst>
            </a:custGeom>
            <a:solidFill>
              <a:srgbClr val="FEA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3" name="Freeform 35"/>
            <p:cNvSpPr>
              <a:spLocks/>
            </p:cNvSpPr>
            <p:nvPr/>
          </p:nvSpPr>
          <p:spPr bwMode="auto">
            <a:xfrm>
              <a:off x="8880475" y="2846388"/>
              <a:ext cx="98425" cy="663575"/>
            </a:xfrm>
            <a:custGeom>
              <a:avLst/>
              <a:gdLst>
                <a:gd name="T0" fmla="*/ 2147483646 w 17"/>
                <a:gd name="T1" fmla="*/ 2147483646 h 140"/>
                <a:gd name="T2" fmla="*/ 2147483646 w 17"/>
                <a:gd name="T3" fmla="*/ 0 h 140"/>
                <a:gd name="T4" fmla="*/ 2147483646 w 17"/>
                <a:gd name="T5" fmla="*/ 2147483646 h 14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140">
                  <a:moveTo>
                    <a:pt x="17" y="140"/>
                  </a:moveTo>
                  <a:cubicBezTo>
                    <a:pt x="7" y="109"/>
                    <a:pt x="10" y="13"/>
                    <a:pt x="10" y="0"/>
                  </a:cubicBezTo>
                  <a:cubicBezTo>
                    <a:pt x="3" y="16"/>
                    <a:pt x="0" y="111"/>
                    <a:pt x="17" y="140"/>
                  </a:cubicBezTo>
                  <a:close/>
                </a:path>
              </a:pathLst>
            </a:custGeom>
            <a:solidFill>
              <a:srgbClr val="FEA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4" name="Freeform 39"/>
            <p:cNvSpPr>
              <a:spLocks/>
            </p:cNvSpPr>
            <p:nvPr/>
          </p:nvSpPr>
          <p:spPr bwMode="auto">
            <a:xfrm>
              <a:off x="8558213" y="2738438"/>
              <a:ext cx="422275" cy="95250"/>
            </a:xfrm>
            <a:custGeom>
              <a:avLst/>
              <a:gdLst>
                <a:gd name="T0" fmla="*/ 2147483646 w 72"/>
                <a:gd name="T1" fmla="*/ 2147483646 h 20"/>
                <a:gd name="T2" fmla="*/ 2147483646 w 72"/>
                <a:gd name="T3" fmla="*/ 2147483646 h 20"/>
                <a:gd name="T4" fmla="*/ 2147483646 w 72"/>
                <a:gd name="T5" fmla="*/ 2147483646 h 20"/>
                <a:gd name="T6" fmla="*/ 2147483646 w 72"/>
                <a:gd name="T7" fmla="*/ 2147483646 h 20"/>
                <a:gd name="T8" fmla="*/ 2147483646 w 72"/>
                <a:gd name="T9" fmla="*/ 2147483646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2" h="20">
                  <a:moveTo>
                    <a:pt x="1" y="9"/>
                  </a:moveTo>
                  <a:cubicBezTo>
                    <a:pt x="0" y="15"/>
                    <a:pt x="15" y="19"/>
                    <a:pt x="35" y="20"/>
                  </a:cubicBezTo>
                  <a:cubicBezTo>
                    <a:pt x="54" y="20"/>
                    <a:pt x="70" y="16"/>
                    <a:pt x="71" y="11"/>
                  </a:cubicBezTo>
                  <a:cubicBezTo>
                    <a:pt x="72" y="6"/>
                    <a:pt x="57" y="1"/>
                    <a:pt x="37" y="1"/>
                  </a:cubicBezTo>
                  <a:cubicBezTo>
                    <a:pt x="18" y="0"/>
                    <a:pt x="2" y="4"/>
                    <a:pt x="1" y="9"/>
                  </a:cubicBezTo>
                  <a:close/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5" name="Freeform 47"/>
            <p:cNvSpPr>
              <a:spLocks/>
            </p:cNvSpPr>
            <p:nvPr/>
          </p:nvSpPr>
          <p:spPr bwMode="auto">
            <a:xfrm>
              <a:off x="9166225" y="3348038"/>
              <a:ext cx="93663" cy="109537"/>
            </a:xfrm>
            <a:custGeom>
              <a:avLst/>
              <a:gdLst>
                <a:gd name="T0" fmla="*/ 2147483646 w 16"/>
                <a:gd name="T1" fmla="*/ 2147483646 h 23"/>
                <a:gd name="T2" fmla="*/ 2147483646 w 16"/>
                <a:gd name="T3" fmla="*/ 2147483646 h 23"/>
                <a:gd name="T4" fmla="*/ 2147483646 w 16"/>
                <a:gd name="T5" fmla="*/ 2147483646 h 23"/>
                <a:gd name="T6" fmla="*/ 2147483646 w 16"/>
                <a:gd name="T7" fmla="*/ 2147483646 h 23"/>
                <a:gd name="T8" fmla="*/ 2147483646 w 16"/>
                <a:gd name="T9" fmla="*/ 2147483646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23">
                  <a:moveTo>
                    <a:pt x="2" y="14"/>
                  </a:moveTo>
                  <a:cubicBezTo>
                    <a:pt x="5" y="19"/>
                    <a:pt x="9" y="23"/>
                    <a:pt x="12" y="22"/>
                  </a:cubicBezTo>
                  <a:cubicBezTo>
                    <a:pt x="15" y="20"/>
                    <a:pt x="16" y="15"/>
                    <a:pt x="14" y="9"/>
                  </a:cubicBezTo>
                  <a:cubicBezTo>
                    <a:pt x="11" y="3"/>
                    <a:pt x="7" y="0"/>
                    <a:pt x="4" y="1"/>
                  </a:cubicBezTo>
                  <a:cubicBezTo>
                    <a:pt x="1" y="2"/>
                    <a:pt x="0" y="8"/>
                    <a:pt x="2" y="14"/>
                  </a:cubicBezTo>
                  <a:close/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6" name="Freeform 50"/>
            <p:cNvSpPr>
              <a:spLocks/>
            </p:cNvSpPr>
            <p:nvPr/>
          </p:nvSpPr>
          <p:spPr bwMode="auto">
            <a:xfrm>
              <a:off x="8929688" y="3519488"/>
              <a:ext cx="65087" cy="47625"/>
            </a:xfrm>
            <a:custGeom>
              <a:avLst/>
              <a:gdLst>
                <a:gd name="T0" fmla="*/ 0 w 11"/>
                <a:gd name="T1" fmla="*/ 2147483646 h 10"/>
                <a:gd name="T2" fmla="*/ 2147483646 w 11"/>
                <a:gd name="T3" fmla="*/ 0 h 1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1" h="10">
                  <a:moveTo>
                    <a:pt x="0" y="10"/>
                  </a:moveTo>
                  <a:cubicBezTo>
                    <a:pt x="6" y="9"/>
                    <a:pt x="8" y="2"/>
                    <a:pt x="11" y="0"/>
                  </a:cubicBezTo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7" name="Freeform 51"/>
            <p:cNvSpPr>
              <a:spLocks/>
            </p:cNvSpPr>
            <p:nvPr/>
          </p:nvSpPr>
          <p:spPr bwMode="auto">
            <a:xfrm>
              <a:off x="8551863" y="4067175"/>
              <a:ext cx="60325" cy="34925"/>
            </a:xfrm>
            <a:custGeom>
              <a:avLst/>
              <a:gdLst>
                <a:gd name="T0" fmla="*/ 0 w 10"/>
                <a:gd name="T1" fmla="*/ 0 h 7"/>
                <a:gd name="T2" fmla="*/ 2147483646 w 10"/>
                <a:gd name="T3" fmla="*/ 2147483646 h 7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" h="7">
                  <a:moveTo>
                    <a:pt x="0" y="0"/>
                  </a:moveTo>
                  <a:cubicBezTo>
                    <a:pt x="5" y="7"/>
                    <a:pt x="6" y="5"/>
                    <a:pt x="10" y="4"/>
                  </a:cubicBezTo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8" name="Freeform 25"/>
            <p:cNvSpPr>
              <a:spLocks/>
            </p:cNvSpPr>
            <p:nvPr/>
          </p:nvSpPr>
          <p:spPr bwMode="auto">
            <a:xfrm>
              <a:off x="8469313" y="4403725"/>
              <a:ext cx="104775" cy="1298575"/>
            </a:xfrm>
            <a:custGeom>
              <a:avLst/>
              <a:gdLst>
                <a:gd name="T0" fmla="*/ 2147483646 w 18"/>
                <a:gd name="T1" fmla="*/ 2147483646 h 274"/>
                <a:gd name="T2" fmla="*/ 2147483646 w 18"/>
                <a:gd name="T3" fmla="*/ 0 h 274"/>
                <a:gd name="T4" fmla="*/ 2147483646 w 18"/>
                <a:gd name="T5" fmla="*/ 2147483646 h 27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274">
                  <a:moveTo>
                    <a:pt x="2" y="274"/>
                  </a:moveTo>
                  <a:cubicBezTo>
                    <a:pt x="0" y="245"/>
                    <a:pt x="11" y="20"/>
                    <a:pt x="14" y="0"/>
                  </a:cubicBezTo>
                  <a:cubicBezTo>
                    <a:pt x="18" y="14"/>
                    <a:pt x="6" y="255"/>
                    <a:pt x="2" y="2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09" name="Freeform 61"/>
            <p:cNvSpPr>
              <a:spLocks/>
            </p:cNvSpPr>
            <p:nvPr/>
          </p:nvSpPr>
          <p:spPr bwMode="auto">
            <a:xfrm>
              <a:off x="8228013" y="5694363"/>
              <a:ext cx="93662" cy="109537"/>
            </a:xfrm>
            <a:custGeom>
              <a:avLst/>
              <a:gdLst>
                <a:gd name="T0" fmla="*/ 2147483646 w 16"/>
                <a:gd name="T1" fmla="*/ 2147483646 h 23"/>
                <a:gd name="T2" fmla="*/ 2147483646 w 16"/>
                <a:gd name="T3" fmla="*/ 2147483646 h 23"/>
                <a:gd name="T4" fmla="*/ 2147483646 w 16"/>
                <a:gd name="T5" fmla="*/ 2147483646 h 23"/>
                <a:gd name="T6" fmla="*/ 2147483646 w 16"/>
                <a:gd name="T7" fmla="*/ 2147483646 h 23"/>
                <a:gd name="T8" fmla="*/ 2147483646 w 16"/>
                <a:gd name="T9" fmla="*/ 2147483646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23">
                  <a:moveTo>
                    <a:pt x="12" y="1"/>
                  </a:moveTo>
                  <a:cubicBezTo>
                    <a:pt x="9" y="0"/>
                    <a:pt x="5" y="3"/>
                    <a:pt x="3" y="9"/>
                  </a:cubicBezTo>
                  <a:cubicBezTo>
                    <a:pt x="0" y="15"/>
                    <a:pt x="1" y="21"/>
                    <a:pt x="4" y="22"/>
                  </a:cubicBezTo>
                  <a:cubicBezTo>
                    <a:pt x="7" y="23"/>
                    <a:pt x="12" y="19"/>
                    <a:pt x="14" y="14"/>
                  </a:cubicBezTo>
                  <a:cubicBezTo>
                    <a:pt x="16" y="8"/>
                    <a:pt x="15" y="2"/>
                    <a:pt x="12" y="1"/>
                  </a:cubicBezTo>
                  <a:close/>
                </a:path>
              </a:pathLst>
            </a:custGeom>
            <a:solidFill>
              <a:srgbClr val="FEE1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10" name="Freeform 63"/>
            <p:cNvSpPr>
              <a:spLocks/>
            </p:cNvSpPr>
            <p:nvPr/>
          </p:nvSpPr>
          <p:spPr bwMode="auto">
            <a:xfrm>
              <a:off x="8223250" y="5694363"/>
              <a:ext cx="93663" cy="109537"/>
            </a:xfrm>
            <a:custGeom>
              <a:avLst/>
              <a:gdLst>
                <a:gd name="T0" fmla="*/ 2147483646 w 16"/>
                <a:gd name="T1" fmla="*/ 2147483646 h 23"/>
                <a:gd name="T2" fmla="*/ 2147483646 w 16"/>
                <a:gd name="T3" fmla="*/ 2147483646 h 23"/>
                <a:gd name="T4" fmla="*/ 2147483646 w 16"/>
                <a:gd name="T5" fmla="*/ 2147483646 h 23"/>
                <a:gd name="T6" fmla="*/ 2147483646 w 16"/>
                <a:gd name="T7" fmla="*/ 2147483646 h 23"/>
                <a:gd name="T8" fmla="*/ 2147483646 w 16"/>
                <a:gd name="T9" fmla="*/ 2147483646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23">
                  <a:moveTo>
                    <a:pt x="12" y="1"/>
                  </a:moveTo>
                  <a:cubicBezTo>
                    <a:pt x="9" y="0"/>
                    <a:pt x="5" y="3"/>
                    <a:pt x="3" y="9"/>
                  </a:cubicBezTo>
                  <a:cubicBezTo>
                    <a:pt x="0" y="15"/>
                    <a:pt x="1" y="21"/>
                    <a:pt x="4" y="22"/>
                  </a:cubicBezTo>
                  <a:cubicBezTo>
                    <a:pt x="7" y="23"/>
                    <a:pt x="12" y="19"/>
                    <a:pt x="14" y="14"/>
                  </a:cubicBezTo>
                  <a:cubicBezTo>
                    <a:pt x="16" y="8"/>
                    <a:pt x="15" y="2"/>
                    <a:pt x="12" y="1"/>
                  </a:cubicBezTo>
                  <a:close/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11" name="Freeform 64"/>
            <p:cNvSpPr>
              <a:spLocks/>
            </p:cNvSpPr>
            <p:nvPr/>
          </p:nvSpPr>
          <p:spPr bwMode="auto">
            <a:xfrm>
              <a:off x="8248650" y="5719763"/>
              <a:ext cx="47625" cy="61912"/>
            </a:xfrm>
            <a:custGeom>
              <a:avLst/>
              <a:gdLst>
                <a:gd name="T0" fmla="*/ 2147483646 w 8"/>
                <a:gd name="T1" fmla="*/ 2147483646 h 13"/>
                <a:gd name="T2" fmla="*/ 2147483646 w 8"/>
                <a:gd name="T3" fmla="*/ 2147483646 h 13"/>
                <a:gd name="T4" fmla="*/ 2147483646 w 8"/>
                <a:gd name="T5" fmla="*/ 2147483646 h 13"/>
                <a:gd name="T6" fmla="*/ 2147483646 w 8"/>
                <a:gd name="T7" fmla="*/ 2147483646 h 13"/>
                <a:gd name="T8" fmla="*/ 2147483646 w 8"/>
                <a:gd name="T9" fmla="*/ 2147483646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13">
                  <a:moveTo>
                    <a:pt x="6" y="1"/>
                  </a:moveTo>
                  <a:cubicBezTo>
                    <a:pt x="4" y="0"/>
                    <a:pt x="2" y="2"/>
                    <a:pt x="1" y="5"/>
                  </a:cubicBezTo>
                  <a:cubicBezTo>
                    <a:pt x="0" y="8"/>
                    <a:pt x="0" y="11"/>
                    <a:pt x="2" y="12"/>
                  </a:cubicBezTo>
                  <a:cubicBezTo>
                    <a:pt x="4" y="13"/>
                    <a:pt x="6" y="11"/>
                    <a:pt x="7" y="8"/>
                  </a:cubicBezTo>
                  <a:cubicBezTo>
                    <a:pt x="8" y="4"/>
                    <a:pt x="8" y="1"/>
                    <a:pt x="6" y="1"/>
                  </a:cubicBezTo>
                  <a:close/>
                </a:path>
              </a:pathLst>
            </a:custGeom>
            <a:gradFill rotWithShape="1">
              <a:gsLst>
                <a:gs pos="0">
                  <a:srgbClr val="8A4E05"/>
                </a:gs>
                <a:gs pos="50000">
                  <a:srgbClr val="C7720D"/>
                </a:gs>
                <a:gs pos="100000">
                  <a:srgbClr val="ED8912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12" name="Freeform 70"/>
            <p:cNvSpPr>
              <a:spLocks/>
            </p:cNvSpPr>
            <p:nvPr/>
          </p:nvSpPr>
          <p:spPr bwMode="auto">
            <a:xfrm>
              <a:off x="8435975" y="5807075"/>
              <a:ext cx="74613" cy="44450"/>
            </a:xfrm>
            <a:custGeom>
              <a:avLst/>
              <a:gdLst>
                <a:gd name="T0" fmla="*/ 0 w 13"/>
                <a:gd name="T1" fmla="*/ 0 h 9"/>
                <a:gd name="T2" fmla="*/ 2147483646 w 13"/>
                <a:gd name="T3" fmla="*/ 2147483646 h 9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3" h="9">
                  <a:moveTo>
                    <a:pt x="0" y="0"/>
                  </a:moveTo>
                  <a:cubicBezTo>
                    <a:pt x="0" y="0"/>
                    <a:pt x="9" y="8"/>
                    <a:pt x="13" y="9"/>
                  </a:cubicBezTo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13" name="Freeform 71"/>
            <p:cNvSpPr>
              <a:spLocks/>
            </p:cNvSpPr>
            <p:nvPr/>
          </p:nvSpPr>
          <p:spPr bwMode="auto">
            <a:xfrm>
              <a:off x="8429625" y="6065838"/>
              <a:ext cx="28575" cy="119062"/>
            </a:xfrm>
            <a:custGeom>
              <a:avLst/>
              <a:gdLst>
                <a:gd name="T0" fmla="*/ 0 w 5"/>
                <a:gd name="T1" fmla="*/ 0 h 25"/>
                <a:gd name="T2" fmla="*/ 2147483646 w 5"/>
                <a:gd name="T3" fmla="*/ 2147483646 h 25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5" h="25">
                  <a:moveTo>
                    <a:pt x="0" y="0"/>
                  </a:moveTo>
                  <a:cubicBezTo>
                    <a:pt x="2" y="7"/>
                    <a:pt x="5" y="20"/>
                    <a:pt x="4" y="25"/>
                  </a:cubicBezTo>
                </a:path>
              </a:pathLst>
            </a:custGeom>
            <a:noFill/>
            <a:ln w="7938" cap="rnd">
              <a:solidFill>
                <a:srgbClr val="9A320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14" name="Ellipse 265"/>
            <p:cNvSpPr/>
            <p:nvPr/>
          </p:nvSpPr>
          <p:spPr>
            <a:xfrm>
              <a:off x="8741477" y="4922266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15" name="Freeform 34"/>
            <p:cNvSpPr>
              <a:spLocks/>
            </p:cNvSpPr>
            <p:nvPr/>
          </p:nvSpPr>
          <p:spPr bwMode="auto">
            <a:xfrm>
              <a:off x="4989513" y="1052513"/>
              <a:ext cx="176212" cy="98425"/>
            </a:xfrm>
            <a:custGeom>
              <a:avLst/>
              <a:gdLst>
                <a:gd name="T0" fmla="*/ 2147483646 w 40"/>
                <a:gd name="T1" fmla="*/ 2147483646 h 21"/>
                <a:gd name="T2" fmla="*/ 2147483646 w 40"/>
                <a:gd name="T3" fmla="*/ 2147483646 h 21"/>
                <a:gd name="T4" fmla="*/ 0 w 40"/>
                <a:gd name="T5" fmla="*/ 2147483646 h 21"/>
                <a:gd name="T6" fmla="*/ 2147483646 w 40"/>
                <a:gd name="T7" fmla="*/ 0 h 2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0" h="21">
                  <a:moveTo>
                    <a:pt x="7" y="2"/>
                  </a:moveTo>
                  <a:cubicBezTo>
                    <a:pt x="13" y="4"/>
                    <a:pt x="14" y="10"/>
                    <a:pt x="11" y="14"/>
                  </a:cubicBezTo>
                  <a:cubicBezTo>
                    <a:pt x="8" y="17"/>
                    <a:pt x="1" y="17"/>
                    <a:pt x="0" y="21"/>
                  </a:cubicBezTo>
                  <a:cubicBezTo>
                    <a:pt x="8" y="17"/>
                    <a:pt x="40" y="16"/>
                    <a:pt x="21" y="0"/>
                  </a:cubicBezTo>
                </a:path>
              </a:pathLst>
            </a:cu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1050" baseline="0" dirty="0">
                <a:solidFill>
                  <a:srgbClr val="000000"/>
                </a:solidFill>
                <a:latin typeface="Verdana"/>
                <a:ea typeface="MS PGothic" pitchFamily="34" charset="-128"/>
              </a:endParaRPr>
            </a:p>
          </p:txBody>
        </p:sp>
        <p:sp>
          <p:nvSpPr>
            <p:cNvPr id="516" name="Ellipse 270"/>
            <p:cNvSpPr/>
            <p:nvPr/>
          </p:nvSpPr>
          <p:spPr>
            <a:xfrm>
              <a:off x="4025058" y="1241347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17" name="Ellipse 271"/>
            <p:cNvSpPr/>
            <p:nvPr/>
          </p:nvSpPr>
          <p:spPr>
            <a:xfrm>
              <a:off x="4178491" y="127318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18" name="Ellipse 272"/>
            <p:cNvSpPr/>
            <p:nvPr/>
          </p:nvSpPr>
          <p:spPr>
            <a:xfrm>
              <a:off x="3871703" y="1524595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19" name="Ellipse 273"/>
            <p:cNvSpPr/>
            <p:nvPr/>
          </p:nvSpPr>
          <p:spPr>
            <a:xfrm>
              <a:off x="3908038" y="1380579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0" name="Ellipse 274"/>
            <p:cNvSpPr/>
            <p:nvPr/>
          </p:nvSpPr>
          <p:spPr>
            <a:xfrm>
              <a:off x="4418139" y="116334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1" name="Ellipse 275"/>
            <p:cNvSpPr/>
            <p:nvPr/>
          </p:nvSpPr>
          <p:spPr>
            <a:xfrm>
              <a:off x="4546718" y="752213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2" name="Ellipse 276"/>
            <p:cNvSpPr/>
            <p:nvPr/>
          </p:nvSpPr>
          <p:spPr>
            <a:xfrm>
              <a:off x="4948030" y="104903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3" name="Ellipse 277"/>
            <p:cNvSpPr/>
            <p:nvPr/>
          </p:nvSpPr>
          <p:spPr>
            <a:xfrm>
              <a:off x="4912026" y="1106186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4" name="Ellipse 278"/>
            <p:cNvSpPr/>
            <p:nvPr/>
          </p:nvSpPr>
          <p:spPr>
            <a:xfrm>
              <a:off x="4847610" y="103118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5" name="Ellipse 279"/>
            <p:cNvSpPr/>
            <p:nvPr/>
          </p:nvSpPr>
          <p:spPr>
            <a:xfrm>
              <a:off x="4827327" y="114219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6" name="Ellipse 280"/>
            <p:cNvSpPr/>
            <p:nvPr/>
          </p:nvSpPr>
          <p:spPr>
            <a:xfrm>
              <a:off x="4851975" y="1079034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7" name="Ellipse 281"/>
            <p:cNvSpPr/>
            <p:nvPr/>
          </p:nvSpPr>
          <p:spPr>
            <a:xfrm>
              <a:off x="4819227" y="121419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8" name="Ellipse 282"/>
            <p:cNvSpPr/>
            <p:nvPr/>
          </p:nvSpPr>
          <p:spPr>
            <a:xfrm>
              <a:off x="4518278" y="125749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29" name="Ellipse 283"/>
            <p:cNvSpPr/>
            <p:nvPr/>
          </p:nvSpPr>
          <p:spPr>
            <a:xfrm>
              <a:off x="4771094" y="1017545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0" name="Ellipse 284"/>
            <p:cNvSpPr/>
            <p:nvPr/>
          </p:nvSpPr>
          <p:spPr>
            <a:xfrm>
              <a:off x="4771537" y="895617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1" name="Ellipse 285"/>
            <p:cNvSpPr/>
            <p:nvPr/>
          </p:nvSpPr>
          <p:spPr>
            <a:xfrm>
              <a:off x="4803286" y="1299625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2" name="Ellipse 286"/>
            <p:cNvSpPr/>
            <p:nvPr/>
          </p:nvSpPr>
          <p:spPr>
            <a:xfrm>
              <a:off x="4712022" y="1186243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3" name="Ellipse 287"/>
            <p:cNvSpPr/>
            <p:nvPr/>
          </p:nvSpPr>
          <p:spPr>
            <a:xfrm>
              <a:off x="4775942" y="111496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4" name="Ellipse 288"/>
            <p:cNvSpPr/>
            <p:nvPr/>
          </p:nvSpPr>
          <p:spPr>
            <a:xfrm>
              <a:off x="4559416" y="1050857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5" name="Ellipse 289"/>
            <p:cNvSpPr/>
            <p:nvPr/>
          </p:nvSpPr>
          <p:spPr>
            <a:xfrm>
              <a:off x="4375327" y="1324849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6" name="Ellipse 290"/>
            <p:cNvSpPr/>
            <p:nvPr/>
          </p:nvSpPr>
          <p:spPr>
            <a:xfrm>
              <a:off x="4511161" y="901601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7" name="Ellipse 291"/>
            <p:cNvSpPr/>
            <p:nvPr/>
          </p:nvSpPr>
          <p:spPr>
            <a:xfrm>
              <a:off x="4454551" y="1008853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8" name="Ellipse 292"/>
            <p:cNvSpPr/>
            <p:nvPr/>
          </p:nvSpPr>
          <p:spPr>
            <a:xfrm>
              <a:off x="4165473" y="1156919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39" name="Ellipse 293"/>
            <p:cNvSpPr/>
            <p:nvPr/>
          </p:nvSpPr>
          <p:spPr>
            <a:xfrm>
              <a:off x="4772289" y="1224516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0" name="Ellipse 294"/>
            <p:cNvSpPr/>
            <p:nvPr/>
          </p:nvSpPr>
          <p:spPr>
            <a:xfrm>
              <a:off x="4719482" y="106500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1" name="Ellipse 295"/>
            <p:cNvSpPr/>
            <p:nvPr/>
          </p:nvSpPr>
          <p:spPr>
            <a:xfrm>
              <a:off x="4710892" y="996373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2" name="Ellipse 296"/>
            <p:cNvSpPr/>
            <p:nvPr/>
          </p:nvSpPr>
          <p:spPr>
            <a:xfrm>
              <a:off x="4562761" y="1140991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3" name="Ellipse 297"/>
            <p:cNvSpPr/>
            <p:nvPr/>
          </p:nvSpPr>
          <p:spPr>
            <a:xfrm>
              <a:off x="4638543" y="1365676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4" name="Ellipse 298"/>
            <p:cNvSpPr/>
            <p:nvPr/>
          </p:nvSpPr>
          <p:spPr>
            <a:xfrm>
              <a:off x="4686799" y="712891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5" name="Ellipse 299"/>
            <p:cNvSpPr/>
            <p:nvPr/>
          </p:nvSpPr>
          <p:spPr>
            <a:xfrm>
              <a:off x="4431795" y="64359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6" name="Ellipse 300"/>
            <p:cNvSpPr/>
            <p:nvPr/>
          </p:nvSpPr>
          <p:spPr>
            <a:xfrm>
              <a:off x="4655652" y="82053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7" name="Ellipse 301"/>
            <p:cNvSpPr/>
            <p:nvPr/>
          </p:nvSpPr>
          <p:spPr>
            <a:xfrm>
              <a:off x="4490669" y="1526399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8" name="Ellipse 302"/>
            <p:cNvSpPr/>
            <p:nvPr/>
          </p:nvSpPr>
          <p:spPr>
            <a:xfrm>
              <a:off x="4346851" y="94434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49" name="Ellipse 303"/>
            <p:cNvSpPr/>
            <p:nvPr/>
          </p:nvSpPr>
          <p:spPr>
            <a:xfrm>
              <a:off x="4221587" y="1221193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0" name="Ellipse 304"/>
            <p:cNvSpPr/>
            <p:nvPr/>
          </p:nvSpPr>
          <p:spPr>
            <a:xfrm>
              <a:off x="4622959" y="142976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1" name="Ellipse 305"/>
            <p:cNvSpPr/>
            <p:nvPr/>
          </p:nvSpPr>
          <p:spPr>
            <a:xfrm>
              <a:off x="4692327" y="909186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2" name="Ellipse 306"/>
            <p:cNvSpPr/>
            <p:nvPr/>
          </p:nvSpPr>
          <p:spPr>
            <a:xfrm>
              <a:off x="4418139" y="832935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3" name="Ellipse 307"/>
            <p:cNvSpPr/>
            <p:nvPr/>
          </p:nvSpPr>
          <p:spPr>
            <a:xfrm>
              <a:off x="4727680" y="83423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4" name="Ellipse 308"/>
            <p:cNvSpPr/>
            <p:nvPr/>
          </p:nvSpPr>
          <p:spPr>
            <a:xfrm>
              <a:off x="5020656" y="1064439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5" name="Ellipse 309"/>
            <p:cNvSpPr/>
            <p:nvPr/>
          </p:nvSpPr>
          <p:spPr>
            <a:xfrm>
              <a:off x="4712353" y="126385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6" name="Ellipse 310"/>
            <p:cNvSpPr/>
            <p:nvPr/>
          </p:nvSpPr>
          <p:spPr>
            <a:xfrm>
              <a:off x="4745483" y="138612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7" name="Ellipse 311"/>
            <p:cNvSpPr/>
            <p:nvPr/>
          </p:nvSpPr>
          <p:spPr>
            <a:xfrm>
              <a:off x="4931920" y="104903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8" name="Ellipse 315"/>
            <p:cNvSpPr/>
            <p:nvPr/>
          </p:nvSpPr>
          <p:spPr>
            <a:xfrm>
              <a:off x="8575962" y="5778637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59" name="Ellipse 316"/>
            <p:cNvSpPr/>
            <p:nvPr/>
          </p:nvSpPr>
          <p:spPr>
            <a:xfrm>
              <a:off x="8772031" y="6240771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0" name="Ellipse 317"/>
            <p:cNvSpPr/>
            <p:nvPr/>
          </p:nvSpPr>
          <p:spPr>
            <a:xfrm>
              <a:off x="8575962" y="6059839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  <a:alpha val="48000"/>
                  </a:schemeClr>
                </a:gs>
                <a:gs pos="5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1" name="Ellipse 318"/>
            <p:cNvSpPr/>
            <p:nvPr/>
          </p:nvSpPr>
          <p:spPr>
            <a:xfrm>
              <a:off x="8612678" y="6369955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2" name="Ellipse 319"/>
            <p:cNvSpPr/>
            <p:nvPr/>
          </p:nvSpPr>
          <p:spPr>
            <a:xfrm>
              <a:off x="8770185" y="6479500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3" name="Ellipse 320"/>
            <p:cNvSpPr/>
            <p:nvPr/>
          </p:nvSpPr>
          <p:spPr>
            <a:xfrm>
              <a:off x="8697690" y="6544369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4" name="Ellipse 321"/>
            <p:cNvSpPr/>
            <p:nvPr/>
          </p:nvSpPr>
          <p:spPr>
            <a:xfrm>
              <a:off x="8581762" y="6489547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5" name="Ellipse 322"/>
            <p:cNvSpPr/>
            <p:nvPr/>
          </p:nvSpPr>
          <p:spPr>
            <a:xfrm>
              <a:off x="8644981" y="6609209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6" name="Ellipse 323"/>
            <p:cNvSpPr/>
            <p:nvPr/>
          </p:nvSpPr>
          <p:spPr>
            <a:xfrm>
              <a:off x="8500930" y="6453823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7" name="Ellipse 324"/>
            <p:cNvSpPr/>
            <p:nvPr/>
          </p:nvSpPr>
          <p:spPr>
            <a:xfrm>
              <a:off x="8489625" y="6582083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8" name="Ellipse 325"/>
            <p:cNvSpPr/>
            <p:nvPr/>
          </p:nvSpPr>
          <p:spPr>
            <a:xfrm>
              <a:off x="8709174" y="6647636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69" name="Ellipse 326"/>
            <p:cNvSpPr/>
            <p:nvPr/>
          </p:nvSpPr>
          <p:spPr>
            <a:xfrm>
              <a:off x="8580276" y="6633358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70" name="Textfeld 203"/>
            <p:cNvSpPr txBox="1">
              <a:spLocks noChangeArrowheads="1"/>
            </p:cNvSpPr>
            <p:nvPr/>
          </p:nvSpPr>
          <p:spPr bwMode="auto">
            <a:xfrm>
              <a:off x="3287714" y="1816100"/>
              <a:ext cx="1540997" cy="13263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fontAlgn="auto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altLang="de-DE" sz="1000" baseline="0" dirty="0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  </a:t>
              </a:r>
              <a:r>
                <a:rPr lang="de-DE" altLang="de-DE" sz="1000" i="1" baseline="0" dirty="0" err="1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Increased</a:t>
              </a:r>
              <a:endParaRPr lang="de-DE" altLang="de-DE" sz="1000" i="1" baseline="0" dirty="0">
                <a:solidFill>
                  <a:srgbClr val="000000"/>
                </a:solidFill>
                <a:latin typeface="Calibri" panose="020F0502020204030204" pitchFamily="34" charset="0"/>
                <a:ea typeface="MS PGothic" pitchFamily="34" charset="-128"/>
              </a:endParaRPr>
            </a:p>
            <a:p>
              <a:pPr fontAlgn="auto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altLang="de-DE" sz="1000" i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 </a:t>
              </a:r>
              <a:r>
                <a:rPr lang="de-DE" altLang="de-DE" sz="1000" i="1" baseline="0" dirty="0" err="1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glucose</a:t>
              </a:r>
              <a:endParaRPr lang="de-DE" altLang="de-DE" sz="1000" i="1" baseline="0" dirty="0">
                <a:solidFill>
                  <a:srgbClr val="000000"/>
                </a:solidFill>
                <a:latin typeface="Calibri" panose="020F0502020204030204" pitchFamily="34" charset="0"/>
                <a:ea typeface="MS PGothic" pitchFamily="34" charset="-128"/>
              </a:endParaRPr>
            </a:p>
            <a:p>
              <a:pPr fontAlgn="auto">
                <a:lnSpc>
                  <a:spcPts val="135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altLang="de-DE" sz="1000" i="1" baseline="0" dirty="0" err="1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filtration</a:t>
              </a:r>
              <a:endParaRPr lang="de-DE" altLang="de-DE" sz="1000" i="1" baseline="0" dirty="0">
                <a:solidFill>
                  <a:srgbClr val="000000"/>
                </a:solidFill>
                <a:latin typeface="Calibri" panose="020F0502020204030204" pitchFamily="34" charset="0"/>
                <a:ea typeface="MS PGothic" pitchFamily="34" charset="-128"/>
              </a:endParaRPr>
            </a:p>
          </p:txBody>
        </p:sp>
        <p:sp>
          <p:nvSpPr>
            <p:cNvPr id="571" name="Textfeld 204"/>
            <p:cNvSpPr txBox="1">
              <a:spLocks noChangeArrowheads="1"/>
            </p:cNvSpPr>
            <p:nvPr/>
          </p:nvSpPr>
          <p:spPr bwMode="auto">
            <a:xfrm>
              <a:off x="8955267" y="5344522"/>
              <a:ext cx="2509968" cy="905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altLang="de-DE" sz="1100" i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Increased urinary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altLang="de-DE" sz="1100" i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glucose excretion</a:t>
              </a:r>
            </a:p>
          </p:txBody>
        </p:sp>
        <p:sp>
          <p:nvSpPr>
            <p:cNvPr id="572" name="Ellipse 213"/>
            <p:cNvSpPr/>
            <p:nvPr/>
          </p:nvSpPr>
          <p:spPr>
            <a:xfrm>
              <a:off x="5310511" y="1138104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73" name="Ellipse 214"/>
            <p:cNvSpPr/>
            <p:nvPr/>
          </p:nvSpPr>
          <p:spPr>
            <a:xfrm>
              <a:off x="5519222" y="1281359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74" name="Ellipse 215"/>
            <p:cNvSpPr/>
            <p:nvPr/>
          </p:nvSpPr>
          <p:spPr>
            <a:xfrm>
              <a:off x="5775234" y="140575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75" name="Ellipse 221"/>
            <p:cNvSpPr/>
            <p:nvPr/>
          </p:nvSpPr>
          <p:spPr>
            <a:xfrm>
              <a:off x="6058085" y="895617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77" name="Ellipse 219"/>
            <p:cNvSpPr/>
            <p:nvPr/>
          </p:nvSpPr>
          <p:spPr>
            <a:xfrm>
              <a:off x="6479543" y="1133211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78" name="Ellipse 220"/>
            <p:cNvSpPr/>
            <p:nvPr/>
          </p:nvSpPr>
          <p:spPr>
            <a:xfrm>
              <a:off x="6486263" y="1426346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79" name="Ellipse 222"/>
            <p:cNvSpPr/>
            <p:nvPr/>
          </p:nvSpPr>
          <p:spPr>
            <a:xfrm>
              <a:off x="6199860" y="2449937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0" name="Ellipse 223"/>
            <p:cNvSpPr/>
            <p:nvPr/>
          </p:nvSpPr>
          <p:spPr>
            <a:xfrm>
              <a:off x="6395016" y="373544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1" name="Ellipse 224"/>
            <p:cNvSpPr/>
            <p:nvPr/>
          </p:nvSpPr>
          <p:spPr>
            <a:xfrm>
              <a:off x="6321821" y="200243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2" name="Ellipse 225"/>
            <p:cNvSpPr/>
            <p:nvPr/>
          </p:nvSpPr>
          <p:spPr>
            <a:xfrm>
              <a:off x="6721093" y="3611595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3" name="Ellipse 226"/>
            <p:cNvSpPr/>
            <p:nvPr/>
          </p:nvSpPr>
          <p:spPr>
            <a:xfrm>
              <a:off x="6796249" y="243617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4" name="Ellipse 227"/>
            <p:cNvSpPr/>
            <p:nvPr/>
          </p:nvSpPr>
          <p:spPr>
            <a:xfrm>
              <a:off x="7255661" y="123589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5" name="Ellipse 228"/>
            <p:cNvSpPr/>
            <p:nvPr/>
          </p:nvSpPr>
          <p:spPr>
            <a:xfrm>
              <a:off x="6821605" y="1653294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6" name="Ellipse 229"/>
            <p:cNvSpPr/>
            <p:nvPr/>
          </p:nvSpPr>
          <p:spPr>
            <a:xfrm>
              <a:off x="6287437" y="3052312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7" name="Ellipse 230"/>
            <p:cNvSpPr/>
            <p:nvPr/>
          </p:nvSpPr>
          <p:spPr>
            <a:xfrm>
              <a:off x="7211981" y="1322598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8" name="Ellipse 231"/>
            <p:cNvSpPr/>
            <p:nvPr/>
          </p:nvSpPr>
          <p:spPr>
            <a:xfrm>
              <a:off x="7945084" y="1381096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89" name="Ellipse 232"/>
            <p:cNvSpPr/>
            <p:nvPr/>
          </p:nvSpPr>
          <p:spPr>
            <a:xfrm>
              <a:off x="7978170" y="1493221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90" name="Ellipse 234"/>
            <p:cNvSpPr/>
            <p:nvPr/>
          </p:nvSpPr>
          <p:spPr>
            <a:xfrm>
              <a:off x="7978170" y="1311270"/>
              <a:ext cx="67926" cy="68203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46000">
                  <a:schemeClr val="accent3">
                    <a:lumMod val="0"/>
                    <a:lumOff val="100000"/>
                  </a:schemeClr>
                </a:gs>
                <a:gs pos="82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 dirty="0">
                <a:solidFill>
                  <a:prstClr val="white"/>
                </a:solidFill>
              </a:endParaRPr>
            </a:p>
          </p:txBody>
        </p:sp>
        <p:sp>
          <p:nvSpPr>
            <p:cNvPr id="591" name="Ellipse 235"/>
            <p:cNvSpPr/>
            <p:nvPr/>
          </p:nvSpPr>
          <p:spPr>
            <a:xfrm>
              <a:off x="8788828" y="5902951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2" name="Ellipse 236"/>
            <p:cNvSpPr/>
            <p:nvPr/>
          </p:nvSpPr>
          <p:spPr>
            <a:xfrm>
              <a:off x="8716333" y="5967820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3" name="Ellipse 237"/>
            <p:cNvSpPr/>
            <p:nvPr/>
          </p:nvSpPr>
          <p:spPr>
            <a:xfrm>
              <a:off x="8600405" y="5912998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4" name="Ellipse 238"/>
            <p:cNvSpPr/>
            <p:nvPr/>
          </p:nvSpPr>
          <p:spPr>
            <a:xfrm>
              <a:off x="8663624" y="6032660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5" name="Ellipse 239"/>
            <p:cNvSpPr/>
            <p:nvPr/>
          </p:nvSpPr>
          <p:spPr>
            <a:xfrm>
              <a:off x="8519573" y="5877274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6" name="Ellipse 240"/>
            <p:cNvSpPr/>
            <p:nvPr/>
          </p:nvSpPr>
          <p:spPr>
            <a:xfrm>
              <a:off x="8508268" y="6005534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7" name="Ellipse 241"/>
            <p:cNvSpPr/>
            <p:nvPr/>
          </p:nvSpPr>
          <p:spPr>
            <a:xfrm>
              <a:off x="8727817" y="6071087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8" name="Ellipse 242"/>
            <p:cNvSpPr/>
            <p:nvPr/>
          </p:nvSpPr>
          <p:spPr>
            <a:xfrm>
              <a:off x="8598919" y="6056809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599" name="Ellipse 243"/>
            <p:cNvSpPr/>
            <p:nvPr/>
          </p:nvSpPr>
          <p:spPr>
            <a:xfrm>
              <a:off x="8551668" y="5189960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600" name="Ellipse 244"/>
            <p:cNvSpPr/>
            <p:nvPr/>
          </p:nvSpPr>
          <p:spPr>
            <a:xfrm>
              <a:off x="8636680" y="5549747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601" name="Ellipse 245"/>
            <p:cNvSpPr/>
            <p:nvPr/>
          </p:nvSpPr>
          <p:spPr>
            <a:xfrm>
              <a:off x="8789710" y="5679944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602" name="Ellipse 246"/>
            <p:cNvSpPr/>
            <p:nvPr/>
          </p:nvSpPr>
          <p:spPr>
            <a:xfrm>
              <a:off x="8601664" y="4941170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603" name="Ellipse 247"/>
            <p:cNvSpPr/>
            <p:nvPr/>
          </p:nvSpPr>
          <p:spPr>
            <a:xfrm>
              <a:off x="8686676" y="5300957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604" name="Ellipse 248"/>
            <p:cNvSpPr/>
            <p:nvPr/>
          </p:nvSpPr>
          <p:spPr>
            <a:xfrm>
              <a:off x="8760296" y="5431154"/>
              <a:ext cx="64606" cy="64869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64000"/>
                    <a:lumOff val="36000"/>
                  </a:schemeClr>
                </a:gs>
                <a:gs pos="26000">
                  <a:schemeClr val="accent3">
                    <a:lumMod val="0"/>
                    <a:lumOff val="100000"/>
                  </a:schemeClr>
                </a:gs>
                <a:gs pos="98000">
                  <a:srgbClr val="72604E">
                    <a:lumMod val="100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050" baseline="0">
                <a:solidFill>
                  <a:prstClr val="white"/>
                </a:solidFill>
              </a:endParaRPr>
            </a:p>
          </p:txBody>
        </p:sp>
        <p:sp>
          <p:nvSpPr>
            <p:cNvPr id="605" name="Textfeld 249"/>
            <p:cNvSpPr txBox="1">
              <a:spLocks noChangeArrowheads="1"/>
            </p:cNvSpPr>
            <p:nvPr/>
          </p:nvSpPr>
          <p:spPr bwMode="auto">
            <a:xfrm>
              <a:off x="3757589" y="1581152"/>
              <a:ext cx="1487537" cy="517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altLang="de-DE" sz="1000" b="1" baseline="0">
                  <a:solidFill>
                    <a:srgbClr val="000000"/>
                  </a:solidFill>
                  <a:latin typeface="Calibri" panose="020F0502020204030204" pitchFamily="34" charset="0"/>
                  <a:ea typeface="MS PGothic" pitchFamily="34" charset="-128"/>
                </a:rPr>
                <a:t>Glomeruli</a:t>
              </a:r>
            </a:p>
          </p:txBody>
        </p:sp>
        <p:sp>
          <p:nvSpPr>
            <p:cNvPr id="606" name="Textfeld 250"/>
            <p:cNvSpPr txBox="1"/>
            <p:nvPr/>
          </p:nvSpPr>
          <p:spPr>
            <a:xfrm>
              <a:off x="5120984" y="1543048"/>
              <a:ext cx="1370592" cy="841094"/>
            </a:xfrm>
            <a:prstGeom prst="rect">
              <a:avLst/>
            </a:prstGeom>
            <a:noFill/>
            <a:ln>
              <a:noFill/>
            </a:ln>
            <a:effectLst>
              <a:outerShdw blurRad="38100" dist="12700" dir="2700000" algn="tl" rotWithShape="0">
                <a:prstClr val="black">
                  <a:alpha val="8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fontAlgn="auto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000" b="1" baseline="0" dirty="0">
                  <a:solidFill>
                    <a:srgbClr val="9A3204"/>
                  </a:solidFill>
                  <a:latin typeface="Calibri" panose="020F0502020204030204"/>
                  <a:ea typeface="MS PGothic" pitchFamily="34" charset="-128"/>
                </a:rPr>
                <a:t>Proximal</a:t>
              </a:r>
            </a:p>
            <a:p>
              <a:pPr algn="ctr" fontAlgn="auto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000" b="1" baseline="0" dirty="0" err="1">
                  <a:solidFill>
                    <a:srgbClr val="9A3204"/>
                  </a:solidFill>
                  <a:latin typeface="Calibri" panose="020F0502020204030204"/>
                  <a:ea typeface="MS PGothic" pitchFamily="34" charset="-128"/>
                </a:rPr>
                <a:t>tubule</a:t>
              </a:r>
              <a:endParaRPr lang="de-DE" sz="1000" b="1" baseline="0" dirty="0">
                <a:solidFill>
                  <a:srgbClr val="9A3204"/>
                </a:solidFill>
                <a:latin typeface="Calibri" panose="020F0502020204030204"/>
                <a:ea typeface="MS PGothic" pitchFamily="34" charset="-128"/>
              </a:endParaRPr>
            </a:p>
          </p:txBody>
        </p:sp>
        <p:sp>
          <p:nvSpPr>
            <p:cNvPr id="607" name="Textfeld 251"/>
            <p:cNvSpPr txBox="1"/>
            <p:nvPr/>
          </p:nvSpPr>
          <p:spPr>
            <a:xfrm>
              <a:off x="7985767" y="814388"/>
              <a:ext cx="1109973" cy="841094"/>
            </a:xfrm>
            <a:prstGeom prst="rect">
              <a:avLst/>
            </a:prstGeom>
            <a:noFill/>
            <a:ln>
              <a:noFill/>
            </a:ln>
            <a:effectLst>
              <a:outerShdw blurRad="38100" dist="12700" dir="2700000" algn="tl" rotWithShape="0">
                <a:prstClr val="black">
                  <a:alpha val="80000"/>
                </a:prstClr>
              </a:outerShdw>
            </a:effectLst>
          </p:spPr>
          <p:txBody>
            <a:bodyPr wrap="none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9A3204"/>
                  </a:solidFill>
                </a:defRPr>
              </a:lvl1pPr>
            </a:lstStyle>
            <a:p>
              <a:pPr fontAlgn="auto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000" baseline="0" dirty="0">
                  <a:solidFill>
                    <a:srgbClr val="B7762F"/>
                  </a:solidFill>
                  <a:latin typeface="Calibri" panose="020F0502020204030204"/>
                  <a:ea typeface="MS PGothic" pitchFamily="34" charset="-128"/>
                </a:rPr>
                <a:t>Distal</a:t>
              </a:r>
            </a:p>
            <a:p>
              <a:pPr fontAlgn="auto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000" baseline="0" dirty="0" err="1">
                  <a:solidFill>
                    <a:srgbClr val="B7762F"/>
                  </a:solidFill>
                  <a:latin typeface="Calibri" panose="020F0502020204030204"/>
                  <a:ea typeface="MS PGothic" pitchFamily="34" charset="-128"/>
                </a:rPr>
                <a:t>tubule</a:t>
              </a:r>
              <a:endParaRPr lang="de-DE" sz="1000" baseline="0" dirty="0">
                <a:solidFill>
                  <a:srgbClr val="B7762F"/>
                </a:solidFill>
                <a:latin typeface="Calibri" panose="020F0502020204030204"/>
                <a:ea typeface="MS PGothic" pitchFamily="34" charset="-128"/>
              </a:endParaRPr>
            </a:p>
          </p:txBody>
        </p:sp>
        <p:sp>
          <p:nvSpPr>
            <p:cNvPr id="608" name="Rechteck 208"/>
            <p:cNvSpPr>
              <a:spLocks noChangeArrowheads="1"/>
            </p:cNvSpPr>
            <p:nvPr/>
          </p:nvSpPr>
          <p:spPr bwMode="auto">
            <a:xfrm>
              <a:off x="4541838" y="2373313"/>
              <a:ext cx="1630362" cy="287337"/>
            </a:xfrm>
            <a:prstGeom prst="rect">
              <a:avLst/>
            </a:prstGeom>
            <a:gradFill rotWithShape="1">
              <a:gsLst>
                <a:gs pos="0">
                  <a:srgbClr val="FDC270"/>
                </a:gs>
                <a:gs pos="57001">
                  <a:srgbClr val="DBB996"/>
                </a:gs>
                <a:gs pos="100000">
                  <a:srgbClr val="B7762F"/>
                </a:gs>
              </a:gsLst>
              <a:lin ang="162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altLang="de-DE" sz="1050" baseline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</a:endParaRPr>
            </a:p>
          </p:txBody>
        </p:sp>
        <p:sp>
          <p:nvSpPr>
            <p:cNvPr id="609" name="Textfeld 210"/>
            <p:cNvSpPr txBox="1"/>
            <p:nvPr/>
          </p:nvSpPr>
          <p:spPr>
            <a:xfrm>
              <a:off x="4511675" y="2307199"/>
              <a:ext cx="1689101" cy="517595"/>
            </a:xfrm>
            <a:prstGeom prst="rect">
              <a:avLst/>
            </a:prstGeom>
            <a:noFill/>
            <a:ln>
              <a:noFill/>
            </a:ln>
            <a:effectLst>
              <a:outerShdw blurRad="38100" dist="25400" dir="2700000" algn="tl" rotWithShape="0">
                <a:prstClr val="black"/>
              </a:outerShdw>
            </a:effectLst>
          </p:spPr>
          <p:txBody>
            <a:bodyPr>
              <a:spAutoFit/>
            </a:bodyPr>
            <a:lstStyle>
              <a:defPPr>
                <a:defRPr lang="de-DE"/>
              </a:defPPr>
              <a:lvl1pPr algn="ctr">
                <a:lnSpc>
                  <a:spcPts val="1200"/>
                </a:lnSpc>
                <a:defRPr sz="1600" b="1">
                  <a:solidFill>
                    <a:srgbClr val="FFFFFF"/>
                  </a:solidFill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000" baseline="0" dirty="0">
                  <a:latin typeface="Calibri" panose="020F0502020204030204"/>
                  <a:ea typeface="MS PGothic" pitchFamily="34" charset="-128"/>
                </a:rPr>
                <a:t>SGLT1</a:t>
              </a:r>
            </a:p>
          </p:txBody>
        </p:sp>
      </p:grpSp>
      <p:sp>
        <p:nvSpPr>
          <p:cNvPr id="633" name="TextBox 632"/>
          <p:cNvSpPr txBox="1"/>
          <p:nvPr/>
        </p:nvSpPr>
        <p:spPr>
          <a:xfrm>
            <a:off x="1033810" y="4782932"/>
            <a:ext cx="33299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200" b="1" u="sng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Voorgestelde</a:t>
            </a:r>
            <a:r>
              <a:rPr lang="en-GB" sz="1200" b="1" u="sng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 actiemechanismen</a:t>
            </a:r>
            <a:r>
              <a:rPr lang="en-GB" sz="1200" b="1" u="sng" baseline="3000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3</a:t>
            </a:r>
            <a:r>
              <a:rPr lang="en-GB" sz="1200" b="1" u="sng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Glycosurie</a:t>
            </a:r>
            <a:endParaRPr lang="en-GB" sz="1200" baseline="0" dirty="0">
              <a:solidFill>
                <a:srgbClr val="001965"/>
              </a:solidFill>
              <a:latin typeface="Verdana"/>
              <a:ea typeface="MS PGothic" pitchFamily="34" charset="-128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Natriurese</a:t>
            </a:r>
            <a:endParaRPr lang="en-GB" sz="1200" baseline="0" dirty="0">
              <a:solidFill>
                <a:srgbClr val="001965"/>
              </a:solidFill>
              <a:latin typeface="Verdana"/>
              <a:ea typeface="MS PGothic" pitchFamily="34" charset="-128"/>
            </a:endParaRPr>
          </a:p>
        </p:txBody>
      </p:sp>
      <p:pic>
        <p:nvPicPr>
          <p:cNvPr id="634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8" r="7239"/>
          <a:stretch/>
        </p:blipFill>
        <p:spPr bwMode="auto">
          <a:xfrm>
            <a:off x="5368831" y="1859333"/>
            <a:ext cx="3088827" cy="28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5" name="TextBox 634"/>
          <p:cNvSpPr txBox="1"/>
          <p:nvPr/>
        </p:nvSpPr>
        <p:spPr>
          <a:xfrm>
            <a:off x="5707407" y="4720359"/>
            <a:ext cx="34280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200" b="1" u="sng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Voorgestelde</a:t>
            </a:r>
            <a:r>
              <a:rPr lang="en-GB" sz="1200" b="1" u="sng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 actiemechanismen</a:t>
            </a:r>
            <a:r>
              <a:rPr lang="en-GB" sz="1200" b="1" u="sng" baseline="3000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4-5</a:t>
            </a:r>
            <a:r>
              <a:rPr lang="en-GB" sz="1200" b="1" u="sng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: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Anti-</a:t>
            </a: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atherosclerotisch</a:t>
            </a:r>
            <a:endParaRPr lang="en-GB" sz="1200" baseline="0" dirty="0">
              <a:solidFill>
                <a:srgbClr val="001965"/>
              </a:solidFill>
              <a:latin typeface="Verdana"/>
              <a:ea typeface="MS PGothic" pitchFamily="34" charset="-128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Verminderde</a:t>
            </a:r>
            <a:r>
              <a:rPr lang="en-GB" sz="12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 </a:t>
            </a: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plaatjesaggregatie</a:t>
            </a:r>
            <a:endParaRPr lang="en-GB" sz="1200" baseline="0" dirty="0">
              <a:solidFill>
                <a:srgbClr val="001965"/>
              </a:solidFill>
              <a:latin typeface="Verdana"/>
              <a:ea typeface="MS PGothic" pitchFamily="34" charset="-128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2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Anti-</a:t>
            </a: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inflammatoire</a:t>
            </a:r>
            <a:r>
              <a:rPr lang="en-GB" sz="1200" baseline="0" dirty="0">
                <a:solidFill>
                  <a:srgbClr val="001965"/>
                </a:solidFill>
                <a:latin typeface="Verdana"/>
                <a:ea typeface="MS PGothic" pitchFamily="34" charset="-128"/>
              </a:rPr>
              <a:t> </a:t>
            </a:r>
            <a:r>
              <a:rPr lang="en-GB" sz="1200" baseline="0" dirty="0" err="1">
                <a:solidFill>
                  <a:srgbClr val="001965"/>
                </a:solidFill>
                <a:latin typeface="Verdana"/>
                <a:ea typeface="MS PGothic" pitchFamily="34" charset="-128"/>
              </a:rPr>
              <a:t>effecten</a:t>
            </a:r>
            <a:endParaRPr lang="en-GB" sz="1200" baseline="0" dirty="0">
              <a:solidFill>
                <a:srgbClr val="001965"/>
              </a:solidFill>
              <a:latin typeface="Verdana"/>
              <a:ea typeface="MS PGothic" pitchFamily="34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47664" y="1831647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b="1" baseline="0" dirty="0">
                <a:solidFill>
                  <a:srgbClr val="FFFFFF"/>
                </a:solidFill>
                <a:latin typeface="Verdana" pitchFamily="34" charset="0"/>
                <a:ea typeface="MS PGothic" pitchFamily="34" charset="-128"/>
              </a:rPr>
              <a:t>SGLT2 inhibitor</a:t>
            </a:r>
          </a:p>
        </p:txBody>
      </p:sp>
    </p:spTree>
    <p:extLst>
      <p:ext uri="{BB962C8B-B14F-4D97-AF65-F5344CB8AC3E}">
        <p14:creationId xmlns:p14="http://schemas.microsoft.com/office/powerpoint/2010/main" val="287383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67" grpId="0" animBg="1"/>
      <p:bldP spid="633" grpId="0"/>
      <p:bldP spid="63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sz="2800" dirty="0">
                <a:ea typeface="Geneva"/>
                <a:cs typeface="Geneva"/>
              </a:rPr>
              <a:t>Top tien landen met grootste aantal diabetespatiënten</a:t>
            </a:r>
          </a:p>
        </p:txBody>
      </p:sp>
      <p:sp>
        <p:nvSpPr>
          <p:cNvPr id="46083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E171757-4766-4FC5-A07C-AF9BCF8DA199}" type="slidenum">
              <a:rPr lang="nl-NL" altLang="nl-BE" sz="10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4608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82675" y="1417638"/>
            <a:ext cx="6445250" cy="4403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085" name="Tijdelijke aanduiding voor dianummer 3"/>
          <p:cNvSpPr txBox="1">
            <a:spLocks/>
          </p:cNvSpPr>
          <p:nvPr/>
        </p:nvSpPr>
        <p:spPr bwMode="auto">
          <a:xfrm>
            <a:off x="6461125" y="6346825"/>
            <a:ext cx="21336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nl-NL" altLang="nl-BE" sz="1000" baseline="0">
                <a:solidFill>
                  <a:srgbClr val="191919"/>
                </a:solidFill>
                <a:latin typeface="Arial" panose="020B0604020202020204" pitchFamily="34" charset="0"/>
              </a:rPr>
              <a:t>IDF ATLAS versie 2015</a:t>
            </a:r>
          </a:p>
        </p:txBody>
      </p:sp>
    </p:spTree>
    <p:extLst>
      <p:ext uri="{BB962C8B-B14F-4D97-AF65-F5344CB8AC3E}">
        <p14:creationId xmlns:p14="http://schemas.microsoft.com/office/powerpoint/2010/main" val="3812424208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702064" y="5136173"/>
            <a:ext cx="1430215" cy="8528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b="1" baseline="0" dirty="0">
              <a:solidFill>
                <a:srgbClr val="FFFFFF"/>
              </a:solidFill>
            </a:endParaRPr>
          </a:p>
        </p:txBody>
      </p:sp>
      <p:graphicFrame>
        <p:nvGraphicFramePr>
          <p:cNvPr id="13" name="コンテンツ プレースホルダー 6"/>
          <p:cNvGraphicFramePr>
            <a:graphicFrameLocks noGrp="1"/>
          </p:cNvGraphicFramePr>
          <p:nvPr>
            <p:ph idx="1"/>
            <p:extLst/>
          </p:nvPr>
        </p:nvGraphicFramePr>
        <p:xfrm>
          <a:off x="1178218" y="1957998"/>
          <a:ext cx="6634143" cy="3374171"/>
        </p:xfrm>
        <a:graphic>
          <a:graphicData uri="http://schemas.openxmlformats.org/drawingml/2006/table">
            <a:tbl>
              <a:tblPr/>
              <a:tblGrid>
                <a:gridCol w="1786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1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76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84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8892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Parameter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Product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CVOT </a:t>
                      </a: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naam</a:t>
                      </a:r>
                      <a:endParaRPr kumimoji="1" lang="en-GB" altLang="ja-JP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CV </a:t>
                      </a: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veiligheid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? 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Significante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CV </a:t>
                      </a: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risico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reductie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?  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1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iraglutide</a:t>
                      </a:r>
                      <a:endParaRPr kumimoji="1" lang="en-GB" altLang="ja-JP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F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EADER</a:t>
                      </a:r>
                      <a:r>
                        <a:rPr kumimoji="1" lang="en-GB" altLang="ja-JP" sz="1100" b="1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1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F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JA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JA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1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Exenatide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ER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0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EXSCEL</a:t>
                      </a:r>
                      <a:r>
                        <a:rPr kumimoji="1" lang="en-GB" altLang="ja-JP" sz="11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2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0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JA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NEE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30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Exenatide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SC pump (ITCA 650)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F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FREEDOM</a:t>
                      </a:r>
                      <a:r>
                        <a:rPr kumimoji="1" lang="en-GB" altLang="ja-JP" sz="11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3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F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JA</a:t>
                      </a:r>
                      <a:endParaRPr kumimoji="1" lang="en-GB" altLang="ja-JP" sz="1100" b="0" i="0" u="none" strike="noStrike" cap="none" normalizeH="0" baseline="3000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NEE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37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ixisenatide</a:t>
                      </a:r>
                      <a:endParaRPr kumimoji="1" lang="en-GB" altLang="ja-JP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0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ELIXA</a:t>
                      </a:r>
                      <a:r>
                        <a:rPr kumimoji="1" lang="en-GB" altLang="ja-JP" sz="11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4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0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JA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NEE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21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Dulaglutide</a:t>
                      </a:r>
                      <a:endParaRPr kumimoji="1" lang="en-GB" altLang="ja-JP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REWIND</a:t>
                      </a:r>
                      <a:r>
                        <a:rPr kumimoji="1" lang="en-GB" altLang="ja-JP" sz="11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5,6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Studie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oopt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nog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Studie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oopt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nog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1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Albiglutide</a:t>
                      </a:r>
                      <a:r>
                        <a:rPr kumimoji="1" lang="en-GB" altLang="ja-JP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0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Harmony Outcome</a:t>
                      </a:r>
                      <a:r>
                        <a:rPr kumimoji="1" lang="en-GB" altLang="ja-JP" sz="11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7</a:t>
                      </a:r>
                      <a:endParaRPr kumimoji="1" lang="en-GB" altLang="ja-JP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001965"/>
                        </a:solidFill>
                        <a:effectLst/>
                        <a:latin typeface="Verdana" pitchFamily="34" charset="0"/>
                        <a:ea typeface="ＭＳ Ｐゴシック" pitchFamily="50" charset="-128"/>
                      </a:endParaRP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0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Studie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oopt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nog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Studie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</a:t>
                      </a:r>
                      <a:r>
                        <a:rPr kumimoji="1" lang="en-GB" altLang="ja-JP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loopt</a:t>
                      </a:r>
                      <a:r>
                        <a:rPr kumimoji="1" lang="en-GB" altLang="ja-JP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1965"/>
                          </a:solidFill>
                          <a:effectLst/>
                          <a:latin typeface="Verdana" pitchFamily="34" charset="0"/>
                          <a:ea typeface="ＭＳ Ｐゴシック" pitchFamily="50" charset="-128"/>
                        </a:rPr>
                        <a:t> nog</a:t>
                      </a:r>
                    </a:p>
                  </a:txBody>
                  <a:tcPr marL="91438" marR="91438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316800" y="1264619"/>
            <a:ext cx="8510400" cy="391412"/>
          </a:xfrm>
        </p:spPr>
        <p:txBody>
          <a:bodyPr/>
          <a:lstStyle/>
          <a:p>
            <a:r>
              <a:rPr lang="en-GB" sz="2000" dirty="0"/>
              <a:t>Victoza</a:t>
            </a:r>
            <a:r>
              <a:rPr lang="en-GB" sz="2000" baseline="30000" dirty="0"/>
              <a:t>®</a:t>
            </a:r>
            <a:r>
              <a:rPr lang="en-GB" sz="2000" dirty="0"/>
              <a:t> is de </a:t>
            </a:r>
            <a:r>
              <a:rPr lang="en-GB" sz="2000" dirty="0" err="1"/>
              <a:t>eerste</a:t>
            </a:r>
            <a:r>
              <a:rPr lang="en-GB" sz="2000" dirty="0"/>
              <a:t> </a:t>
            </a:r>
            <a:r>
              <a:rPr lang="en-GB" sz="2000" dirty="0" err="1"/>
              <a:t>en</a:t>
            </a:r>
            <a:r>
              <a:rPr lang="en-GB" sz="2000" dirty="0"/>
              <a:t> </a:t>
            </a:r>
            <a:r>
              <a:rPr lang="en-GB" sz="2000" dirty="0" err="1"/>
              <a:t>enige</a:t>
            </a:r>
            <a:r>
              <a:rPr lang="en-GB" sz="2000" dirty="0"/>
              <a:t> </a:t>
            </a:r>
            <a:r>
              <a:rPr lang="en-GB" sz="2000" dirty="0" err="1"/>
              <a:t>beschikbare</a:t>
            </a:r>
            <a:r>
              <a:rPr lang="en-GB" sz="2000" dirty="0"/>
              <a:t> GLP-1 </a:t>
            </a:r>
            <a:r>
              <a:rPr lang="en-GB" sz="2000" dirty="0" err="1"/>
              <a:t>receptoragonist</a:t>
            </a:r>
            <a:r>
              <a:rPr lang="en-GB" sz="2000" dirty="0"/>
              <a:t> die </a:t>
            </a:r>
            <a:r>
              <a:rPr lang="en-GB" sz="2000" dirty="0" err="1"/>
              <a:t>heeft</a:t>
            </a:r>
            <a:r>
              <a:rPr lang="en-GB" sz="2000" dirty="0"/>
              <a:t> </a:t>
            </a:r>
            <a:r>
              <a:rPr lang="en-GB" sz="2000" dirty="0" err="1"/>
              <a:t>aangetoond</a:t>
            </a:r>
            <a:r>
              <a:rPr lang="en-GB" sz="2000" dirty="0"/>
              <a:t> </a:t>
            </a:r>
            <a:r>
              <a:rPr lang="en-GB" sz="2000" dirty="0" err="1"/>
              <a:t>cardiovasculaire</a:t>
            </a:r>
            <a:r>
              <a:rPr lang="en-GB" sz="2000" dirty="0"/>
              <a:t> events </a:t>
            </a:r>
            <a:r>
              <a:rPr lang="en-GB" sz="2000" dirty="0" err="1"/>
              <a:t>te</a:t>
            </a:r>
            <a:r>
              <a:rPr lang="en-GB" sz="2000" dirty="0"/>
              <a:t> voorkomen</a:t>
            </a:r>
            <a:r>
              <a:rPr lang="en-GB" sz="2000" baseline="30000" dirty="0"/>
              <a:t>1</a:t>
            </a:r>
            <a:br>
              <a:rPr lang="en-GB" sz="2000" baseline="30000" dirty="0"/>
            </a:br>
            <a:endParaRPr lang="en-GB" sz="1800" baseline="30000" dirty="0">
              <a:solidFill>
                <a:srgbClr val="009FDA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76301" y="5445224"/>
            <a:ext cx="72728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9FDA"/>
              </a:buClr>
            </a:pP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CVD, </a:t>
            </a:r>
            <a:r>
              <a:rPr lang="en-GB" sz="700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cardiovasculaire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</a:t>
            </a:r>
            <a:r>
              <a:rPr lang="en-GB" sz="700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ziekte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; ER, extended release; </a:t>
            </a:r>
            <a:r>
              <a:rPr lang="en-GB" altLang="en-US" sz="7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GLP-1, glucagon-like peptide-1; 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SC, </a:t>
            </a:r>
            <a:r>
              <a:rPr lang="en-GB" sz="700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subcutaan</a:t>
            </a:r>
            <a:endParaRPr lang="en-GB" sz="700" baseline="0" dirty="0">
              <a:solidFill>
                <a:srgbClr val="82786F"/>
              </a:solidFill>
              <a:latin typeface="Verdana" pitchFamily="34" charset="0"/>
              <a:ea typeface="MS PGothic" pitchFamily="34" charset="-128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9FDA"/>
              </a:buClr>
            </a:pP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1. </a:t>
            </a:r>
            <a:r>
              <a:rPr lang="en-GB" sz="700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Marso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SP et al </a:t>
            </a:r>
            <a:r>
              <a:rPr lang="en-GB" sz="700" i="1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N </a:t>
            </a:r>
            <a:r>
              <a:rPr lang="en-GB" sz="700" i="1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Engl</a:t>
            </a:r>
            <a:r>
              <a:rPr lang="en-GB" sz="700" i="1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J Med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 2016;375:311‒322; 2. Holman RR et al. </a:t>
            </a:r>
            <a:r>
              <a:rPr lang="en-GB" sz="700" i="1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N </a:t>
            </a:r>
            <a:r>
              <a:rPr lang="en-GB" sz="700" i="1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Eng</a:t>
            </a:r>
            <a:r>
              <a:rPr lang="en-GB" sz="700" i="1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J Med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. 2017;377(13):1228-1239; 3. 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  <a:hlinkClick r:id="rId3"/>
              </a:rPr>
              <a:t>https://www.intarcia.com/media/press-releases.html</a:t>
            </a:r>
            <a:r>
              <a:rPr lang="en-GB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; 4. </a:t>
            </a:r>
            <a:r>
              <a:rPr lang="en-GB" altLang="en-US" sz="700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Pfeffer</a:t>
            </a:r>
            <a:r>
              <a:rPr lang="en-GB" altLang="en-US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MA et al. </a:t>
            </a:r>
            <a:r>
              <a:rPr lang="en-GB" altLang="en-US" sz="700" i="1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N </a:t>
            </a:r>
            <a:r>
              <a:rPr lang="en-GB" altLang="en-US" sz="700" i="1" baseline="0" dirty="0" err="1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Engl</a:t>
            </a:r>
            <a:r>
              <a:rPr lang="en-GB" altLang="en-US" sz="700" i="1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J Med</a:t>
            </a:r>
            <a:r>
              <a:rPr lang="en-GB" altLang="en-US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 2015;373:2247</a:t>
            </a:r>
            <a:r>
              <a:rPr lang="en-GB" altLang="en-US" sz="700" baseline="0" dirty="0">
                <a:solidFill>
                  <a:srgbClr val="8B7D70"/>
                </a:solidFill>
                <a:latin typeface="Verdana" pitchFamily="34" charset="0"/>
                <a:ea typeface="MS PGothic" pitchFamily="34" charset="-128"/>
              </a:rPr>
              <a:t>–22</a:t>
            </a:r>
            <a:r>
              <a:rPr lang="en-GB" altLang="en-US" sz="700" baseline="0" dirty="0">
                <a:solidFill>
                  <a:srgbClr val="82786F"/>
                </a:solidFill>
                <a:latin typeface="Verdana" pitchFamily="34" charset="0"/>
                <a:ea typeface="MS PGothic" pitchFamily="34" charset="-128"/>
              </a:rPr>
              <a:t>57; 5. clinicaltrials.gov/ct2/show/NCT01394952; 6. Gerstein HC </a:t>
            </a:r>
            <a:r>
              <a:rPr lang="en-GB" altLang="en-US" sz="7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et al. </a:t>
            </a:r>
            <a:r>
              <a:rPr lang="en-GB" sz="7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Diabetes </a:t>
            </a:r>
            <a:r>
              <a:rPr lang="en-GB" sz="7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Obes</a:t>
            </a:r>
            <a:r>
              <a:rPr lang="en-GB" sz="7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</a:t>
            </a:r>
            <a:r>
              <a:rPr lang="en-GB" sz="7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Metab</a:t>
            </a:r>
            <a:r>
              <a:rPr lang="en-GB" sz="7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. 2018;20:42–49</a:t>
            </a:r>
            <a:r>
              <a:rPr lang="en-GB" altLang="en-US" sz="7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; 7. clinicaltrials.gov/ct2/show/NCT02465515</a:t>
            </a:r>
            <a:endParaRPr lang="en-GB" sz="700" baseline="0" dirty="0">
              <a:solidFill>
                <a:srgbClr val="FFFFFF">
                  <a:lumMod val="50000"/>
                </a:srgbClr>
              </a:solidFill>
              <a:latin typeface="Verdana" pitchFamily="34" charset="0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9934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Verder beleid </a:t>
            </a:r>
            <a:r>
              <a:rPr lang="nl-BE" sz="2800" dirty="0">
                <a:sym typeface="Wingdings" panose="05000000000000000000" pitchFamily="2" charset="2"/>
              </a:rPr>
              <a:t> SGLT-2 inhibitor</a:t>
            </a:r>
            <a:endParaRPr lang="nl-BE" sz="28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41</a:t>
            </a:fld>
            <a:endParaRPr lang="nl-NL"/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6" y="1261670"/>
            <a:ext cx="6336255" cy="4303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Ovaal 5"/>
          <p:cNvSpPr/>
          <p:nvPr/>
        </p:nvSpPr>
        <p:spPr bwMode="auto">
          <a:xfrm>
            <a:off x="903642" y="2312894"/>
            <a:ext cx="6303982" cy="1871831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18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Ovaal 6"/>
          <p:cNvSpPr>
            <a:spLocks noChangeArrowheads="1"/>
          </p:cNvSpPr>
          <p:nvPr/>
        </p:nvSpPr>
        <p:spPr bwMode="auto">
          <a:xfrm>
            <a:off x="4356847" y="2789041"/>
            <a:ext cx="989704" cy="1288107"/>
          </a:xfrm>
          <a:prstGeom prst="ellipse">
            <a:avLst/>
          </a:prstGeom>
          <a:noFill/>
          <a:ln w="57150" algn="ctr">
            <a:solidFill>
              <a:srgbClr val="97BF0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nl-BE" altLang="nl-BE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565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sz="2800">
                <a:ea typeface="Geneva"/>
                <a:cs typeface="Geneva"/>
              </a:rPr>
              <a:t>SGLT-2 inhbitoren</a:t>
            </a:r>
          </a:p>
        </p:txBody>
      </p:sp>
      <p:sp>
        <p:nvSpPr>
          <p:cNvPr id="138243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/>
            <a:r>
              <a:rPr lang="fr-BE" altLang="nl-BE" b="1" dirty="0" err="1">
                <a:ea typeface="Geneva"/>
                <a:cs typeface="Geneva"/>
              </a:rPr>
              <a:t>Dapagliflozine</a:t>
            </a:r>
            <a:r>
              <a:rPr lang="fr-BE" altLang="nl-BE" b="1" dirty="0">
                <a:ea typeface="Geneva"/>
                <a:cs typeface="Geneva"/>
              </a:rPr>
              <a:t> (</a:t>
            </a:r>
            <a:r>
              <a:rPr lang="fr-BE" altLang="nl-BE" b="1" dirty="0" err="1">
                <a:ea typeface="Geneva"/>
                <a:cs typeface="Geneva"/>
              </a:rPr>
              <a:t>Forxiga</a:t>
            </a:r>
            <a:r>
              <a:rPr lang="fr-BE" altLang="nl-BE" b="1" baseline="30000" dirty="0">
                <a:ea typeface="Geneva"/>
                <a:cs typeface="Geneva"/>
              </a:rPr>
              <a:t>®</a:t>
            </a:r>
            <a:r>
              <a:rPr lang="fr-BE" altLang="nl-BE" b="1" dirty="0">
                <a:ea typeface="Geneva"/>
                <a:cs typeface="Geneva"/>
              </a:rPr>
              <a:t>) </a:t>
            </a:r>
            <a:endParaRPr lang="fr-BE" altLang="nl-BE" dirty="0">
              <a:ea typeface="Geneva"/>
              <a:cs typeface="Geneva"/>
            </a:endParaRP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10mg/dag,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onafhankelijk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van de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maaltijd</a:t>
            </a:r>
            <a:endParaRPr lang="fr-BE" altLang="nl-BE" sz="1600" dirty="0">
              <a:ea typeface="Geneva"/>
              <a:cs typeface="Geneva"/>
              <a:sym typeface="Wingdings" panose="05000000000000000000" pitchFamily="2" charset="2"/>
            </a:endParaRP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elke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dag op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zelfde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tijdstip</a:t>
            </a:r>
            <a:endParaRPr lang="fr-BE" altLang="nl-BE" sz="1600" dirty="0">
              <a:ea typeface="Geneva"/>
              <a:cs typeface="Geneva"/>
              <a:sym typeface="Wingdings" panose="05000000000000000000" pitchFamily="2" charset="2"/>
            </a:endParaRP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b="1" dirty="0" err="1">
                <a:ea typeface="Geneva"/>
                <a:cs typeface="Geneva"/>
              </a:rPr>
              <a:t>Canagliflozine</a:t>
            </a:r>
            <a:r>
              <a:rPr lang="fr-BE" altLang="nl-BE" b="1" dirty="0">
                <a:ea typeface="Geneva"/>
                <a:cs typeface="Geneva"/>
              </a:rPr>
              <a:t> (</a:t>
            </a:r>
            <a:r>
              <a:rPr lang="fr-BE" altLang="nl-BE" b="1" dirty="0" err="1">
                <a:ea typeface="Geneva"/>
                <a:cs typeface="Geneva"/>
              </a:rPr>
              <a:t>Invokana</a:t>
            </a:r>
            <a:r>
              <a:rPr lang="fr-BE" altLang="nl-BE" b="1" baseline="30000" dirty="0">
                <a:ea typeface="Geneva"/>
                <a:cs typeface="Geneva"/>
              </a:rPr>
              <a:t>®</a:t>
            </a:r>
            <a:r>
              <a:rPr lang="fr-BE" altLang="nl-BE" b="1" dirty="0">
                <a:ea typeface="Geneva"/>
                <a:cs typeface="Geneva"/>
              </a:rPr>
              <a:t>) </a:t>
            </a: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Startdosis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100mg,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tot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maximaal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300mg/dag</a:t>
            </a: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bij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voorkeur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‘s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morgens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voor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de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maaltijd</a:t>
            </a:r>
            <a:endParaRPr lang="fr-BE" altLang="nl-BE" sz="1600" dirty="0">
              <a:ea typeface="Geneva"/>
              <a:cs typeface="Geneva"/>
              <a:sym typeface="Wingdings" panose="05000000000000000000" pitchFamily="2" charset="2"/>
            </a:endParaRPr>
          </a:p>
          <a:p>
            <a:pPr eaLnBrk="1" hangingPunct="1"/>
            <a:r>
              <a:rPr lang="fr-BE" altLang="nl-BE" b="1" dirty="0" err="1">
                <a:ea typeface="Geneva"/>
                <a:cs typeface="Geneva"/>
              </a:rPr>
              <a:t>Empagliflozine</a:t>
            </a:r>
            <a:r>
              <a:rPr lang="fr-BE" altLang="nl-BE" b="1" dirty="0">
                <a:ea typeface="Geneva"/>
                <a:cs typeface="Geneva"/>
              </a:rPr>
              <a:t> (</a:t>
            </a:r>
            <a:r>
              <a:rPr lang="fr-BE" altLang="nl-BE" b="1" dirty="0" err="1">
                <a:ea typeface="Geneva"/>
                <a:cs typeface="Geneva"/>
              </a:rPr>
              <a:t>Jardiance</a:t>
            </a:r>
            <a:r>
              <a:rPr lang="fr-BE" altLang="nl-BE" b="1" baseline="30000" dirty="0">
                <a:ea typeface="Geneva"/>
                <a:cs typeface="Geneva"/>
              </a:rPr>
              <a:t>®</a:t>
            </a:r>
            <a:r>
              <a:rPr lang="fr-BE" altLang="nl-BE" b="1" dirty="0">
                <a:ea typeface="Geneva"/>
                <a:cs typeface="Geneva"/>
              </a:rPr>
              <a:t>)</a:t>
            </a:r>
            <a:endParaRPr lang="fr-BE" altLang="nl-BE" dirty="0">
              <a:ea typeface="Geneva"/>
              <a:cs typeface="Geneva"/>
            </a:endParaRP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Startdosis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10mg/dag of 25mg/dag</a:t>
            </a:r>
          </a:p>
          <a:p>
            <a:pPr eaLnBrk="1" hangingPunct="1">
              <a:buFont typeface="Wingdings" panose="05000000000000000000" pitchFamily="2" charset="2"/>
              <a:buChar char="à"/>
            </a:pP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Elke dag op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zelfde</a:t>
            </a:r>
            <a:r>
              <a:rPr lang="fr-BE" altLang="nl-BE" sz="1600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fr-BE" altLang="nl-BE" sz="1600" dirty="0" err="1">
                <a:ea typeface="Geneva"/>
                <a:cs typeface="Geneva"/>
                <a:sym typeface="Wingdings" panose="05000000000000000000" pitchFamily="2" charset="2"/>
              </a:rPr>
              <a:t>tijdstip</a:t>
            </a:r>
            <a:endParaRPr lang="fr-BE" altLang="nl-BE" sz="1600" dirty="0">
              <a:ea typeface="Geneva"/>
              <a:cs typeface="Geneva"/>
              <a:sym typeface="Wingdings" panose="05000000000000000000" pitchFamily="2" charset="2"/>
            </a:endParaRPr>
          </a:p>
        </p:txBody>
      </p:sp>
      <p:sp>
        <p:nvSpPr>
          <p:cNvPr id="138244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64E0724-81CC-430A-83BF-4E4D72C804F8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2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977585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sz="2800">
                <a:ea typeface="Geneva"/>
                <a:cs typeface="Geneva"/>
              </a:rPr>
              <a:t>SGLT-2 inhibitoren en terugbetaling</a:t>
            </a:r>
          </a:p>
        </p:txBody>
      </p:sp>
      <p:sp>
        <p:nvSpPr>
          <p:cNvPr id="140291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/>
            <a:r>
              <a:rPr lang="nl-BE" altLang="nl-BE">
                <a:ea typeface="Geneva"/>
                <a:cs typeface="Geneva"/>
              </a:rPr>
              <a:t>Duale therapie in combinatie met metformine/SU na 3m</a:t>
            </a:r>
          </a:p>
          <a:p>
            <a:pPr eaLnBrk="1" hangingPunct="1"/>
            <a:r>
              <a:rPr lang="nl-BE" altLang="nl-BE">
                <a:ea typeface="Geneva"/>
                <a:cs typeface="Geneva"/>
              </a:rPr>
              <a:t>Triple therapie in combinatie met metformine/SU of metformine/glitazone na 3m</a:t>
            </a:r>
          </a:p>
          <a:p>
            <a:pPr eaLnBrk="1" hangingPunct="1"/>
            <a:r>
              <a:rPr lang="nl-BE" altLang="nl-BE">
                <a:ea typeface="Geneva"/>
                <a:cs typeface="Geneva"/>
              </a:rPr>
              <a:t>HbA1c tussen 7-9%</a:t>
            </a:r>
          </a:p>
          <a:p>
            <a:pPr eaLnBrk="1" hangingPunct="1"/>
            <a:r>
              <a:rPr lang="nl-BE" altLang="nl-BE">
                <a:ea typeface="Geneva"/>
                <a:cs typeface="Geneva"/>
              </a:rPr>
              <a:t>Klaring &gt; 60 ml/min</a:t>
            </a:r>
          </a:p>
          <a:p>
            <a:pPr eaLnBrk="1" hangingPunct="1"/>
            <a:r>
              <a:rPr lang="nl-BE" altLang="nl-BE">
                <a:ea typeface="Geneva"/>
                <a:cs typeface="Geneva"/>
              </a:rPr>
              <a:t>Kan in combinatie met basale insuline + 1 ander oraal antidiabeticum indien reeds 6 maanden hieronder behandeld</a:t>
            </a:r>
          </a:p>
        </p:txBody>
      </p:sp>
      <p:sp>
        <p:nvSpPr>
          <p:cNvPr id="140292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9643310-7C44-4907-8AC2-1A75C4347C0B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3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89267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nl-BE" altLang="nl-BE" sz="2800" dirty="0">
                <a:ea typeface="Geneva"/>
                <a:cs typeface="Geneva"/>
              </a:rPr>
              <a:t>Combinatie met metformine</a:t>
            </a:r>
          </a:p>
        </p:txBody>
      </p:sp>
      <p:sp>
        <p:nvSpPr>
          <p:cNvPr id="104451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r>
              <a:rPr lang="nl-BE" altLang="nl-BE">
                <a:ea typeface="Geneva"/>
                <a:cs typeface="Geneva"/>
              </a:rPr>
              <a:t>Syngardy</a:t>
            </a:r>
            <a:r>
              <a:rPr lang="nl-BE" altLang="nl-BE" baseline="30000">
                <a:ea typeface="Geneva"/>
                <a:cs typeface="Geneva"/>
              </a:rPr>
              <a:t>®</a:t>
            </a:r>
          </a:p>
          <a:p>
            <a:r>
              <a:rPr lang="nl-BE" altLang="nl-BE">
                <a:ea typeface="Geneva"/>
                <a:cs typeface="Geneva"/>
              </a:rPr>
              <a:t>Vokanomet</a:t>
            </a:r>
            <a:r>
              <a:rPr lang="nl-BE" altLang="nl-BE" baseline="30000">
                <a:ea typeface="Geneva"/>
                <a:cs typeface="Geneva"/>
              </a:rPr>
              <a:t>®</a:t>
            </a:r>
          </a:p>
          <a:p>
            <a:r>
              <a:rPr lang="nl-BE" altLang="nl-BE">
                <a:ea typeface="Geneva"/>
                <a:cs typeface="Geneva"/>
              </a:rPr>
              <a:t>Xigduo</a:t>
            </a:r>
            <a:r>
              <a:rPr lang="nl-BE" altLang="nl-BE" baseline="30000">
                <a:ea typeface="Geneva"/>
                <a:cs typeface="Geneva"/>
              </a:rPr>
              <a:t> ®</a:t>
            </a:r>
            <a:endParaRPr lang="nl-BE" altLang="nl-BE">
              <a:ea typeface="Geneva"/>
              <a:cs typeface="Geneva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1EBDFF9D-C414-418E-AFE0-539AD31D7A91}" type="slidenum">
              <a:rPr lang="nl-NL" altLang="nl-BE" baseline="0"/>
              <a:pPr eaLnBrk="1" hangingPunct="1"/>
              <a:t>44</a:t>
            </a:fld>
            <a:endParaRPr lang="nl-NL" altLang="nl-BE" baseline="0"/>
          </a:p>
        </p:txBody>
      </p:sp>
    </p:spTree>
    <p:extLst>
      <p:ext uri="{BB962C8B-B14F-4D97-AF65-F5344CB8AC3E}">
        <p14:creationId xmlns:p14="http://schemas.microsoft.com/office/powerpoint/2010/main" val="698334326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nl-BE" sz="2800" dirty="0">
                <a:ea typeface="Geneva"/>
                <a:cs typeface="Geneva"/>
              </a:rPr>
              <a:t>Combinaties! </a:t>
            </a:r>
            <a:endParaRPr lang="nl-BE" sz="2800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/>
              <a:t>Nieuw vanaf 10/2018!!</a:t>
            </a:r>
          </a:p>
          <a:p>
            <a:pPr marL="0" indent="0">
              <a:buNone/>
            </a:pPr>
            <a:endParaRPr lang="nl-BE" dirty="0"/>
          </a:p>
          <a:p>
            <a:pPr>
              <a:buFont typeface="Wingdings" panose="05000000000000000000" pitchFamily="2" charset="2"/>
              <a:buChar char="à"/>
            </a:pPr>
            <a:r>
              <a:rPr lang="nl-BE" dirty="0" err="1">
                <a:sym typeface="Wingdings" panose="05000000000000000000" pitchFamily="2" charset="2"/>
              </a:rPr>
              <a:t>Forxiga</a:t>
            </a:r>
            <a:r>
              <a:rPr lang="nl-BE" dirty="0">
                <a:sym typeface="Wingdings" panose="05000000000000000000" pitchFamily="2" charset="2"/>
              </a:rPr>
              <a:t> in combinatie met insulin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nl-BE" dirty="0" err="1">
                <a:sym typeface="Wingdings" panose="05000000000000000000" pitchFamily="2" charset="2"/>
              </a:rPr>
              <a:t>Forxiga</a:t>
            </a:r>
            <a:r>
              <a:rPr lang="nl-BE" dirty="0">
                <a:sym typeface="Wingdings" panose="05000000000000000000" pitchFamily="2" charset="2"/>
              </a:rPr>
              <a:t> in combinatie met DDP-4 inhibitor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nl-BE" dirty="0">
                <a:sym typeface="Wingdings" panose="05000000000000000000" pitchFamily="2" charset="2"/>
              </a:rPr>
              <a:t>Vanuit zorgtraject of met terugbetalingsattest</a:t>
            </a:r>
            <a:endParaRPr lang="nl-BE" dirty="0"/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4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1586839"/>
      </p:ext>
    </p:extLst>
  </p:cSld>
  <p:clrMapOvr>
    <a:masterClrMapping/>
  </p:clrMapOvr>
  <p:transition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Casus 3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altLang="nl-BE" dirty="0">
                <a:ea typeface="Geneva"/>
                <a:cs typeface="Geneva"/>
              </a:rPr>
              <a:t>vrouw, 78 jaar</a:t>
            </a:r>
          </a:p>
          <a:p>
            <a:r>
              <a:rPr lang="nl-BE" altLang="nl-BE" dirty="0">
                <a:ea typeface="Geneva"/>
                <a:cs typeface="Geneva"/>
              </a:rPr>
              <a:t>diabetes mellitus type 2 sinds 1998</a:t>
            </a:r>
          </a:p>
          <a:p>
            <a:r>
              <a:rPr lang="nl-BE" altLang="nl-BE" dirty="0">
                <a:ea typeface="Geneva"/>
                <a:cs typeface="Geneva"/>
              </a:rPr>
              <a:t>G 68kg, L 157cm, </a:t>
            </a:r>
            <a:r>
              <a:rPr lang="nl-BE" altLang="nl-BE" b="1" dirty="0">
                <a:ea typeface="Geneva"/>
                <a:cs typeface="Geneva"/>
              </a:rPr>
              <a:t>BMI 27.6</a:t>
            </a:r>
            <a:r>
              <a:rPr lang="nl-BE" altLang="nl-BE" dirty="0">
                <a:ea typeface="Geneva"/>
                <a:cs typeface="Geneva"/>
              </a:rPr>
              <a:t>, BD 124/79</a:t>
            </a:r>
          </a:p>
          <a:p>
            <a:r>
              <a:rPr lang="nl-BE" altLang="nl-BE" dirty="0">
                <a:ea typeface="Geneva"/>
                <a:cs typeface="Geneva"/>
              </a:rPr>
              <a:t>Rookt niet, geen alcohol</a:t>
            </a:r>
          </a:p>
          <a:p>
            <a:r>
              <a:rPr lang="nl-BE" altLang="nl-BE" dirty="0">
                <a:ea typeface="Geneva"/>
                <a:cs typeface="Geneva"/>
              </a:rPr>
              <a:t>VG: hysterectomie, migraine, ulcus teen 4 links tgv </a:t>
            </a:r>
            <a:r>
              <a:rPr lang="nl-BE" altLang="nl-BE" b="1" dirty="0">
                <a:ea typeface="Geneva"/>
                <a:cs typeface="Geneva"/>
              </a:rPr>
              <a:t>perifeer vaatlijden, </a:t>
            </a:r>
            <a:r>
              <a:rPr lang="nl-BE" altLang="nl-BE" b="1" dirty="0" err="1">
                <a:ea typeface="Geneva"/>
                <a:cs typeface="Geneva"/>
              </a:rPr>
              <a:t>stenting</a:t>
            </a:r>
            <a:r>
              <a:rPr lang="nl-BE" altLang="nl-BE" b="1" dirty="0">
                <a:ea typeface="Geneva"/>
                <a:cs typeface="Geneva"/>
              </a:rPr>
              <a:t> RCA na NSTEMI in 2009, </a:t>
            </a:r>
            <a:r>
              <a:rPr lang="nl-BE" altLang="nl-BE" b="1" dirty="0" err="1">
                <a:ea typeface="Geneva"/>
                <a:cs typeface="Geneva"/>
              </a:rPr>
              <a:t>ishemisch</a:t>
            </a:r>
            <a:r>
              <a:rPr lang="nl-BE" altLang="nl-BE" b="1" dirty="0">
                <a:ea typeface="Geneva"/>
                <a:cs typeface="Geneva"/>
              </a:rPr>
              <a:t> hartfalen</a:t>
            </a:r>
            <a:r>
              <a:rPr lang="nl-BE" altLang="nl-BE" dirty="0">
                <a:ea typeface="Geneva"/>
                <a:cs typeface="Geneva"/>
              </a:rPr>
              <a:t>, artrose, heupprothese links</a:t>
            </a:r>
          </a:p>
          <a:p>
            <a:r>
              <a:rPr lang="nl-BE" altLang="nl-BE" dirty="0" err="1">
                <a:ea typeface="Geneva"/>
                <a:cs typeface="Geneva"/>
              </a:rPr>
              <a:t>Microvasculair</a:t>
            </a:r>
            <a:r>
              <a:rPr lang="nl-BE" altLang="nl-BE" dirty="0">
                <a:ea typeface="Geneva"/>
                <a:cs typeface="Geneva"/>
              </a:rPr>
              <a:t>: non-proliferatieve RP en macro-</a:t>
            </a:r>
            <a:r>
              <a:rPr lang="nl-BE" altLang="nl-BE" dirty="0" err="1">
                <a:ea typeface="Geneva"/>
                <a:cs typeface="Geneva"/>
              </a:rPr>
              <a:t>albuminurie</a:t>
            </a:r>
            <a:endParaRPr lang="nl-BE" altLang="nl-BE" dirty="0">
              <a:ea typeface="Geneva"/>
              <a:cs typeface="Geneva"/>
            </a:endParaRPr>
          </a:p>
          <a:p>
            <a:r>
              <a:rPr lang="nl-BE" altLang="nl-BE" dirty="0">
                <a:ea typeface="Geneva"/>
                <a:cs typeface="Geneva"/>
              </a:rPr>
              <a:t>Diabetesmedicatie: </a:t>
            </a:r>
            <a:r>
              <a:rPr lang="nl-BE" altLang="nl-BE" b="1" dirty="0" err="1">
                <a:ea typeface="Geneva"/>
                <a:cs typeface="Geneva"/>
              </a:rPr>
              <a:t>Glucophage</a:t>
            </a:r>
            <a:r>
              <a:rPr lang="nl-BE" altLang="nl-BE" b="1" dirty="0">
                <a:ea typeface="Geneva"/>
                <a:cs typeface="Geneva"/>
              </a:rPr>
              <a:t> 850mg 2x/dag </a:t>
            </a:r>
          </a:p>
          <a:p>
            <a:r>
              <a:rPr lang="nl-BE" altLang="nl-BE" dirty="0">
                <a:ea typeface="Geneva"/>
                <a:cs typeface="Geneva"/>
              </a:rPr>
              <a:t>Overige medicatie: </a:t>
            </a:r>
            <a:r>
              <a:rPr lang="nl-BE" altLang="nl-BE" dirty="0" err="1">
                <a:ea typeface="Geneva"/>
                <a:cs typeface="Geneva"/>
              </a:rPr>
              <a:t>Coveram</a:t>
            </a:r>
            <a:r>
              <a:rPr lang="nl-BE" altLang="nl-BE" dirty="0">
                <a:ea typeface="Geneva"/>
                <a:cs typeface="Geneva"/>
              </a:rPr>
              <a:t> 10/10mg dag, </a:t>
            </a:r>
            <a:r>
              <a:rPr lang="nl-BE" altLang="nl-BE" dirty="0" err="1">
                <a:ea typeface="Geneva"/>
                <a:cs typeface="Geneva"/>
              </a:rPr>
              <a:t>Crestor</a:t>
            </a:r>
            <a:r>
              <a:rPr lang="nl-BE" altLang="nl-BE" dirty="0">
                <a:ea typeface="Geneva"/>
                <a:cs typeface="Geneva"/>
              </a:rPr>
              <a:t> 20mg/dag, bisoprolol 5mg/dag, </a:t>
            </a:r>
            <a:r>
              <a:rPr lang="nl-BE" altLang="nl-BE" dirty="0" err="1">
                <a:ea typeface="Geneva"/>
                <a:cs typeface="Geneva"/>
              </a:rPr>
              <a:t>Burinex</a:t>
            </a:r>
            <a:r>
              <a:rPr lang="nl-BE" altLang="nl-BE" dirty="0">
                <a:ea typeface="Geneva"/>
                <a:cs typeface="Geneva"/>
              </a:rPr>
              <a:t> 1mg/dag, </a:t>
            </a:r>
            <a:r>
              <a:rPr lang="nl-BE" altLang="nl-BE" dirty="0" err="1">
                <a:ea typeface="Geneva"/>
                <a:cs typeface="Geneva"/>
              </a:rPr>
              <a:t>Asaflow</a:t>
            </a:r>
            <a:r>
              <a:rPr lang="nl-BE" altLang="nl-BE" dirty="0">
                <a:ea typeface="Geneva"/>
                <a:cs typeface="Geneva"/>
              </a:rPr>
              <a:t> 80mg/dag</a:t>
            </a:r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4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9695945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dirty="0">
                <a:ea typeface="Geneva"/>
                <a:cs typeface="Geneva"/>
              </a:rPr>
              <a:t>Casus 3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>
              <a:defRPr/>
            </a:pPr>
            <a:r>
              <a:rPr lang="nl-BE" dirty="0"/>
              <a:t>Labo 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nuchtere glycemie: 153mg/dl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b="1" dirty="0">
                <a:sym typeface="Wingdings" panose="05000000000000000000" pitchFamily="2" charset="2"/>
              </a:rPr>
              <a:t>HbA1c 8,5%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Totaal cholesterol 154mg/dl, LDL-cholesterol 63mg/dl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Creatinine 1,35 mg/dl met </a:t>
            </a:r>
            <a:r>
              <a:rPr lang="nl-BE" b="1" dirty="0">
                <a:sym typeface="Wingdings" panose="05000000000000000000" pitchFamily="2" charset="2"/>
              </a:rPr>
              <a:t>klaring 51ml/min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r>
              <a:rPr lang="nl-BE" dirty="0">
                <a:sym typeface="Wingdings" panose="05000000000000000000" pitchFamily="2" charset="2"/>
              </a:rPr>
              <a:t>normale levertesten </a:t>
            </a:r>
          </a:p>
          <a:p>
            <a:pPr eaLnBrk="1" hangingPunct="1">
              <a:buFont typeface="Wingdings" pitchFamily="2" charset="2"/>
              <a:buChar char="à"/>
              <a:defRPr/>
            </a:pPr>
            <a:endParaRPr lang="nl-BE" dirty="0">
              <a:sym typeface="Wingdings" panose="05000000000000000000" pitchFamily="2" charset="2"/>
            </a:endParaRPr>
          </a:p>
          <a:p>
            <a:pPr eaLnBrk="1" hangingPunct="1">
              <a:buFont typeface="Wingdings" pitchFamily="2" charset="2"/>
              <a:buChar char="à"/>
              <a:defRPr/>
            </a:pPr>
            <a:endParaRPr lang="nl-BE" dirty="0">
              <a:sym typeface="Wingdings" panose="05000000000000000000" pitchFamily="2" charset="2"/>
            </a:endParaRPr>
          </a:p>
        </p:txBody>
      </p:sp>
      <p:sp>
        <p:nvSpPr>
          <p:cNvPr id="117764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9A81DF5-1DA0-4882-8D6C-B117CDC30AC2}" type="slidenum">
              <a:rPr lang="nl-NL" altLang="nl-BE" sz="1000" smtClean="0">
                <a:solidFill>
                  <a:srgbClr val="7F7F7F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7</a:t>
            </a:fld>
            <a:endParaRPr lang="nl-NL" altLang="nl-BE" sz="100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897538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50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fr-BE" altLang="nl-BE" sz="2800" dirty="0">
                <a:ea typeface="Geneva"/>
                <a:cs typeface="Geneva"/>
                <a:sym typeface="Wingdings" panose="05000000000000000000" pitchFamily="2" charset="2"/>
              </a:rPr>
              <a:t>The </a:t>
            </a:r>
            <a:r>
              <a:rPr lang="fr-BE" altLang="nl-BE" sz="2800" dirty="0" err="1">
                <a:ea typeface="Geneva"/>
                <a:cs typeface="Geneva"/>
                <a:sym typeface="Wingdings" panose="05000000000000000000" pitchFamily="2" charset="2"/>
              </a:rPr>
              <a:t>lower</a:t>
            </a:r>
            <a:r>
              <a:rPr lang="fr-BE" altLang="nl-BE" sz="2800" dirty="0">
                <a:ea typeface="Geneva"/>
                <a:cs typeface="Geneva"/>
                <a:sym typeface="Wingdings" panose="05000000000000000000" pitchFamily="2" charset="2"/>
              </a:rPr>
              <a:t> the </a:t>
            </a:r>
            <a:r>
              <a:rPr lang="fr-BE" altLang="nl-BE" sz="2800" dirty="0" err="1">
                <a:ea typeface="Geneva"/>
                <a:cs typeface="Geneva"/>
                <a:sym typeface="Wingdings" panose="05000000000000000000" pitchFamily="2" charset="2"/>
              </a:rPr>
              <a:t>better</a:t>
            </a:r>
            <a:r>
              <a:rPr lang="fr-BE" altLang="nl-BE" sz="2800" dirty="0">
                <a:ea typeface="Geneva"/>
                <a:cs typeface="Geneva"/>
                <a:sym typeface="Wingdings" panose="05000000000000000000" pitchFamily="2" charset="2"/>
              </a:rPr>
              <a:t>?</a:t>
            </a:r>
            <a:endParaRPr lang="nl-BE" altLang="nl-BE" sz="2800" dirty="0">
              <a:ea typeface="Geneva"/>
              <a:cs typeface="Geneva"/>
            </a:endParaRPr>
          </a:p>
        </p:txBody>
      </p:sp>
      <p:sp>
        <p:nvSpPr>
          <p:cNvPr id="309251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5D77F36D-D8CD-4EF2-8C41-F94C565DF854}" type="slidenum">
              <a:rPr lang="nl-NL" altLang="nl-BE" baseline="0"/>
              <a:pPr eaLnBrk="1" hangingPunct="1"/>
              <a:t>48</a:t>
            </a:fld>
            <a:endParaRPr lang="nl-NL" altLang="nl-BE" baseline="0"/>
          </a:p>
        </p:txBody>
      </p:sp>
      <p:pic>
        <p:nvPicPr>
          <p:cNvPr id="309252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70025" y="1044575"/>
            <a:ext cx="6259513" cy="4746625"/>
          </a:xfrm>
        </p:spPr>
      </p:pic>
      <p:pic>
        <p:nvPicPr>
          <p:cNvPr id="30925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38" y="6299200"/>
            <a:ext cx="35814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1010950"/>
      </p:ext>
    </p:extLst>
  </p:cSld>
  <p:clrMapOvr>
    <a:masterClrMapping/>
  </p:clrMapOvr>
  <p:transition>
    <p:fade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Verdere aanpak?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49</a:t>
            </a:fld>
            <a:endParaRPr lang="nl-NL"/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6" y="1247887"/>
            <a:ext cx="6702014" cy="4399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Ovaal 5"/>
          <p:cNvSpPr/>
          <p:nvPr/>
        </p:nvSpPr>
        <p:spPr bwMode="auto">
          <a:xfrm>
            <a:off x="1021974" y="2592593"/>
            <a:ext cx="6540651" cy="154910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sz="1800" b="0" i="0" u="none" strike="noStrike" cap="none" normalizeH="0" baseline="-2500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Ovaal 6"/>
          <p:cNvSpPr>
            <a:spLocks noChangeArrowheads="1"/>
          </p:cNvSpPr>
          <p:nvPr/>
        </p:nvSpPr>
        <p:spPr bwMode="auto">
          <a:xfrm>
            <a:off x="3689873" y="2803772"/>
            <a:ext cx="989704" cy="1288107"/>
          </a:xfrm>
          <a:prstGeom prst="ellipse">
            <a:avLst/>
          </a:prstGeom>
          <a:noFill/>
          <a:ln w="57150" algn="ctr">
            <a:solidFill>
              <a:srgbClr val="97BF0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nl-BE" altLang="nl-BE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4224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 sz="2800">
                <a:ea typeface="Geneva"/>
                <a:cs typeface="Geneva"/>
              </a:rPr>
              <a:t>Verhoogd risico cardiovasculair overlijden</a:t>
            </a:r>
          </a:p>
        </p:txBody>
      </p:sp>
      <p:sp>
        <p:nvSpPr>
          <p:cNvPr id="49155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CF88229-7F71-440C-B5B8-0C9F0A7362E6}" type="slidenum">
              <a:rPr lang="nl-NL" altLang="nl-BE" sz="10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49156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5475" y="1311275"/>
            <a:ext cx="8110538" cy="4433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6363123"/>
      </p:ext>
    </p:extLst>
  </p:cSld>
  <p:clrMapOvr>
    <a:masterClrMapping/>
  </p:clrMapOvr>
  <p:transition>
    <p:fade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 dirty="0">
                <a:ea typeface="Geneva"/>
                <a:cs typeface="Geneva"/>
              </a:rPr>
              <a:t>DDP-4 </a:t>
            </a:r>
            <a:r>
              <a:rPr lang="fr-BE" altLang="nl-BE" sz="2800" dirty="0" err="1">
                <a:ea typeface="Geneva"/>
                <a:cs typeface="Geneva"/>
              </a:rPr>
              <a:t>inhibitor</a:t>
            </a:r>
            <a:r>
              <a:rPr lang="fr-BE" altLang="nl-BE" sz="2800" dirty="0">
                <a:ea typeface="Geneva"/>
                <a:cs typeface="Geneva"/>
              </a:rPr>
              <a:t> vs GLP- 1 </a:t>
            </a:r>
            <a:r>
              <a:rPr lang="fr-BE" altLang="nl-BE" sz="2800" dirty="0" err="1">
                <a:ea typeface="Geneva"/>
                <a:cs typeface="Geneva"/>
              </a:rPr>
              <a:t>analoog</a:t>
            </a:r>
            <a:endParaRPr lang="nl-BE" altLang="nl-BE" sz="2800" dirty="0">
              <a:ea typeface="Geneva"/>
              <a:cs typeface="Genev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nl-NL" dirty="0" err="1">
                <a:latin typeface="Arial" charset="0"/>
                <a:ea typeface="Geneva" charset="-128"/>
                <a:cs typeface="+mn-cs"/>
              </a:rPr>
              <a:t>Uptodate</a:t>
            </a:r>
            <a:r>
              <a:rPr lang="nl-NL" dirty="0">
                <a:latin typeface="Arial" charset="0"/>
                <a:ea typeface="Geneva" charset="-128"/>
                <a:cs typeface="+mn-cs"/>
              </a:rPr>
              <a:t> 2016 </a:t>
            </a:r>
          </a:p>
        </p:txBody>
      </p:sp>
      <p:pic>
        <p:nvPicPr>
          <p:cNvPr id="12083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90800" y="1219200"/>
            <a:ext cx="3638550" cy="50657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4018145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DDP-4 inhibitoren</a:t>
            </a:r>
            <a:endParaRPr lang="nl-BE" altLang="nl-BE" sz="2800">
              <a:ea typeface="Geneva"/>
              <a:cs typeface="Genev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F0A8182A-4A0F-4FE6-842C-EAD7A7F32797}" type="slidenum">
              <a:rPr lang="nl-NL" altLang="nl-BE" baseline="0"/>
              <a:pPr eaLnBrk="1" hangingPunct="1"/>
              <a:t>51</a:t>
            </a:fld>
            <a:endParaRPr lang="nl-NL" altLang="nl-BE" baseline="0"/>
          </a:p>
        </p:txBody>
      </p:sp>
      <p:pic>
        <p:nvPicPr>
          <p:cNvPr id="9011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5825" y="1944688"/>
            <a:ext cx="7391400" cy="33956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5432819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le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fr-BE" altLang="nl-BE" sz="2800">
                <a:ea typeface="Geneva"/>
                <a:cs typeface="Geneva"/>
              </a:rPr>
              <a:t>DDP-4 inhibitor terugbetaling</a:t>
            </a:r>
            <a:endParaRPr lang="nl-BE" altLang="nl-BE" sz="2800">
              <a:ea typeface="Geneva"/>
              <a:cs typeface="Genev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fr-BE" dirty="0" err="1"/>
              <a:t>Monotherapie</a:t>
            </a:r>
            <a:r>
              <a:rPr lang="fr-BE" dirty="0"/>
              <a:t> </a:t>
            </a:r>
            <a:r>
              <a:rPr lang="fr-BE" dirty="0" err="1"/>
              <a:t>bij</a:t>
            </a:r>
            <a:r>
              <a:rPr lang="fr-BE" dirty="0"/>
              <a:t> </a:t>
            </a:r>
            <a:r>
              <a:rPr lang="fr-BE" dirty="0" err="1"/>
              <a:t>klaring</a:t>
            </a:r>
            <a:r>
              <a:rPr lang="fr-BE" dirty="0"/>
              <a:t> &lt; </a:t>
            </a:r>
            <a:r>
              <a:rPr lang="fr-BE" dirty="0" err="1"/>
              <a:t>50ml</a:t>
            </a:r>
            <a:r>
              <a:rPr lang="fr-BE" dirty="0"/>
              <a:t>/min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fr-BE" dirty="0" err="1"/>
              <a:t>Minstens</a:t>
            </a:r>
            <a:r>
              <a:rPr lang="fr-BE" dirty="0"/>
              <a:t> 1 </a:t>
            </a:r>
            <a:r>
              <a:rPr lang="fr-BE" dirty="0" err="1"/>
              <a:t>oraal</a:t>
            </a:r>
            <a:r>
              <a:rPr lang="fr-BE" dirty="0"/>
              <a:t> </a:t>
            </a:r>
            <a:r>
              <a:rPr lang="fr-BE" dirty="0" err="1"/>
              <a:t>antidiabeticum</a:t>
            </a:r>
            <a:endParaRPr lang="fr-BE" dirty="0"/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fr-BE" dirty="0"/>
              <a:t>Of  basale insuline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fr-BE" dirty="0" err="1"/>
              <a:t>HbA1c</a:t>
            </a:r>
            <a:r>
              <a:rPr lang="fr-BE" dirty="0"/>
              <a:t> </a:t>
            </a:r>
            <a:r>
              <a:rPr lang="fr-BE" dirty="0" err="1"/>
              <a:t>tussen</a:t>
            </a:r>
            <a:r>
              <a:rPr lang="fr-BE" dirty="0"/>
              <a:t> 7 en 9% </a:t>
            </a:r>
            <a:endParaRPr lang="nl-BE" dirty="0"/>
          </a:p>
          <a:p>
            <a:pPr marL="0" indent="0" eaLnBrk="1" hangingPunct="1">
              <a:buFontTx/>
              <a:buNone/>
              <a:defRPr/>
            </a:pP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4F7F689E-848B-4765-95FD-325EAF456A2B}" type="slidenum">
              <a:rPr lang="nl-NL" altLang="nl-BE" baseline="0"/>
              <a:pPr eaLnBrk="1" hangingPunct="1"/>
              <a:t>52</a:t>
            </a:fld>
            <a:endParaRPr lang="nl-NL" altLang="nl-BE" baseline="0"/>
          </a:p>
        </p:txBody>
      </p:sp>
    </p:spTree>
    <p:extLst>
      <p:ext uri="{BB962C8B-B14F-4D97-AF65-F5344CB8AC3E}">
        <p14:creationId xmlns:p14="http://schemas.microsoft.com/office/powerpoint/2010/main" val="231793134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nl-BE" altLang="nl-BE" sz="2800">
                <a:ea typeface="Geneva"/>
                <a:cs typeface="Geneva"/>
              </a:rPr>
              <a:t>Combinatiepreparaten met metformine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>
              <a:defRPr/>
            </a:pPr>
            <a:r>
              <a:rPr lang="nl-BE" dirty="0" err="1"/>
              <a:t>Eucreas</a:t>
            </a:r>
            <a:r>
              <a:rPr lang="nl-BE" baseline="30000" dirty="0"/>
              <a:t>®</a:t>
            </a:r>
          </a:p>
          <a:p>
            <a:pPr>
              <a:defRPr/>
            </a:pPr>
            <a:r>
              <a:rPr lang="nl-BE" dirty="0" err="1"/>
              <a:t>Janumet</a:t>
            </a:r>
            <a:r>
              <a:rPr lang="nl-BE" baseline="30000" dirty="0"/>
              <a:t>®</a:t>
            </a:r>
            <a:endParaRPr lang="nl-BE" dirty="0"/>
          </a:p>
          <a:p>
            <a:pPr>
              <a:defRPr/>
            </a:pPr>
            <a:r>
              <a:rPr lang="nl-BE" dirty="0" err="1"/>
              <a:t>Vipdomet</a:t>
            </a:r>
            <a:r>
              <a:rPr lang="nl-BE" baseline="30000" dirty="0"/>
              <a:t>®</a:t>
            </a:r>
            <a:endParaRPr lang="nl-BE" dirty="0"/>
          </a:p>
          <a:p>
            <a:pPr>
              <a:defRPr/>
            </a:pPr>
            <a:r>
              <a:rPr lang="nl-BE" dirty="0" err="1"/>
              <a:t>Jentadueto</a:t>
            </a:r>
            <a:r>
              <a:rPr lang="nl-BE" baseline="30000" dirty="0"/>
              <a:t>®</a:t>
            </a:r>
            <a:endParaRPr lang="nl-BE" dirty="0"/>
          </a:p>
          <a:p>
            <a:pPr>
              <a:defRPr/>
            </a:pPr>
            <a:r>
              <a:rPr lang="nl-BE" dirty="0" err="1"/>
              <a:t>Komboglyze</a:t>
            </a:r>
            <a:r>
              <a:rPr lang="nl-BE" baseline="30000" dirty="0"/>
              <a:t>®</a:t>
            </a:r>
          </a:p>
          <a:p>
            <a:pPr marL="0" indent="0">
              <a:buFontTx/>
              <a:buNone/>
              <a:defRPr/>
            </a:pPr>
            <a:r>
              <a:rPr lang="nl-BE" dirty="0"/>
              <a:t>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1pPr>
            <a:lvl2pPr marL="742950" indent="-28575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2pPr>
            <a:lvl3pPr marL="11430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3pPr>
            <a:lvl4pPr marL="16002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4pPr>
            <a:lvl5pPr marL="2057400" indent="-228600" eaLnBrk="0" hangingPunct="0"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-25000">
                <a:solidFill>
                  <a:schemeClr val="tx1"/>
                </a:solidFill>
                <a:latin typeface="Arial" panose="020B0604020202020204" pitchFamily="34" charset="0"/>
                <a:ea typeface="Geneva"/>
                <a:cs typeface="Geneva"/>
              </a:defRPr>
            </a:lvl9pPr>
          </a:lstStyle>
          <a:p>
            <a:pPr eaLnBrk="1" hangingPunct="1"/>
            <a:fld id="{BD60C312-B902-4772-9560-749D90058668}" type="slidenum">
              <a:rPr lang="nl-NL" altLang="nl-BE" baseline="0"/>
              <a:pPr eaLnBrk="1" hangingPunct="1"/>
              <a:t>53</a:t>
            </a:fld>
            <a:endParaRPr lang="nl-NL" altLang="nl-BE" baseline="0"/>
          </a:p>
        </p:txBody>
      </p:sp>
    </p:spTree>
    <p:extLst>
      <p:ext uri="{BB962C8B-B14F-4D97-AF65-F5344CB8AC3E}">
        <p14:creationId xmlns:p14="http://schemas.microsoft.com/office/powerpoint/2010/main" val="812962522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Titel 1"/>
          <p:cNvSpPr>
            <a:spLocks noGrp="1"/>
          </p:cNvSpPr>
          <p:nvPr>
            <p:ph type="title"/>
          </p:nvPr>
        </p:nvSpPr>
        <p:spPr>
          <a:xfrm>
            <a:off x="666750" y="447675"/>
            <a:ext cx="7432675" cy="1143000"/>
          </a:xfrm>
        </p:spPr>
        <p:txBody>
          <a:bodyPr/>
          <a:lstStyle/>
          <a:p>
            <a:r>
              <a:rPr lang="nl-BE" altLang="nl-BE" sz="2800">
                <a:ea typeface="Geneva"/>
                <a:cs typeface="Geneva"/>
              </a:rPr>
              <a:t>Cardiovasculaire veiligheid!</a:t>
            </a:r>
          </a:p>
        </p:txBody>
      </p:sp>
      <p:sp>
        <p:nvSpPr>
          <p:cNvPr id="128003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A2CC6B99-8585-434D-9B5C-1013D66B5F6F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4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28004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3125" y="990600"/>
            <a:ext cx="7839075" cy="4746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0722029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ight Arrow 40"/>
          <p:cNvSpPr/>
          <p:nvPr/>
        </p:nvSpPr>
        <p:spPr>
          <a:xfrm>
            <a:off x="2099278" y="3724250"/>
            <a:ext cx="5040312" cy="184150"/>
          </a:xfrm>
          <a:prstGeom prst="rightArrow">
            <a:avLst/>
          </a:prstGeom>
          <a:gradFill flip="none" rotWithShape="1">
            <a:gsLst>
              <a:gs pos="75000">
                <a:srgbClr val="92D050"/>
              </a:gs>
              <a:gs pos="77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sp>
        <p:nvSpPr>
          <p:cNvPr id="142338" name="Title 1"/>
          <p:cNvSpPr>
            <a:spLocks noGrp="1"/>
          </p:cNvSpPr>
          <p:nvPr>
            <p:ph type="title"/>
          </p:nvPr>
        </p:nvSpPr>
        <p:spPr>
          <a:xfrm>
            <a:off x="375483" y="422543"/>
            <a:ext cx="8718996" cy="390525"/>
          </a:xfrm>
        </p:spPr>
        <p:txBody>
          <a:bodyPr/>
          <a:lstStyle/>
          <a:p>
            <a:pPr eaLnBrk="1" hangingPunct="1"/>
            <a:r>
              <a:rPr lang="en-GB" altLang="en-US" dirty="0" err="1">
                <a:solidFill>
                  <a:srgbClr val="7BC518"/>
                </a:solidFill>
              </a:rPr>
              <a:t>Gebruik</a:t>
            </a:r>
            <a:r>
              <a:rPr lang="en-GB" altLang="en-US" dirty="0">
                <a:solidFill>
                  <a:srgbClr val="7BC518"/>
                </a:solidFill>
              </a:rPr>
              <a:t> van </a:t>
            </a:r>
            <a:r>
              <a:rPr lang="nl-BE" altLang="en-US" dirty="0">
                <a:solidFill>
                  <a:srgbClr val="7BC518"/>
                </a:solidFill>
              </a:rPr>
              <a:t>nieuwere</a:t>
            </a:r>
            <a:r>
              <a:rPr lang="en-GB" altLang="en-US" dirty="0">
                <a:solidFill>
                  <a:srgbClr val="7BC518"/>
                </a:solidFill>
              </a:rPr>
              <a:t> </a:t>
            </a:r>
            <a:r>
              <a:rPr lang="en-GB" altLang="en-US" dirty="0" err="1">
                <a:solidFill>
                  <a:srgbClr val="7BC518"/>
                </a:solidFill>
              </a:rPr>
              <a:t>antidiabetesmiddelen</a:t>
            </a:r>
            <a:r>
              <a:rPr lang="en-GB" altLang="en-US" dirty="0">
                <a:solidFill>
                  <a:srgbClr val="7BC518"/>
                </a:solidFill>
              </a:rPr>
              <a:t> </a:t>
            </a:r>
            <a:r>
              <a:rPr lang="en-GB" altLang="en-US" dirty="0" err="1">
                <a:solidFill>
                  <a:srgbClr val="7BC518"/>
                </a:solidFill>
              </a:rPr>
              <a:t>bij</a:t>
            </a:r>
            <a:r>
              <a:rPr lang="en-GB" altLang="en-US" dirty="0">
                <a:solidFill>
                  <a:srgbClr val="7BC518"/>
                </a:solidFill>
              </a:rPr>
              <a:t> </a:t>
            </a:r>
            <a:r>
              <a:rPr lang="en-GB" altLang="en-US" dirty="0" err="1">
                <a:solidFill>
                  <a:srgbClr val="7BC518"/>
                </a:solidFill>
              </a:rPr>
              <a:t>nierinsufficiëntie</a:t>
            </a:r>
            <a:endParaRPr lang="en-GB" altLang="en-US" dirty="0">
              <a:solidFill>
                <a:srgbClr val="7BC518"/>
              </a:solidFill>
            </a:endParaRPr>
          </a:p>
        </p:txBody>
      </p:sp>
      <p:graphicFrame>
        <p:nvGraphicFramePr>
          <p:cNvPr id="12" name="Group 5"/>
          <p:cNvGraphicFramePr>
            <a:graphicFrameLocks noGrp="1"/>
          </p:cNvGraphicFramePr>
          <p:nvPr>
            <p:extLst/>
          </p:nvPr>
        </p:nvGraphicFramePr>
        <p:xfrm>
          <a:off x="633232" y="1717934"/>
          <a:ext cx="6768354" cy="3344789"/>
        </p:xfrm>
        <a:graphic>
          <a:graphicData uri="http://schemas.openxmlformats.org/drawingml/2006/table">
            <a:tbl>
              <a:tblPr/>
              <a:tblGrid>
                <a:gridCol w="15117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2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80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80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80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25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kumimoji="0" lang="en-GB" sz="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Antidiabetisch</a:t>
                      </a:r>
                      <a:r>
                        <a:rPr kumimoji="0" lang="en-GB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 product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kumimoji="0" lang="en-GB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G</a:t>
                      </a:r>
                    </a:p>
                  </a:txBody>
                  <a:tcPr marL="0" marR="0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kumimoji="0" lang="en-GB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FR</a:t>
                      </a:r>
                    </a:p>
                  </a:txBody>
                  <a:tcPr marL="0" marR="0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405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Liraglutide</a:t>
                      </a:r>
                      <a:endParaRPr kumimoji="0" lang="en-GB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GB" sz="700" b="0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  <a:defRPr/>
                      </a:pPr>
                      <a:endParaRPr lang="en-GB" sz="700" b="0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GB" sz="700" b="0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Exenatide</a:t>
                      </a:r>
                      <a:r>
                        <a:rPr kumimoji="0" lang="en-GB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 2x/dag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Exenatide</a:t>
                      </a:r>
                      <a:r>
                        <a:rPr kumimoji="0" lang="en-GB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1x/week 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Lixisenatide</a:t>
                      </a:r>
                      <a:endParaRPr kumimoji="0" lang="en-GB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Albiglutide</a:t>
                      </a:r>
                      <a:endParaRPr kumimoji="0" lang="en-GB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ulaglutide</a:t>
                      </a:r>
                      <a:r>
                        <a:rPr kumimoji="0" lang="en-GB" sz="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kumimoji="0" lang="en-GB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SGLT-2 </a:t>
                      </a:r>
                      <a:r>
                        <a:rPr kumimoji="0" lang="en-GB" sz="8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inhibitoren</a:t>
                      </a:r>
                      <a:endParaRPr kumimoji="0" lang="en-GB" sz="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40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endParaRPr kumimoji="0" lang="en-GB" sz="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kumimoji="0" lang="en-GB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DPP-4 </a:t>
                      </a:r>
                      <a:r>
                        <a:rPr kumimoji="0" lang="en-GB" sz="8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inhibitoren</a:t>
                      </a:r>
                      <a:endParaRPr kumimoji="0" lang="en-GB" sz="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53998" marR="53998" marT="0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marL="53998" marR="53998" marT="0" marB="27038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5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endParaRPr kumimoji="0" lang="en-GB" sz="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Nierinsufficiëntie</a:t>
                      </a:r>
                      <a:endParaRPr kumimoji="0" lang="en-GB" sz="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itchFamily="2" charset="2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+mn-ea"/>
                          <a:cs typeface="+mn-cs"/>
                        </a:rPr>
                        <a:t>GFR (ml/min/</a:t>
                      </a:r>
                      <a:r>
                        <a:rPr kumimoji="0" lang="en-GB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Verdana" pitchFamily="34" charset="0"/>
                        </a:rPr>
                        <a:t>1,73 m</a:t>
                      </a:r>
                      <a:r>
                        <a:rPr kumimoji="0" lang="en-GB" sz="8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Verdana" pitchFamily="34" charset="0"/>
                        </a:rPr>
                        <a:t>2</a:t>
                      </a:r>
                      <a:r>
                        <a:rPr kumimoji="0" lang="en-GB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sym typeface="Verdana" pitchFamily="34" charset="0"/>
                        </a:rPr>
                        <a:t>)</a:t>
                      </a:r>
                      <a:endParaRPr kumimoji="0" lang="en-GB" sz="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Licht</a:t>
                      </a: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&gt;60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  <a:defRPr/>
                      </a:pPr>
                      <a:endParaRPr lang="en-GB" sz="800" b="1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lang="en-GB" sz="800" b="1" dirty="0" err="1">
                          <a:solidFill>
                            <a:schemeClr val="tx1"/>
                          </a:solidFill>
                          <a:latin typeface="Verdana" pitchFamily="34" charset="0"/>
                        </a:rPr>
                        <a:t>Matig</a:t>
                      </a:r>
                      <a:endParaRPr lang="en-GB" sz="800" b="1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  <a:defRPr/>
                      </a:pPr>
                      <a:r>
                        <a:rPr lang="en-GB" sz="800" b="1" dirty="0">
                          <a:solidFill>
                            <a:schemeClr val="tx1"/>
                          </a:solidFill>
                          <a:latin typeface="Verdana" pitchFamily="34" charset="0"/>
                        </a:rPr>
                        <a:t>&lt;60</a:t>
                      </a:r>
                      <a:r>
                        <a:rPr lang="en-GB" sz="800" b="1" dirty="0">
                          <a:solidFill>
                            <a:schemeClr val="tx1"/>
                          </a:solidFill>
                          <a:latin typeface="Verdana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r>
                        <a:rPr lang="en-GB" sz="800" b="1" dirty="0">
                          <a:solidFill>
                            <a:schemeClr val="tx1"/>
                          </a:solidFill>
                          <a:latin typeface="Verdana" pitchFamily="34" charset="0"/>
                        </a:rPr>
                        <a:t>&gt;30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GB" sz="800" b="1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GB" sz="800" b="1" dirty="0" err="1">
                          <a:solidFill>
                            <a:schemeClr val="tx1"/>
                          </a:solidFill>
                          <a:latin typeface="Verdana" pitchFamily="34" charset="0"/>
                        </a:rPr>
                        <a:t>Ernstig</a:t>
                      </a:r>
                      <a:endParaRPr lang="en-GB" sz="800" b="1" dirty="0">
                        <a:solidFill>
                          <a:schemeClr val="tx1"/>
                        </a:solidFill>
                        <a:latin typeface="Verdana" pitchFamily="34" charset="0"/>
                      </a:endParaRPr>
                    </a:p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GB" sz="800" b="1" dirty="0">
                          <a:solidFill>
                            <a:schemeClr val="tx1"/>
                          </a:solidFill>
                          <a:latin typeface="Verdana" pitchFamily="34" charset="0"/>
                        </a:rPr>
                        <a:t>&lt;30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Hemodialyse</a:t>
                      </a:r>
                      <a:endParaRPr kumimoji="0" lang="en-GB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188913" algn="l"/>
                        </a:tabLst>
                      </a:pPr>
                      <a:r>
                        <a:rPr kumimoji="0" lang="en-GB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&lt;15</a:t>
                      </a:r>
                    </a:p>
                  </a:txBody>
                  <a:tcPr marL="53998" marR="53998" marT="27038" marB="2703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9" name="Right Arrow 18"/>
          <p:cNvSpPr/>
          <p:nvPr/>
        </p:nvSpPr>
        <p:spPr>
          <a:xfrm>
            <a:off x="2099278" y="4077073"/>
            <a:ext cx="5040312" cy="182563"/>
          </a:xfrm>
          <a:prstGeom prst="rightArrow">
            <a:avLst/>
          </a:prstGeom>
          <a:gradFill flip="none" rotWithShape="1">
            <a:gsLst>
              <a:gs pos="13000">
                <a:srgbClr val="92D050"/>
              </a:gs>
              <a:gs pos="37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2122368" y="2422996"/>
            <a:ext cx="5040312" cy="184150"/>
          </a:xfrm>
          <a:prstGeom prst="rightArrow">
            <a:avLst/>
          </a:prstGeom>
          <a:gradFill flip="none" rotWithShape="1">
            <a:gsLst>
              <a:gs pos="26000">
                <a:srgbClr val="92D050"/>
              </a:gs>
              <a:gs pos="48000">
                <a:srgbClr val="FF9900"/>
              </a:gs>
              <a:gs pos="33000">
                <a:srgbClr val="F4A310"/>
              </a:gs>
              <a:gs pos="50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2122368" y="2060848"/>
            <a:ext cx="5040312" cy="184150"/>
          </a:xfrm>
          <a:prstGeom prst="rightArrow">
            <a:avLst/>
          </a:prstGeom>
          <a:gradFill flip="none" rotWithShape="1">
            <a:gsLst>
              <a:gs pos="75000">
                <a:srgbClr val="92D050"/>
              </a:gs>
              <a:gs pos="77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2111621" y="3103353"/>
            <a:ext cx="5040312" cy="184150"/>
          </a:xfrm>
          <a:prstGeom prst="rightArrow">
            <a:avLst/>
          </a:prstGeom>
          <a:gradFill flip="none" rotWithShape="1">
            <a:gsLst>
              <a:gs pos="49000">
                <a:srgbClr val="92D050"/>
              </a:gs>
              <a:gs pos="50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2111621" y="2767483"/>
            <a:ext cx="5040312" cy="184150"/>
          </a:xfrm>
          <a:prstGeom prst="rightArrow">
            <a:avLst/>
          </a:prstGeom>
          <a:gradFill flip="none" rotWithShape="1">
            <a:gsLst>
              <a:gs pos="30000">
                <a:srgbClr val="92D050"/>
              </a:gs>
              <a:gs pos="31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sp>
        <p:nvSpPr>
          <p:cNvPr id="26" name="Right Arrow 25"/>
          <p:cNvSpPr/>
          <p:nvPr/>
        </p:nvSpPr>
        <p:spPr>
          <a:xfrm>
            <a:off x="2122368" y="4415309"/>
            <a:ext cx="5040312" cy="184150"/>
          </a:xfrm>
          <a:prstGeom prst="rightArrow">
            <a:avLst/>
          </a:prstGeom>
          <a:gradFill flip="none" rotWithShape="1">
            <a:gsLst>
              <a:gs pos="23000">
                <a:srgbClr val="FFCC00"/>
              </a:gs>
              <a:gs pos="21000">
                <a:srgbClr val="92D050"/>
              </a:gs>
              <a:gs pos="30000">
                <a:srgbClr val="F4A31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3243143" y="1951634"/>
            <a:ext cx="0" cy="3061543"/>
          </a:xfrm>
          <a:prstGeom prst="line">
            <a:avLst/>
          </a:prstGeom>
          <a:ln w="19050">
            <a:solidFill>
              <a:srgbClr val="00196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497528" y="2130191"/>
            <a:ext cx="0" cy="3061543"/>
          </a:xfrm>
          <a:prstGeom prst="line">
            <a:avLst/>
          </a:prstGeom>
          <a:ln w="19050">
            <a:solidFill>
              <a:srgbClr val="00196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5933955" y="1951634"/>
            <a:ext cx="0" cy="3061543"/>
          </a:xfrm>
          <a:prstGeom prst="line">
            <a:avLst/>
          </a:prstGeom>
          <a:ln w="19050">
            <a:solidFill>
              <a:srgbClr val="00196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2421" name="Group 33"/>
          <p:cNvGrpSpPr>
            <a:grpSpLocks/>
          </p:cNvGrpSpPr>
          <p:nvPr/>
        </p:nvGrpSpPr>
        <p:grpSpPr bwMode="auto">
          <a:xfrm>
            <a:off x="7668344" y="2673787"/>
            <a:ext cx="1443570" cy="1142538"/>
            <a:chOff x="184150" y="1987484"/>
            <a:chExt cx="1442583" cy="1142870"/>
          </a:xfrm>
        </p:grpSpPr>
        <p:sp>
          <p:nvSpPr>
            <p:cNvPr id="35" name="Rectangle 34"/>
            <p:cNvSpPr/>
            <p:nvPr/>
          </p:nvSpPr>
          <p:spPr>
            <a:xfrm>
              <a:off x="184150" y="2060658"/>
              <a:ext cx="103117" cy="9527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600" b="1" baseline="0">
                <a:solidFill>
                  <a:srgbClr val="001965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84150" y="2543582"/>
              <a:ext cx="103117" cy="952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600" b="1" baseline="0">
                <a:solidFill>
                  <a:srgbClr val="001965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88910" y="2974947"/>
              <a:ext cx="103116" cy="9527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600" b="1" baseline="0">
                <a:solidFill>
                  <a:srgbClr val="001965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76161" y="2419658"/>
              <a:ext cx="1350572" cy="3232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Kan</a:t>
              </a:r>
              <a:r>
                <a:rPr lang="en-GB" sz="750" b="1" baseline="0" dirty="0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 </a:t>
              </a: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dosisreductie</a:t>
              </a:r>
              <a:r>
                <a:rPr lang="en-GB" sz="750" b="1" baseline="0" dirty="0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 </a:t>
              </a: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vereisen</a:t>
              </a:r>
              <a:r>
                <a:rPr lang="en-GB" sz="750" b="1" baseline="0" dirty="0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 </a:t>
              </a:r>
              <a:endParaRPr lang="en-GB" sz="75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85092" y="2922545"/>
              <a:ext cx="1122357" cy="2078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</a:rPr>
                <a:t>Niet</a:t>
              </a:r>
              <a:r>
                <a:rPr lang="en-GB" sz="750" b="1" baseline="0" dirty="0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</a:rPr>
                <a:t> </a:t>
              </a: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</a:rPr>
                <a:t>aanbevolen</a:t>
              </a:r>
              <a:endParaRPr lang="en-GB" sz="75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61885" y="1987484"/>
              <a:ext cx="1289482" cy="3232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Zonder</a:t>
              </a:r>
              <a:r>
                <a:rPr lang="en-GB" sz="750" b="1" baseline="0" dirty="0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 </a:t>
              </a:r>
              <a:r>
                <a:rPr lang="en-GB" sz="750" b="1" baseline="0" dirty="0" err="1">
                  <a:solidFill>
                    <a:srgbClr val="001965"/>
                  </a:solidFill>
                  <a:latin typeface="Verdana"/>
                  <a:ea typeface="MS PGothic" pitchFamily="34" charset="-128"/>
                  <a:cs typeface="Arial" charset="0"/>
                  <a:sym typeface="Wingdings 2"/>
                </a:rPr>
                <a:t>dosisaanpassing</a:t>
              </a:r>
              <a:endParaRPr lang="en-GB" sz="750" b="1" baseline="0" dirty="0">
                <a:solidFill>
                  <a:srgbClr val="001965"/>
                </a:solidFill>
                <a:latin typeface="Verdana"/>
                <a:ea typeface="MS PGothic" pitchFamily="34" charset="-128"/>
                <a:cs typeface="Arial" charset="0"/>
              </a:endParaRPr>
            </a:p>
          </p:txBody>
        </p:sp>
      </p:grpSp>
      <p:sp>
        <p:nvSpPr>
          <p:cNvPr id="2" name="Left Brace 1"/>
          <p:cNvSpPr/>
          <p:nvPr/>
        </p:nvSpPr>
        <p:spPr bwMode="auto">
          <a:xfrm>
            <a:off x="755576" y="1988841"/>
            <a:ext cx="216024" cy="1982623"/>
          </a:xfrm>
          <a:prstGeom prst="leftBrace">
            <a:avLst/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</a:pPr>
            <a:endParaRPr lang="en-CA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84485" y="2204865"/>
            <a:ext cx="813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600" baseline="0" dirty="0" err="1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Voorzichtige</a:t>
            </a:r>
            <a:r>
              <a:rPr lang="en-CA" sz="600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 </a:t>
            </a:r>
          </a:p>
          <a:p>
            <a:pPr algn="ctr"/>
            <a:r>
              <a:rPr lang="en-CA" sz="600" baseline="0" dirty="0" err="1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dosisverhoging</a:t>
            </a:r>
            <a:r>
              <a:rPr lang="en-CA" sz="600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*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072" y="5670311"/>
            <a:ext cx="89289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* Bij patiënten met matige nierinsufficiëntie (creatinineklaring 30 – 50 ml/min) moet de dosisverhoging van </a:t>
            </a:r>
            <a:r>
              <a:rPr lang="nl-NL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exenatide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5 </a:t>
            </a:r>
            <a:r>
              <a:rPr lang="nl-NL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mcg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naar 10 </a:t>
            </a:r>
            <a:r>
              <a:rPr lang="nl-NL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mcg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voorzichtig worden uitgevoerd</a:t>
            </a:r>
          </a:p>
          <a:p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** Geen </a:t>
            </a:r>
            <a:r>
              <a:rPr lang="nl-NL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dosisaanspassing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vereist voor </a:t>
            </a:r>
            <a:r>
              <a:rPr lang="nl-NL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linagliptine</a:t>
            </a:r>
            <a:endParaRPr lang="nl-NL" sz="800" baseline="0" dirty="0">
              <a:solidFill>
                <a:srgbClr val="FFFFFF">
                  <a:lumMod val="50000"/>
                </a:srgbClr>
              </a:solidFill>
              <a:latin typeface="Verdana" pitchFamily="34" charset="0"/>
              <a:ea typeface="MS PGothic" pitchFamily="34" charset="-128"/>
            </a:endParaRPr>
          </a:p>
          <a:p>
            <a:r>
              <a:rPr lang="en-CA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† 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Het gebruik van </a:t>
            </a:r>
            <a:r>
              <a:rPr lang="nl-NL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saxagliptine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 wordt niet aanbevolen bij patiënten met end-stage nierfalen (ESRD), waarbij nierdialyse is vereist</a:t>
            </a:r>
          </a:p>
          <a:p>
            <a:endParaRPr lang="nl-NL" sz="800" baseline="0" dirty="0">
              <a:solidFill>
                <a:srgbClr val="FFFFFF">
                  <a:lumMod val="50000"/>
                </a:srgbClr>
              </a:solidFill>
              <a:latin typeface="Verdana" pitchFamily="34" charset="0"/>
              <a:ea typeface="MS PGothic" pitchFamily="34" charset="-128"/>
            </a:endParaRPr>
          </a:p>
          <a:p>
            <a:r>
              <a:rPr lang="en-GB" altLang="en-US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DPP-4, </a:t>
            </a:r>
            <a:r>
              <a:rPr lang="en-GB" altLang="en-US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dipeptidyl</a:t>
            </a:r>
            <a:r>
              <a:rPr lang="en-GB" altLang="en-US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peptidase-4; </a:t>
            </a:r>
            <a:r>
              <a:rPr lang="nl-NL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GFR, glomerulaire filtratiesnelheid</a:t>
            </a:r>
            <a:r>
              <a:rPr lang="en-GB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</a:rPr>
              <a:t>; </a:t>
            </a:r>
            <a:r>
              <a:rPr lang="en-GB" altLang="en-US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GLP-1, glucagon-like peptide-1; SGLT2, sodium glucose co-transporter 2</a:t>
            </a:r>
          </a:p>
          <a:p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Bydureon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Nov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Byett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 July 2016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Eperzan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Sept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Forxig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Oct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Galvus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Apr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Invokan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Nov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Januvi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Dec 2017; Jardiance EU SPC Jan 2018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Lyxumi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Mar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Onglyz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Aug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Trajenta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June 2017;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Trulicity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EU SPC </a:t>
            </a:r>
            <a:r>
              <a:rPr lang="en-GB" sz="800" baseline="0" dirty="0" err="1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Febr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2018</a:t>
            </a:r>
            <a:r>
              <a:rPr lang="en-GB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; Victoza EU SPC Sept 2017; </a:t>
            </a:r>
            <a:r>
              <a:rPr lang="en-GB" sz="800" baseline="0" dirty="0" err="1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Vipidia</a:t>
            </a:r>
            <a:r>
              <a:rPr lang="en-GB" sz="800" baseline="0" dirty="0">
                <a:solidFill>
                  <a:srgbClr val="FFFFFF">
                    <a:lumMod val="50000"/>
                  </a:srgbClr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 </a:t>
            </a:r>
            <a:r>
              <a:rPr lang="en-GB" sz="800" baseline="0" dirty="0">
                <a:solidFill>
                  <a:srgbClr val="7F7F7F"/>
                </a:solidFill>
                <a:latin typeface="Verdana" pitchFamily="34" charset="0"/>
                <a:ea typeface="MS PGothic" pitchFamily="34" charset="-128"/>
                <a:cs typeface="Arial" pitchFamily="34" charset="0"/>
              </a:rPr>
              <a:t>EU SPC Jan 2015</a:t>
            </a:r>
            <a:endParaRPr lang="en-CA" sz="800" baseline="0" dirty="0">
              <a:solidFill>
                <a:srgbClr val="FFFFFF">
                  <a:lumMod val="50000"/>
                </a:srgbClr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480146" y="4287182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600" baseline="0" dirty="0" err="1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Dosisreductie</a:t>
            </a:r>
            <a:r>
              <a:rPr lang="en-CA" sz="600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**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848298" y="4291940"/>
            <a:ext cx="80342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600" baseline="0" dirty="0" err="1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Dosisreductie</a:t>
            </a:r>
            <a:r>
              <a:rPr lang="en-CA" sz="600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**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166756" y="4291940"/>
            <a:ext cx="85311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600" baseline="0" dirty="0" err="1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Dosisreductie</a:t>
            </a:r>
            <a:r>
              <a:rPr lang="en-CA" sz="600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**†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36512" y="2751312"/>
            <a:ext cx="7553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800" b="1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GLP-1 </a:t>
            </a:r>
          </a:p>
          <a:p>
            <a:pPr algn="r"/>
            <a:r>
              <a:rPr lang="en-CA" sz="800" b="1" baseline="0" dirty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receptor-</a:t>
            </a:r>
          </a:p>
          <a:p>
            <a:pPr algn="r"/>
            <a:r>
              <a:rPr lang="en-CA" sz="800" b="1" baseline="0" dirty="0" err="1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t>agonisten</a:t>
            </a:r>
            <a:endParaRPr lang="en-CA" sz="800" b="1" baseline="0" dirty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31" name="Right Arrow 30"/>
          <p:cNvSpPr/>
          <p:nvPr/>
        </p:nvSpPr>
        <p:spPr>
          <a:xfrm>
            <a:off x="2099278" y="3390329"/>
            <a:ext cx="5040312" cy="184150"/>
          </a:xfrm>
          <a:prstGeom prst="rightArrow">
            <a:avLst/>
          </a:prstGeom>
          <a:gradFill flip="none" rotWithShape="1">
            <a:gsLst>
              <a:gs pos="49000">
                <a:srgbClr val="92D050"/>
              </a:gs>
              <a:gs pos="50000">
                <a:srgbClr val="FF000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2400" b="1" baseline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662451"/>
      </p:ext>
    </p:extLst>
  </p:cSld>
  <p:clrMapOvr>
    <a:masterClrMapping/>
  </p:clrMapOvr>
  <p:transition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nl-BE" altLang="nl-BE" sz="2800" dirty="0" err="1">
                <a:ea typeface="Geneva"/>
                <a:cs typeface="Geneva"/>
              </a:rPr>
              <a:t>Insulines</a:t>
            </a:r>
            <a:endParaRPr lang="nl-BE" altLang="nl-BE" sz="2800" dirty="0">
              <a:ea typeface="Geneva"/>
              <a:cs typeface="Geneva"/>
            </a:endParaRPr>
          </a:p>
        </p:txBody>
      </p:sp>
      <p:sp>
        <p:nvSpPr>
          <p:cNvPr id="112643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>
                <a:ea typeface="Geneva"/>
                <a:cs typeface="Geneva"/>
              </a:rPr>
              <a:t>Snelwerkende insuline-analogen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Novorapid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100 E, </a:t>
            </a:r>
            <a:r>
              <a:rPr lang="nl-BE" altLang="nl-BE" sz="1600" b="1" i="1" dirty="0" err="1">
                <a:ea typeface="Geneva"/>
                <a:cs typeface="Geneva"/>
                <a:sym typeface="Wingdings" panose="05000000000000000000" pitchFamily="2" charset="2"/>
              </a:rPr>
              <a:t>Fiasp</a:t>
            </a:r>
            <a:r>
              <a:rPr lang="nl-BE" altLang="nl-BE" sz="1600" b="1" i="1" dirty="0">
                <a:ea typeface="Geneva"/>
                <a:cs typeface="Geneva"/>
                <a:sym typeface="Wingdings" panose="05000000000000000000" pitchFamily="2" charset="2"/>
              </a:rPr>
              <a:t> 100 E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Humalog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100 E, </a:t>
            </a:r>
            <a:r>
              <a:rPr lang="nl-BE" altLang="nl-BE" sz="1600" b="1" i="1" dirty="0" err="1">
                <a:ea typeface="Geneva"/>
                <a:cs typeface="Geneva"/>
                <a:sym typeface="Wingdings" panose="05000000000000000000" pitchFamily="2" charset="2"/>
              </a:rPr>
              <a:t>Humalog</a:t>
            </a:r>
            <a:r>
              <a:rPr lang="nl-BE" altLang="nl-BE" sz="1600" b="1" i="1" dirty="0">
                <a:ea typeface="Geneva"/>
                <a:cs typeface="Geneva"/>
                <a:sym typeface="Wingdings" panose="05000000000000000000" pitchFamily="2" charset="2"/>
              </a:rPr>
              <a:t> 200 E 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en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Apidra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100 E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Snelwerkende humane insuline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Actrapid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Insuman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rapid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Humuline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regular</a:t>
            </a:r>
            <a:endParaRPr lang="nl-BE" altLang="nl-BE" sz="1600" i="1" dirty="0">
              <a:ea typeface="Geneva"/>
              <a:cs typeface="Geneva"/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Humane insuline met intermediaire werkingsduur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Insulatard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Insuman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basal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Humuline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NPH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Langwerkende insuline-analogen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Lantus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Levemir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b="1" i="1" dirty="0" err="1">
                <a:ea typeface="Geneva"/>
                <a:cs typeface="Geneva"/>
                <a:sym typeface="Wingdings" panose="05000000000000000000" pitchFamily="2" charset="2"/>
              </a:rPr>
              <a:t>Abasaglar</a:t>
            </a:r>
            <a:r>
              <a:rPr lang="nl-BE" altLang="nl-BE" sz="1600" b="1" i="1" dirty="0">
                <a:ea typeface="Geneva"/>
                <a:cs typeface="Geneva"/>
                <a:sym typeface="Wingdings" panose="05000000000000000000" pitchFamily="2" charset="2"/>
              </a:rPr>
              <a:t>, </a:t>
            </a:r>
            <a:r>
              <a:rPr lang="nl-BE" altLang="nl-BE" sz="1600" b="1" i="1" dirty="0" err="1">
                <a:ea typeface="Geneva"/>
                <a:cs typeface="Geneva"/>
                <a:sym typeface="Wingdings" panose="05000000000000000000" pitchFamily="2" charset="2"/>
              </a:rPr>
              <a:t>Toujeo</a:t>
            </a:r>
            <a:r>
              <a:rPr lang="nl-BE" altLang="nl-BE" sz="1600" b="1" i="1" dirty="0">
                <a:ea typeface="Geneva"/>
                <a:cs typeface="Geneva"/>
                <a:sym typeface="Wingdings" panose="05000000000000000000" pitchFamily="2" charset="2"/>
              </a:rPr>
              <a:t> 300 E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 err="1">
                <a:ea typeface="Geneva"/>
                <a:cs typeface="Geneva"/>
                <a:sym typeface="Wingdings" panose="05000000000000000000" pitchFamily="2" charset="2"/>
              </a:rPr>
              <a:t>Menginsulines</a:t>
            </a:r>
            <a:endParaRPr lang="nl-BE" altLang="nl-BE" dirty="0">
              <a:ea typeface="Geneva"/>
              <a:cs typeface="Geneva"/>
              <a:sym typeface="Wingdings" panose="05000000000000000000" pitchFamily="2" charset="2"/>
            </a:endParaRPr>
          </a:p>
          <a:p>
            <a:pPr>
              <a:buFont typeface="Wingdings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Humuline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NPH 30/70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Novomix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30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Novomix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50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Novomix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70, </a:t>
            </a:r>
          </a:p>
          <a:p>
            <a:pPr marL="0" indent="0">
              <a:buFontTx/>
              <a:buNone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Humalog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mix 25,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Humalog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mix 50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endParaRPr lang="nl-BE" altLang="nl-BE" i="1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  <a:p>
            <a:pPr>
              <a:defRPr/>
            </a:pPr>
            <a:endParaRPr lang="nl-BE" altLang="nl-BE" dirty="0">
              <a:ea typeface="Geneva"/>
              <a:cs typeface="Geneva"/>
            </a:endParaRPr>
          </a:p>
        </p:txBody>
      </p:sp>
      <p:sp>
        <p:nvSpPr>
          <p:cNvPr id="153604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3FEDEE2-633B-446C-A4C7-39E8DBCA339D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6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4008480" y="3290501"/>
            <a:ext cx="1847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endParaRPr lang="nl-BE" altLang="nl-BE" i="1" dirty="0">
              <a:ea typeface="Geneva"/>
              <a:cs typeface="Geneva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632860638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 err="1"/>
              <a:t>Insulines</a:t>
            </a:r>
            <a:endParaRPr lang="nl-BE" sz="2800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57</a:t>
            </a:fld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399" y="2047954"/>
            <a:ext cx="8010296" cy="244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0572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6" name="Title 1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/>
          <a:p>
            <a:pPr>
              <a:defRPr/>
            </a:pPr>
            <a:r>
              <a:rPr lang="en-GB" sz="2200" dirty="0"/>
              <a:t>Ultra-fast insulin: approaching a physiological insulin profile even further</a:t>
            </a:r>
            <a:endParaRPr lang="en-GB" sz="2200" b="0" cap="all" dirty="0"/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4794241" y="1848501"/>
            <a:ext cx="3687232" cy="145582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marL="182563" indent="-182563" fontAlgn="auto">
              <a:spcBef>
                <a:spcPts val="0"/>
              </a:spcBef>
              <a:spcAft>
                <a:spcPts val="0"/>
              </a:spcAft>
            </a:pPr>
            <a:endParaRPr lang="en-GB" sz="1400" dirty="0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122747" y="2195407"/>
            <a:ext cx="697299" cy="46485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7" name="Text Box 18"/>
          <p:cNvSpPr txBox="1">
            <a:spLocks noChangeAspect="1" noChangeArrowheads="1"/>
          </p:cNvSpPr>
          <p:nvPr/>
        </p:nvSpPr>
        <p:spPr bwMode="auto">
          <a:xfrm>
            <a:off x="1829599" y="3127009"/>
            <a:ext cx="2846280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>
                <a:solidFill>
                  <a:srgbClr val="001423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600">
                <a:solidFill>
                  <a:srgbClr val="001423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400">
                <a:solidFill>
                  <a:srgbClr val="001423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200">
                <a:solidFill>
                  <a:srgbClr val="001423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None/>
            </a:pPr>
            <a:r>
              <a:rPr lang="en-GB" altLang="en-US" sz="1100" dirty="0">
                <a:solidFill>
                  <a:srgbClr val="001965"/>
                </a:solidFill>
                <a:ea typeface="ＭＳ Ｐゴシック" pitchFamily="34" charset="-128"/>
              </a:rPr>
              <a:t>Rapid-acting insulin </a:t>
            </a:r>
          </a:p>
        </p:txBody>
      </p:sp>
      <p:grpSp>
        <p:nvGrpSpPr>
          <p:cNvPr id="40" name="Group 3"/>
          <p:cNvGrpSpPr>
            <a:grpSpLocks/>
          </p:cNvGrpSpPr>
          <p:nvPr/>
        </p:nvGrpSpPr>
        <p:grpSpPr bwMode="auto">
          <a:xfrm>
            <a:off x="387932" y="2292493"/>
            <a:ext cx="6921429" cy="3193823"/>
            <a:chOff x="436" y="670"/>
            <a:chExt cx="4978" cy="2683"/>
          </a:xfrm>
        </p:grpSpPr>
        <p:sp>
          <p:nvSpPr>
            <p:cNvPr id="43" name="Line 4"/>
            <p:cNvSpPr>
              <a:spLocks noChangeShapeType="1"/>
            </p:cNvSpPr>
            <p:nvPr/>
          </p:nvSpPr>
          <p:spPr bwMode="auto">
            <a:xfrm>
              <a:off x="654" y="3086"/>
              <a:ext cx="4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9200" tIns="39600" rIns="79200" bIns="3960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1965"/>
                </a:solidFill>
                <a:latin typeface="Verdana"/>
              </a:endParaRPr>
            </a:p>
          </p:txBody>
        </p:sp>
        <p:grpSp>
          <p:nvGrpSpPr>
            <p:cNvPr id="46" name="Group 6"/>
            <p:cNvGrpSpPr>
              <a:grpSpLocks/>
            </p:cNvGrpSpPr>
            <p:nvPr/>
          </p:nvGrpSpPr>
          <p:grpSpPr bwMode="auto">
            <a:xfrm>
              <a:off x="2677" y="3143"/>
              <a:ext cx="1670" cy="210"/>
              <a:chOff x="3364" y="3116"/>
              <a:chExt cx="1172" cy="198"/>
            </a:xfrm>
          </p:grpSpPr>
          <p:sp>
            <p:nvSpPr>
              <p:cNvPr id="49" name="Text Box 9"/>
              <p:cNvSpPr txBox="1">
                <a:spLocks noChangeArrowheads="1"/>
              </p:cNvSpPr>
              <p:nvPr/>
            </p:nvSpPr>
            <p:spPr bwMode="auto">
              <a:xfrm>
                <a:off x="3364" y="3116"/>
                <a:ext cx="494" cy="1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>
                    <a:solidFill>
                      <a:srgbClr val="001423"/>
                    </a:solidFill>
                    <a:latin typeface="Verdana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600">
                    <a:solidFill>
                      <a:srgbClr val="001423"/>
                    </a:solidFill>
                    <a:latin typeface="Verdana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400">
                    <a:solidFill>
                      <a:srgbClr val="001423"/>
                    </a:solidFill>
                    <a:latin typeface="Verdana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200">
                    <a:solidFill>
                      <a:srgbClr val="001423"/>
                    </a:solidFill>
                    <a:latin typeface="Verdana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9pPr>
              </a:lstStyle>
              <a:p>
                <a:pPr algn="ctr" fontAlgn="auto"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None/>
                </a:pPr>
                <a:r>
                  <a:rPr lang="en-GB" altLang="en-US" sz="1100" dirty="0">
                    <a:solidFill>
                      <a:srgbClr val="001965"/>
                    </a:solidFill>
                    <a:ea typeface="ＭＳ Ｐゴシック" pitchFamily="34" charset="-128"/>
                  </a:rPr>
                  <a:t>Time (h)</a:t>
                </a:r>
              </a:p>
            </p:txBody>
          </p:sp>
          <p:sp>
            <p:nvSpPr>
              <p:cNvPr id="52" name="Text Box 7"/>
              <p:cNvSpPr txBox="1">
                <a:spLocks noChangeArrowheads="1"/>
              </p:cNvSpPr>
              <p:nvPr/>
            </p:nvSpPr>
            <p:spPr bwMode="auto">
              <a:xfrm>
                <a:off x="4195" y="3173"/>
                <a:ext cx="341" cy="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>
                    <a:solidFill>
                      <a:srgbClr val="001423"/>
                    </a:solidFill>
                    <a:latin typeface="Verdana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600">
                    <a:solidFill>
                      <a:srgbClr val="001423"/>
                    </a:solidFill>
                    <a:latin typeface="Verdana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400">
                    <a:solidFill>
                      <a:srgbClr val="001423"/>
                    </a:solidFill>
                    <a:latin typeface="Verdana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200">
                    <a:solidFill>
                      <a:srgbClr val="001423"/>
                    </a:solidFill>
                    <a:latin typeface="Verdana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EA79F"/>
                  </a:buClr>
                  <a:buFont typeface="Verdana" pitchFamily="34" charset="0"/>
                  <a:buChar char="•"/>
                  <a:defRPr sz="1100">
                    <a:solidFill>
                      <a:srgbClr val="001423"/>
                    </a:solidFill>
                    <a:latin typeface="Verdana" pitchFamily="34" charset="0"/>
                  </a:defRPr>
                </a:lvl9pPr>
              </a:lstStyle>
              <a:p>
                <a:pPr algn="ctr" fontAlgn="auto">
                  <a:spcBef>
                    <a:spcPct val="0"/>
                  </a:spcBef>
                  <a:spcAft>
                    <a:spcPts val="0"/>
                  </a:spcAft>
                  <a:buClrTx/>
                  <a:buSzPct val="90000"/>
                  <a:buNone/>
                </a:pPr>
                <a:endParaRPr lang="en-GB" altLang="en-US" sz="1100" dirty="0">
                  <a:solidFill>
                    <a:srgbClr val="001965"/>
                  </a:solidFill>
                  <a:ea typeface="ＭＳ Ｐゴシック" pitchFamily="34" charset="-128"/>
                </a:endParaRPr>
              </a:p>
            </p:txBody>
          </p:sp>
        </p:grpSp>
        <p:sp>
          <p:nvSpPr>
            <p:cNvPr id="47" name="Text Box 13"/>
            <p:cNvSpPr txBox="1">
              <a:spLocks noChangeArrowheads="1"/>
            </p:cNvSpPr>
            <p:nvPr/>
          </p:nvSpPr>
          <p:spPr bwMode="auto">
            <a:xfrm rot="16200000">
              <a:off x="-575" y="1771"/>
              <a:ext cx="2139" cy="1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/>
            <a:lstStyle>
              <a:lvl1pPr eaLnBrk="0" hangingPunct="0">
                <a:spcBef>
                  <a:spcPct val="20000"/>
                </a:spcBef>
                <a:buClr>
                  <a:srgbClr val="AEA79F"/>
                </a:buClr>
                <a:buFont typeface="Verdana" pitchFamily="34" charset="0"/>
                <a:buChar char="•"/>
                <a:defRPr>
                  <a:solidFill>
                    <a:srgbClr val="001423"/>
                  </a:solidFill>
                  <a:latin typeface="Verdan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AEA79F"/>
                </a:buClr>
                <a:buFont typeface="Verdana" pitchFamily="34" charset="0"/>
                <a:buChar char="•"/>
                <a:defRPr sz="1600">
                  <a:solidFill>
                    <a:srgbClr val="001423"/>
                  </a:solidFill>
                  <a:latin typeface="Verdan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AEA79F"/>
                </a:buClr>
                <a:buFont typeface="Verdana" pitchFamily="34" charset="0"/>
                <a:buChar char="•"/>
                <a:defRPr sz="1400">
                  <a:solidFill>
                    <a:srgbClr val="001423"/>
                  </a:solidFill>
                  <a:latin typeface="Verdan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AEA79F"/>
                </a:buClr>
                <a:buFont typeface="Verdana" pitchFamily="34" charset="0"/>
                <a:buChar char="•"/>
                <a:defRPr sz="1200">
                  <a:solidFill>
                    <a:srgbClr val="001423"/>
                  </a:solidFill>
                  <a:latin typeface="Verdan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AEA79F"/>
                </a:buClr>
                <a:buFont typeface="Verdana" pitchFamily="34" charset="0"/>
                <a:buChar char="•"/>
                <a:defRPr sz="1100">
                  <a:solidFill>
                    <a:srgbClr val="001423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EA79F"/>
                </a:buClr>
                <a:buFont typeface="Verdana" pitchFamily="34" charset="0"/>
                <a:buChar char="•"/>
                <a:defRPr sz="1100">
                  <a:solidFill>
                    <a:srgbClr val="001423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EA79F"/>
                </a:buClr>
                <a:buFont typeface="Verdana" pitchFamily="34" charset="0"/>
                <a:buChar char="•"/>
                <a:defRPr sz="1100">
                  <a:solidFill>
                    <a:srgbClr val="001423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EA79F"/>
                </a:buClr>
                <a:buFont typeface="Verdana" pitchFamily="34" charset="0"/>
                <a:buChar char="•"/>
                <a:defRPr sz="1100">
                  <a:solidFill>
                    <a:srgbClr val="001423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AEA79F"/>
                </a:buClr>
                <a:buFont typeface="Verdana" pitchFamily="34" charset="0"/>
                <a:buChar char="•"/>
                <a:defRPr sz="1100">
                  <a:solidFill>
                    <a:srgbClr val="001423"/>
                  </a:solidFill>
                  <a:latin typeface="Verdana" pitchFamily="34" charset="0"/>
                </a:defRPr>
              </a:lvl9pPr>
            </a:lstStyle>
            <a:p>
              <a:pPr algn="ctr" fontAlgn="auto">
                <a:spcBef>
                  <a:spcPct val="0"/>
                </a:spcBef>
                <a:spcAft>
                  <a:spcPts val="0"/>
                </a:spcAft>
                <a:buClrTx/>
                <a:buSzPct val="90000"/>
                <a:buNone/>
              </a:pPr>
              <a:r>
                <a:rPr lang="en-GB" altLang="en-US" sz="1100" dirty="0">
                  <a:solidFill>
                    <a:srgbClr val="001965"/>
                  </a:solidFill>
                  <a:ea typeface="ＭＳ Ｐゴシック" pitchFamily="34" charset="-128"/>
                </a:rPr>
                <a:t>Insulin action (at mealtime)*</a:t>
              </a:r>
            </a:p>
          </p:txBody>
        </p:sp>
        <p:sp>
          <p:nvSpPr>
            <p:cNvPr id="44" name="Line 5"/>
            <p:cNvSpPr>
              <a:spLocks noChangeShapeType="1"/>
            </p:cNvSpPr>
            <p:nvPr/>
          </p:nvSpPr>
          <p:spPr bwMode="auto">
            <a:xfrm flipV="1">
              <a:off x="648" y="670"/>
              <a:ext cx="6" cy="2422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9200" tIns="39600" rIns="79200" bIns="3960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1965"/>
                </a:solidFill>
                <a:latin typeface="Verdana"/>
              </a:endParaRPr>
            </a:p>
          </p:txBody>
        </p:sp>
      </p:grpSp>
      <p:sp>
        <p:nvSpPr>
          <p:cNvPr id="56" name="Text Box 15"/>
          <p:cNvSpPr txBox="1">
            <a:spLocks noChangeAspect="1" noChangeArrowheads="1"/>
          </p:cNvSpPr>
          <p:nvPr/>
        </p:nvSpPr>
        <p:spPr bwMode="auto">
          <a:xfrm>
            <a:off x="1084572" y="2446885"/>
            <a:ext cx="2812786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>
                <a:solidFill>
                  <a:srgbClr val="001423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600">
                <a:solidFill>
                  <a:srgbClr val="001423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400">
                <a:solidFill>
                  <a:srgbClr val="001423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200">
                <a:solidFill>
                  <a:srgbClr val="001423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None/>
            </a:pPr>
            <a:r>
              <a:rPr lang="en-GB" altLang="en-US" sz="1100" dirty="0">
                <a:solidFill>
                  <a:srgbClr val="009FDA"/>
                </a:solidFill>
                <a:ea typeface="ＭＳ Ｐゴシック" pitchFamily="34" charset="-128"/>
              </a:rPr>
              <a:t>From the normal pancreas</a:t>
            </a:r>
          </a:p>
        </p:txBody>
      </p:sp>
      <p:sp>
        <p:nvSpPr>
          <p:cNvPr id="57" name="Text Box 18"/>
          <p:cNvSpPr txBox="1">
            <a:spLocks noChangeAspect="1" noChangeArrowheads="1"/>
          </p:cNvSpPr>
          <p:nvPr/>
        </p:nvSpPr>
        <p:spPr bwMode="auto">
          <a:xfrm>
            <a:off x="1272728" y="2731394"/>
            <a:ext cx="3729361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>
                <a:solidFill>
                  <a:srgbClr val="001423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600">
                <a:solidFill>
                  <a:srgbClr val="001423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400">
                <a:solidFill>
                  <a:srgbClr val="001423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200">
                <a:solidFill>
                  <a:srgbClr val="001423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None/>
            </a:pPr>
            <a:r>
              <a:rPr lang="en-GB" altLang="en-US" sz="1100" dirty="0">
                <a:solidFill>
                  <a:srgbClr val="E64A0E"/>
                </a:solidFill>
                <a:ea typeface="ＭＳ Ｐゴシック" pitchFamily="34" charset="-128"/>
              </a:rPr>
              <a:t>‘Ultra-fast’ insulin </a:t>
            </a:r>
          </a:p>
        </p:txBody>
      </p:sp>
      <p:sp>
        <p:nvSpPr>
          <p:cNvPr id="58" name="Text Box 21"/>
          <p:cNvSpPr txBox="1">
            <a:spLocks noChangeAspect="1" noChangeArrowheads="1"/>
          </p:cNvSpPr>
          <p:nvPr/>
        </p:nvSpPr>
        <p:spPr bwMode="auto">
          <a:xfrm>
            <a:off x="3943365" y="4002133"/>
            <a:ext cx="2855890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>
                <a:solidFill>
                  <a:srgbClr val="001423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600">
                <a:solidFill>
                  <a:srgbClr val="001423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400">
                <a:solidFill>
                  <a:srgbClr val="001423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200">
                <a:solidFill>
                  <a:srgbClr val="001423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AEA79F"/>
              </a:buClr>
              <a:buFont typeface="Verdana" pitchFamily="34" charset="0"/>
              <a:buChar char="•"/>
              <a:defRPr sz="1100">
                <a:solidFill>
                  <a:srgbClr val="001423"/>
                </a:solidFill>
                <a:latin typeface="Verdana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None/>
            </a:pPr>
            <a:r>
              <a:rPr lang="en-GB" altLang="en-US" sz="1100" dirty="0">
                <a:solidFill>
                  <a:srgbClr val="82786F"/>
                </a:solidFill>
                <a:ea typeface="ＭＳ Ｐゴシック" pitchFamily="34" charset="-128"/>
              </a:rPr>
              <a:t>Regular human insulin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4614156" y="2043277"/>
            <a:ext cx="4216113" cy="1408466"/>
          </a:xfrm>
          <a:prstGeom prst="roundRect">
            <a:avLst>
              <a:gd name="adj" fmla="val 16472"/>
            </a:avLst>
          </a:prstGeom>
          <a:noFill/>
          <a:ln w="28575" cap="flat" cmpd="sng" algn="ctr">
            <a:solidFill>
              <a:schemeClr val="accent1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182563" indent="-182563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1965"/>
                </a:solidFill>
                <a:ea typeface="MS PGothic" pitchFamily="34" charset="-128"/>
                <a:cs typeface="Arial" pitchFamily="34" charset="0"/>
              </a:rPr>
              <a:t>Ultra-fast insulin should:</a:t>
            </a:r>
          </a:p>
          <a:p>
            <a:pPr marL="285750" indent="-285750" defTabSz="1219200" fontAlgn="auto">
              <a:spcBef>
                <a:spcPct val="10000"/>
              </a:spcBef>
              <a:spcAft>
                <a:spcPts val="0"/>
              </a:spcAft>
              <a:buClr>
                <a:srgbClr val="001965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1965"/>
                </a:solidFill>
                <a:cs typeface="Arial" pitchFamily="34" charset="0"/>
              </a:rPr>
              <a:t>Better approach physiological insulin secretion in T1D</a:t>
            </a:r>
          </a:p>
          <a:p>
            <a:pPr marL="285750" indent="-285750" defTabSz="1219200" fontAlgn="auto">
              <a:spcBef>
                <a:spcPct val="10000"/>
              </a:spcBef>
              <a:spcAft>
                <a:spcPts val="0"/>
              </a:spcAft>
              <a:buClr>
                <a:srgbClr val="001965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1965"/>
                </a:solidFill>
                <a:cs typeface="Arial" pitchFamily="34" charset="0"/>
              </a:rPr>
              <a:t>Replace early insulin secretion in T2D</a:t>
            </a:r>
          </a:p>
          <a:p>
            <a:pPr marL="285750" indent="-285750" defTabSz="1219200" fontAlgn="auto">
              <a:spcBef>
                <a:spcPct val="10000"/>
              </a:spcBef>
              <a:spcAft>
                <a:spcPts val="0"/>
              </a:spcAft>
              <a:buClr>
                <a:srgbClr val="001965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1965"/>
                </a:solidFill>
                <a:cs typeface="Arial" pitchFamily="34" charset="0"/>
              </a:rPr>
              <a:t>Have a better profile for pump therap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200" dirty="0">
              <a:solidFill>
                <a:srgbClr val="001965"/>
              </a:solidFill>
              <a:sym typeface="Verdana"/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690443" y="3732828"/>
            <a:ext cx="5303520" cy="1107273"/>
          </a:xfrm>
          <a:custGeom>
            <a:avLst/>
            <a:gdLst>
              <a:gd name="connsiteX0" fmla="*/ 0 w 5303520"/>
              <a:gd name="connsiteY0" fmla="*/ 846016 h 1107273"/>
              <a:gd name="connsiteX1" fmla="*/ 174172 w 5303520"/>
              <a:gd name="connsiteY1" fmla="*/ 898267 h 1107273"/>
              <a:gd name="connsiteX2" fmla="*/ 418012 w 5303520"/>
              <a:gd name="connsiteY2" fmla="*/ 732804 h 1107273"/>
              <a:gd name="connsiteX3" fmla="*/ 757646 w 5303520"/>
              <a:gd name="connsiteY3" fmla="*/ 358336 h 1107273"/>
              <a:gd name="connsiteX4" fmla="*/ 1314995 w 5303520"/>
              <a:gd name="connsiteY4" fmla="*/ 88370 h 1107273"/>
              <a:gd name="connsiteX5" fmla="*/ 1933303 w 5303520"/>
              <a:gd name="connsiteY5" fmla="*/ 1284 h 1107273"/>
              <a:gd name="connsiteX6" fmla="*/ 2682240 w 5303520"/>
              <a:gd name="connsiteY6" fmla="*/ 140621 h 1107273"/>
              <a:gd name="connsiteX7" fmla="*/ 3387635 w 5303520"/>
              <a:gd name="connsiteY7" fmla="*/ 602176 h 1107273"/>
              <a:gd name="connsiteX8" fmla="*/ 3979818 w 5303520"/>
              <a:gd name="connsiteY8" fmla="*/ 837307 h 1107273"/>
              <a:gd name="connsiteX9" fmla="*/ 4824549 w 5303520"/>
              <a:gd name="connsiteY9" fmla="*/ 1037604 h 1107273"/>
              <a:gd name="connsiteX10" fmla="*/ 5303520 w 5303520"/>
              <a:gd name="connsiteY10" fmla="*/ 1107273 h 1107273"/>
              <a:gd name="connsiteX0" fmla="*/ 0 w 5303520"/>
              <a:gd name="connsiteY0" fmla="*/ 846016 h 1107273"/>
              <a:gd name="connsiteX1" fmla="*/ 418012 w 5303520"/>
              <a:gd name="connsiteY1" fmla="*/ 732804 h 1107273"/>
              <a:gd name="connsiteX2" fmla="*/ 757646 w 5303520"/>
              <a:gd name="connsiteY2" fmla="*/ 358336 h 1107273"/>
              <a:gd name="connsiteX3" fmla="*/ 1314995 w 5303520"/>
              <a:gd name="connsiteY3" fmla="*/ 88370 h 1107273"/>
              <a:gd name="connsiteX4" fmla="*/ 1933303 w 5303520"/>
              <a:gd name="connsiteY4" fmla="*/ 1284 h 1107273"/>
              <a:gd name="connsiteX5" fmla="*/ 2682240 w 5303520"/>
              <a:gd name="connsiteY5" fmla="*/ 140621 h 1107273"/>
              <a:gd name="connsiteX6" fmla="*/ 3387635 w 5303520"/>
              <a:gd name="connsiteY6" fmla="*/ 602176 h 1107273"/>
              <a:gd name="connsiteX7" fmla="*/ 3979818 w 5303520"/>
              <a:gd name="connsiteY7" fmla="*/ 837307 h 1107273"/>
              <a:gd name="connsiteX8" fmla="*/ 4824549 w 5303520"/>
              <a:gd name="connsiteY8" fmla="*/ 1037604 h 1107273"/>
              <a:gd name="connsiteX9" fmla="*/ 5303520 w 5303520"/>
              <a:gd name="connsiteY9" fmla="*/ 1107273 h 1107273"/>
              <a:gd name="connsiteX0" fmla="*/ 0 w 5303520"/>
              <a:gd name="connsiteY0" fmla="*/ 846016 h 1107273"/>
              <a:gd name="connsiteX1" fmla="*/ 207805 w 5303520"/>
              <a:gd name="connsiteY1" fmla="*/ 806377 h 1107273"/>
              <a:gd name="connsiteX2" fmla="*/ 757646 w 5303520"/>
              <a:gd name="connsiteY2" fmla="*/ 358336 h 1107273"/>
              <a:gd name="connsiteX3" fmla="*/ 1314995 w 5303520"/>
              <a:gd name="connsiteY3" fmla="*/ 88370 h 1107273"/>
              <a:gd name="connsiteX4" fmla="*/ 1933303 w 5303520"/>
              <a:gd name="connsiteY4" fmla="*/ 1284 h 1107273"/>
              <a:gd name="connsiteX5" fmla="*/ 2682240 w 5303520"/>
              <a:gd name="connsiteY5" fmla="*/ 140621 h 1107273"/>
              <a:gd name="connsiteX6" fmla="*/ 3387635 w 5303520"/>
              <a:gd name="connsiteY6" fmla="*/ 602176 h 1107273"/>
              <a:gd name="connsiteX7" fmla="*/ 3979818 w 5303520"/>
              <a:gd name="connsiteY7" fmla="*/ 837307 h 1107273"/>
              <a:gd name="connsiteX8" fmla="*/ 4824549 w 5303520"/>
              <a:gd name="connsiteY8" fmla="*/ 1037604 h 1107273"/>
              <a:gd name="connsiteX9" fmla="*/ 5303520 w 5303520"/>
              <a:gd name="connsiteY9" fmla="*/ 1107273 h 1107273"/>
              <a:gd name="connsiteX0" fmla="*/ 0 w 5303520"/>
              <a:gd name="connsiteY0" fmla="*/ 846016 h 1107273"/>
              <a:gd name="connsiteX1" fmla="*/ 207805 w 5303520"/>
              <a:gd name="connsiteY1" fmla="*/ 806377 h 1107273"/>
              <a:gd name="connsiteX2" fmla="*/ 757646 w 5303520"/>
              <a:gd name="connsiteY2" fmla="*/ 358336 h 1107273"/>
              <a:gd name="connsiteX3" fmla="*/ 1314995 w 5303520"/>
              <a:gd name="connsiteY3" fmla="*/ 88370 h 1107273"/>
              <a:gd name="connsiteX4" fmla="*/ 1933303 w 5303520"/>
              <a:gd name="connsiteY4" fmla="*/ 1284 h 1107273"/>
              <a:gd name="connsiteX5" fmla="*/ 2682240 w 5303520"/>
              <a:gd name="connsiteY5" fmla="*/ 140621 h 1107273"/>
              <a:gd name="connsiteX6" fmla="*/ 3387635 w 5303520"/>
              <a:gd name="connsiteY6" fmla="*/ 602176 h 1107273"/>
              <a:gd name="connsiteX7" fmla="*/ 3979818 w 5303520"/>
              <a:gd name="connsiteY7" fmla="*/ 837307 h 1107273"/>
              <a:gd name="connsiteX8" fmla="*/ 4824549 w 5303520"/>
              <a:gd name="connsiteY8" fmla="*/ 1037604 h 1107273"/>
              <a:gd name="connsiteX9" fmla="*/ 5303520 w 5303520"/>
              <a:gd name="connsiteY9" fmla="*/ 1107273 h 1107273"/>
              <a:gd name="connsiteX0" fmla="*/ 0 w 5303520"/>
              <a:gd name="connsiteY0" fmla="*/ 846016 h 1107273"/>
              <a:gd name="connsiteX1" fmla="*/ 207805 w 5303520"/>
              <a:gd name="connsiteY1" fmla="*/ 806377 h 1107273"/>
              <a:gd name="connsiteX2" fmla="*/ 757646 w 5303520"/>
              <a:gd name="connsiteY2" fmla="*/ 358336 h 1107273"/>
              <a:gd name="connsiteX3" fmla="*/ 1314995 w 5303520"/>
              <a:gd name="connsiteY3" fmla="*/ 88370 h 1107273"/>
              <a:gd name="connsiteX4" fmla="*/ 1933303 w 5303520"/>
              <a:gd name="connsiteY4" fmla="*/ 1284 h 1107273"/>
              <a:gd name="connsiteX5" fmla="*/ 2682240 w 5303520"/>
              <a:gd name="connsiteY5" fmla="*/ 140621 h 1107273"/>
              <a:gd name="connsiteX6" fmla="*/ 3387635 w 5303520"/>
              <a:gd name="connsiteY6" fmla="*/ 602176 h 1107273"/>
              <a:gd name="connsiteX7" fmla="*/ 3979818 w 5303520"/>
              <a:gd name="connsiteY7" fmla="*/ 837307 h 1107273"/>
              <a:gd name="connsiteX8" fmla="*/ 4824549 w 5303520"/>
              <a:gd name="connsiteY8" fmla="*/ 1037604 h 1107273"/>
              <a:gd name="connsiteX9" fmla="*/ 5303520 w 5303520"/>
              <a:gd name="connsiteY9" fmla="*/ 1107273 h 11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03520" h="1107273">
                <a:moveTo>
                  <a:pt x="0" y="846016"/>
                </a:moveTo>
                <a:cubicBezTo>
                  <a:pt x="87086" y="822430"/>
                  <a:pt x="176125" y="824595"/>
                  <a:pt x="207805" y="806377"/>
                </a:cubicBezTo>
                <a:cubicBezTo>
                  <a:pt x="239485" y="788159"/>
                  <a:pt x="573114" y="499025"/>
                  <a:pt x="757646" y="358336"/>
                </a:cubicBezTo>
                <a:cubicBezTo>
                  <a:pt x="942178" y="217647"/>
                  <a:pt x="1119052" y="147879"/>
                  <a:pt x="1314995" y="88370"/>
                </a:cubicBezTo>
                <a:cubicBezTo>
                  <a:pt x="1510938" y="28861"/>
                  <a:pt x="1705429" y="-7424"/>
                  <a:pt x="1933303" y="1284"/>
                </a:cubicBezTo>
                <a:cubicBezTo>
                  <a:pt x="2161177" y="9992"/>
                  <a:pt x="2439851" y="40472"/>
                  <a:pt x="2682240" y="140621"/>
                </a:cubicBezTo>
                <a:cubicBezTo>
                  <a:pt x="2924629" y="240770"/>
                  <a:pt x="3171372" y="486062"/>
                  <a:pt x="3387635" y="602176"/>
                </a:cubicBezTo>
                <a:cubicBezTo>
                  <a:pt x="3603898" y="718290"/>
                  <a:pt x="3740332" y="764736"/>
                  <a:pt x="3979818" y="837307"/>
                </a:cubicBezTo>
                <a:cubicBezTo>
                  <a:pt x="4219304" y="909878"/>
                  <a:pt x="4603932" y="992610"/>
                  <a:pt x="4824549" y="1037604"/>
                </a:cubicBezTo>
                <a:cubicBezTo>
                  <a:pt x="5045166" y="1082598"/>
                  <a:pt x="5174343" y="1094935"/>
                  <a:pt x="5303520" y="1107273"/>
                </a:cubicBezTo>
              </a:path>
            </a:pathLst>
          </a:custGeom>
          <a:noFill/>
          <a:ln w="28575">
            <a:solidFill>
              <a:schemeClr val="bg1">
                <a:lumMod val="5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673028" y="2894727"/>
            <a:ext cx="2508069" cy="1988917"/>
          </a:xfrm>
          <a:custGeom>
            <a:avLst/>
            <a:gdLst>
              <a:gd name="connsiteX0" fmla="*/ 0 w 2508069"/>
              <a:gd name="connsiteY0" fmla="*/ 1655892 h 1978110"/>
              <a:gd name="connsiteX1" fmla="*/ 339635 w 2508069"/>
              <a:gd name="connsiteY1" fmla="*/ 1324967 h 1978110"/>
              <a:gd name="connsiteX2" fmla="*/ 478972 w 2508069"/>
              <a:gd name="connsiteY2" fmla="*/ 1002750 h 1978110"/>
              <a:gd name="connsiteX3" fmla="*/ 557349 w 2508069"/>
              <a:gd name="connsiteY3" fmla="*/ 454110 h 1978110"/>
              <a:gd name="connsiteX4" fmla="*/ 731520 w 2508069"/>
              <a:gd name="connsiteY4" fmla="*/ 79641 h 1978110"/>
              <a:gd name="connsiteX5" fmla="*/ 862149 w 2508069"/>
              <a:gd name="connsiteY5" fmla="*/ 62224 h 1978110"/>
              <a:gd name="connsiteX6" fmla="*/ 1193075 w 2508069"/>
              <a:gd name="connsiteY6" fmla="*/ 767618 h 1978110"/>
              <a:gd name="connsiteX7" fmla="*/ 1663337 w 2508069"/>
              <a:gd name="connsiteY7" fmla="*/ 1377218 h 1978110"/>
              <a:gd name="connsiteX8" fmla="*/ 2255520 w 2508069"/>
              <a:gd name="connsiteY8" fmla="*/ 1856190 h 1978110"/>
              <a:gd name="connsiteX9" fmla="*/ 2508069 w 2508069"/>
              <a:gd name="connsiteY9" fmla="*/ 1978110 h 1978110"/>
              <a:gd name="connsiteX0" fmla="*/ 0 w 2508069"/>
              <a:gd name="connsiteY0" fmla="*/ 1634691 h 1956909"/>
              <a:gd name="connsiteX1" fmla="*/ 339635 w 2508069"/>
              <a:gd name="connsiteY1" fmla="*/ 1303766 h 1956909"/>
              <a:gd name="connsiteX2" fmla="*/ 478972 w 2508069"/>
              <a:gd name="connsiteY2" fmla="*/ 981549 h 1956909"/>
              <a:gd name="connsiteX3" fmla="*/ 557349 w 2508069"/>
              <a:gd name="connsiteY3" fmla="*/ 432909 h 1956909"/>
              <a:gd name="connsiteX4" fmla="*/ 678968 w 2508069"/>
              <a:gd name="connsiteY4" fmla="*/ 121502 h 1956909"/>
              <a:gd name="connsiteX5" fmla="*/ 862149 w 2508069"/>
              <a:gd name="connsiteY5" fmla="*/ 41023 h 1956909"/>
              <a:gd name="connsiteX6" fmla="*/ 1193075 w 2508069"/>
              <a:gd name="connsiteY6" fmla="*/ 746417 h 1956909"/>
              <a:gd name="connsiteX7" fmla="*/ 1663337 w 2508069"/>
              <a:gd name="connsiteY7" fmla="*/ 1356017 h 1956909"/>
              <a:gd name="connsiteX8" fmla="*/ 2255520 w 2508069"/>
              <a:gd name="connsiteY8" fmla="*/ 1834989 h 1956909"/>
              <a:gd name="connsiteX9" fmla="*/ 2508069 w 2508069"/>
              <a:gd name="connsiteY9" fmla="*/ 1956909 h 1956909"/>
              <a:gd name="connsiteX0" fmla="*/ 0 w 2508069"/>
              <a:gd name="connsiteY0" fmla="*/ 1564185 h 1886403"/>
              <a:gd name="connsiteX1" fmla="*/ 339635 w 2508069"/>
              <a:gd name="connsiteY1" fmla="*/ 1233260 h 1886403"/>
              <a:gd name="connsiteX2" fmla="*/ 478972 w 2508069"/>
              <a:gd name="connsiteY2" fmla="*/ 911043 h 1886403"/>
              <a:gd name="connsiteX3" fmla="*/ 557349 w 2508069"/>
              <a:gd name="connsiteY3" fmla="*/ 362403 h 1886403"/>
              <a:gd name="connsiteX4" fmla="*/ 678968 w 2508069"/>
              <a:gd name="connsiteY4" fmla="*/ 50996 h 1886403"/>
              <a:gd name="connsiteX5" fmla="*/ 893680 w 2508069"/>
              <a:gd name="connsiteY5" fmla="*/ 65110 h 1886403"/>
              <a:gd name="connsiteX6" fmla="*/ 1193075 w 2508069"/>
              <a:gd name="connsiteY6" fmla="*/ 675911 h 1886403"/>
              <a:gd name="connsiteX7" fmla="*/ 1663337 w 2508069"/>
              <a:gd name="connsiteY7" fmla="*/ 1285511 h 1886403"/>
              <a:gd name="connsiteX8" fmla="*/ 2255520 w 2508069"/>
              <a:gd name="connsiteY8" fmla="*/ 1764483 h 1886403"/>
              <a:gd name="connsiteX9" fmla="*/ 2508069 w 2508069"/>
              <a:gd name="connsiteY9" fmla="*/ 1886403 h 1886403"/>
              <a:gd name="connsiteX0" fmla="*/ 0 w 2508069"/>
              <a:gd name="connsiteY0" fmla="*/ 1645685 h 1967903"/>
              <a:gd name="connsiteX1" fmla="*/ 339635 w 2508069"/>
              <a:gd name="connsiteY1" fmla="*/ 1314760 h 1967903"/>
              <a:gd name="connsiteX2" fmla="*/ 478972 w 2508069"/>
              <a:gd name="connsiteY2" fmla="*/ 992543 h 1967903"/>
              <a:gd name="connsiteX3" fmla="*/ 557349 w 2508069"/>
              <a:gd name="connsiteY3" fmla="*/ 443903 h 1967903"/>
              <a:gd name="connsiteX4" fmla="*/ 678968 w 2508069"/>
              <a:gd name="connsiteY4" fmla="*/ 132496 h 1967903"/>
              <a:gd name="connsiteX5" fmla="*/ 777402 w 2508069"/>
              <a:gd name="connsiteY5" fmla="*/ 66 h 1967903"/>
              <a:gd name="connsiteX6" fmla="*/ 893680 w 2508069"/>
              <a:gd name="connsiteY6" fmla="*/ 146610 h 1967903"/>
              <a:gd name="connsiteX7" fmla="*/ 1193075 w 2508069"/>
              <a:gd name="connsiteY7" fmla="*/ 757411 h 1967903"/>
              <a:gd name="connsiteX8" fmla="*/ 1663337 w 2508069"/>
              <a:gd name="connsiteY8" fmla="*/ 1367011 h 1967903"/>
              <a:gd name="connsiteX9" fmla="*/ 2255520 w 2508069"/>
              <a:gd name="connsiteY9" fmla="*/ 1845983 h 1967903"/>
              <a:gd name="connsiteX10" fmla="*/ 2508069 w 2508069"/>
              <a:gd name="connsiteY10" fmla="*/ 1967903 h 1967903"/>
              <a:gd name="connsiteX0" fmla="*/ 0 w 2508069"/>
              <a:gd name="connsiteY0" fmla="*/ 1645698 h 1967916"/>
              <a:gd name="connsiteX1" fmla="*/ 339635 w 2508069"/>
              <a:gd name="connsiteY1" fmla="*/ 1314773 h 1967916"/>
              <a:gd name="connsiteX2" fmla="*/ 478972 w 2508069"/>
              <a:gd name="connsiteY2" fmla="*/ 992556 h 1967916"/>
              <a:gd name="connsiteX3" fmla="*/ 557349 w 2508069"/>
              <a:gd name="connsiteY3" fmla="*/ 443916 h 1967916"/>
              <a:gd name="connsiteX4" fmla="*/ 636927 w 2508069"/>
              <a:gd name="connsiteY4" fmla="*/ 121999 h 1967916"/>
              <a:gd name="connsiteX5" fmla="*/ 777402 w 2508069"/>
              <a:gd name="connsiteY5" fmla="*/ 79 h 1967916"/>
              <a:gd name="connsiteX6" fmla="*/ 893680 w 2508069"/>
              <a:gd name="connsiteY6" fmla="*/ 146623 h 1967916"/>
              <a:gd name="connsiteX7" fmla="*/ 1193075 w 2508069"/>
              <a:gd name="connsiteY7" fmla="*/ 757424 h 1967916"/>
              <a:gd name="connsiteX8" fmla="*/ 1663337 w 2508069"/>
              <a:gd name="connsiteY8" fmla="*/ 1367024 h 1967916"/>
              <a:gd name="connsiteX9" fmla="*/ 2255520 w 2508069"/>
              <a:gd name="connsiteY9" fmla="*/ 1845996 h 1967916"/>
              <a:gd name="connsiteX10" fmla="*/ 2508069 w 2508069"/>
              <a:gd name="connsiteY10" fmla="*/ 1967916 h 1967916"/>
              <a:gd name="connsiteX0" fmla="*/ 0 w 2508069"/>
              <a:gd name="connsiteY0" fmla="*/ 1645698 h 1967916"/>
              <a:gd name="connsiteX1" fmla="*/ 339635 w 2508069"/>
              <a:gd name="connsiteY1" fmla="*/ 1314773 h 1967916"/>
              <a:gd name="connsiteX2" fmla="*/ 447441 w 2508069"/>
              <a:gd name="connsiteY2" fmla="*/ 992556 h 1967916"/>
              <a:gd name="connsiteX3" fmla="*/ 557349 w 2508069"/>
              <a:gd name="connsiteY3" fmla="*/ 443916 h 1967916"/>
              <a:gd name="connsiteX4" fmla="*/ 636927 w 2508069"/>
              <a:gd name="connsiteY4" fmla="*/ 121999 h 1967916"/>
              <a:gd name="connsiteX5" fmla="*/ 777402 w 2508069"/>
              <a:gd name="connsiteY5" fmla="*/ 79 h 1967916"/>
              <a:gd name="connsiteX6" fmla="*/ 893680 w 2508069"/>
              <a:gd name="connsiteY6" fmla="*/ 146623 h 1967916"/>
              <a:gd name="connsiteX7" fmla="*/ 1193075 w 2508069"/>
              <a:gd name="connsiteY7" fmla="*/ 757424 h 1967916"/>
              <a:gd name="connsiteX8" fmla="*/ 1663337 w 2508069"/>
              <a:gd name="connsiteY8" fmla="*/ 1367024 h 1967916"/>
              <a:gd name="connsiteX9" fmla="*/ 2255520 w 2508069"/>
              <a:gd name="connsiteY9" fmla="*/ 1845996 h 1967916"/>
              <a:gd name="connsiteX10" fmla="*/ 2508069 w 2508069"/>
              <a:gd name="connsiteY10" fmla="*/ 1967916 h 1967916"/>
              <a:gd name="connsiteX0" fmla="*/ 0 w 2508069"/>
              <a:gd name="connsiteY0" fmla="*/ 1645698 h 1967916"/>
              <a:gd name="connsiteX1" fmla="*/ 287084 w 2508069"/>
              <a:gd name="connsiteY1" fmla="*/ 1356814 h 1967916"/>
              <a:gd name="connsiteX2" fmla="*/ 447441 w 2508069"/>
              <a:gd name="connsiteY2" fmla="*/ 992556 h 1967916"/>
              <a:gd name="connsiteX3" fmla="*/ 557349 w 2508069"/>
              <a:gd name="connsiteY3" fmla="*/ 443916 h 1967916"/>
              <a:gd name="connsiteX4" fmla="*/ 636927 w 2508069"/>
              <a:gd name="connsiteY4" fmla="*/ 121999 h 1967916"/>
              <a:gd name="connsiteX5" fmla="*/ 777402 w 2508069"/>
              <a:gd name="connsiteY5" fmla="*/ 79 h 1967916"/>
              <a:gd name="connsiteX6" fmla="*/ 893680 w 2508069"/>
              <a:gd name="connsiteY6" fmla="*/ 146623 h 1967916"/>
              <a:gd name="connsiteX7" fmla="*/ 1193075 w 2508069"/>
              <a:gd name="connsiteY7" fmla="*/ 757424 h 1967916"/>
              <a:gd name="connsiteX8" fmla="*/ 1663337 w 2508069"/>
              <a:gd name="connsiteY8" fmla="*/ 1367024 h 1967916"/>
              <a:gd name="connsiteX9" fmla="*/ 2255520 w 2508069"/>
              <a:gd name="connsiteY9" fmla="*/ 1845996 h 1967916"/>
              <a:gd name="connsiteX10" fmla="*/ 2508069 w 2508069"/>
              <a:gd name="connsiteY10" fmla="*/ 1967916 h 1967916"/>
              <a:gd name="connsiteX0" fmla="*/ 0 w 2508069"/>
              <a:gd name="connsiteY0" fmla="*/ 1645698 h 1967916"/>
              <a:gd name="connsiteX1" fmla="*/ 287084 w 2508069"/>
              <a:gd name="connsiteY1" fmla="*/ 1356814 h 1967916"/>
              <a:gd name="connsiteX2" fmla="*/ 447441 w 2508069"/>
              <a:gd name="connsiteY2" fmla="*/ 992556 h 1967916"/>
              <a:gd name="connsiteX3" fmla="*/ 557349 w 2508069"/>
              <a:gd name="connsiteY3" fmla="*/ 443916 h 1967916"/>
              <a:gd name="connsiteX4" fmla="*/ 636927 w 2508069"/>
              <a:gd name="connsiteY4" fmla="*/ 121999 h 1967916"/>
              <a:gd name="connsiteX5" fmla="*/ 777402 w 2508069"/>
              <a:gd name="connsiteY5" fmla="*/ 79 h 1967916"/>
              <a:gd name="connsiteX6" fmla="*/ 977762 w 2508069"/>
              <a:gd name="connsiteY6" fmla="*/ 293768 h 1967916"/>
              <a:gd name="connsiteX7" fmla="*/ 1193075 w 2508069"/>
              <a:gd name="connsiteY7" fmla="*/ 757424 h 1967916"/>
              <a:gd name="connsiteX8" fmla="*/ 1663337 w 2508069"/>
              <a:gd name="connsiteY8" fmla="*/ 1367024 h 1967916"/>
              <a:gd name="connsiteX9" fmla="*/ 2255520 w 2508069"/>
              <a:gd name="connsiteY9" fmla="*/ 1845996 h 1967916"/>
              <a:gd name="connsiteX10" fmla="*/ 2508069 w 2508069"/>
              <a:gd name="connsiteY10" fmla="*/ 1967916 h 1967916"/>
              <a:gd name="connsiteX0" fmla="*/ 0 w 2508069"/>
              <a:gd name="connsiteY0" fmla="*/ 1635204 h 1957422"/>
              <a:gd name="connsiteX1" fmla="*/ 287084 w 2508069"/>
              <a:gd name="connsiteY1" fmla="*/ 1346320 h 1957422"/>
              <a:gd name="connsiteX2" fmla="*/ 447441 w 2508069"/>
              <a:gd name="connsiteY2" fmla="*/ 982062 h 1957422"/>
              <a:gd name="connsiteX3" fmla="*/ 557349 w 2508069"/>
              <a:gd name="connsiteY3" fmla="*/ 433422 h 1957422"/>
              <a:gd name="connsiteX4" fmla="*/ 636927 w 2508069"/>
              <a:gd name="connsiteY4" fmla="*/ 111505 h 1957422"/>
              <a:gd name="connsiteX5" fmla="*/ 829953 w 2508069"/>
              <a:gd name="connsiteY5" fmla="*/ 95 h 1957422"/>
              <a:gd name="connsiteX6" fmla="*/ 977762 w 2508069"/>
              <a:gd name="connsiteY6" fmla="*/ 283274 h 1957422"/>
              <a:gd name="connsiteX7" fmla="*/ 1193075 w 2508069"/>
              <a:gd name="connsiteY7" fmla="*/ 746930 h 1957422"/>
              <a:gd name="connsiteX8" fmla="*/ 1663337 w 2508069"/>
              <a:gd name="connsiteY8" fmla="*/ 1356530 h 1957422"/>
              <a:gd name="connsiteX9" fmla="*/ 2255520 w 2508069"/>
              <a:gd name="connsiteY9" fmla="*/ 1835502 h 1957422"/>
              <a:gd name="connsiteX10" fmla="*/ 2508069 w 2508069"/>
              <a:gd name="connsiteY10" fmla="*/ 1957422 h 1957422"/>
              <a:gd name="connsiteX0" fmla="*/ 0 w 2508069"/>
              <a:gd name="connsiteY0" fmla="*/ 1635204 h 1957422"/>
              <a:gd name="connsiteX1" fmla="*/ 287084 w 2508069"/>
              <a:gd name="connsiteY1" fmla="*/ 1346320 h 1957422"/>
              <a:gd name="connsiteX2" fmla="*/ 447441 w 2508069"/>
              <a:gd name="connsiteY2" fmla="*/ 982062 h 1957422"/>
              <a:gd name="connsiteX3" fmla="*/ 557349 w 2508069"/>
              <a:gd name="connsiteY3" fmla="*/ 433422 h 1957422"/>
              <a:gd name="connsiteX4" fmla="*/ 636927 w 2508069"/>
              <a:gd name="connsiteY4" fmla="*/ 111505 h 1957422"/>
              <a:gd name="connsiteX5" fmla="*/ 829953 w 2508069"/>
              <a:gd name="connsiteY5" fmla="*/ 95 h 1957422"/>
              <a:gd name="connsiteX6" fmla="*/ 977762 w 2508069"/>
              <a:gd name="connsiteY6" fmla="*/ 283274 h 1957422"/>
              <a:gd name="connsiteX7" fmla="*/ 1193075 w 2508069"/>
              <a:gd name="connsiteY7" fmla="*/ 746930 h 1957422"/>
              <a:gd name="connsiteX8" fmla="*/ 1663337 w 2508069"/>
              <a:gd name="connsiteY8" fmla="*/ 1356530 h 1957422"/>
              <a:gd name="connsiteX9" fmla="*/ 2255520 w 2508069"/>
              <a:gd name="connsiteY9" fmla="*/ 1835502 h 1957422"/>
              <a:gd name="connsiteX10" fmla="*/ 2508069 w 2508069"/>
              <a:gd name="connsiteY10" fmla="*/ 1957422 h 1957422"/>
              <a:gd name="connsiteX0" fmla="*/ 0 w 2508069"/>
              <a:gd name="connsiteY0" fmla="*/ 1635204 h 1957422"/>
              <a:gd name="connsiteX1" fmla="*/ 287084 w 2508069"/>
              <a:gd name="connsiteY1" fmla="*/ 1346320 h 1957422"/>
              <a:gd name="connsiteX2" fmla="*/ 447441 w 2508069"/>
              <a:gd name="connsiteY2" fmla="*/ 982062 h 1957422"/>
              <a:gd name="connsiteX3" fmla="*/ 557349 w 2508069"/>
              <a:gd name="connsiteY3" fmla="*/ 433422 h 1957422"/>
              <a:gd name="connsiteX4" fmla="*/ 636927 w 2508069"/>
              <a:gd name="connsiteY4" fmla="*/ 111505 h 1957422"/>
              <a:gd name="connsiteX5" fmla="*/ 829953 w 2508069"/>
              <a:gd name="connsiteY5" fmla="*/ 95 h 1957422"/>
              <a:gd name="connsiteX6" fmla="*/ 977762 w 2508069"/>
              <a:gd name="connsiteY6" fmla="*/ 283274 h 1957422"/>
              <a:gd name="connsiteX7" fmla="*/ 1193075 w 2508069"/>
              <a:gd name="connsiteY7" fmla="*/ 746930 h 1957422"/>
              <a:gd name="connsiteX8" fmla="*/ 1663337 w 2508069"/>
              <a:gd name="connsiteY8" fmla="*/ 1356530 h 1957422"/>
              <a:gd name="connsiteX9" fmla="*/ 2255520 w 2508069"/>
              <a:gd name="connsiteY9" fmla="*/ 1835502 h 1957422"/>
              <a:gd name="connsiteX10" fmla="*/ 2508069 w 2508069"/>
              <a:gd name="connsiteY10" fmla="*/ 1957422 h 1957422"/>
              <a:gd name="connsiteX0" fmla="*/ 0 w 2508069"/>
              <a:gd name="connsiteY0" fmla="*/ 1666699 h 1988917"/>
              <a:gd name="connsiteX1" fmla="*/ 287084 w 2508069"/>
              <a:gd name="connsiteY1" fmla="*/ 1377815 h 1988917"/>
              <a:gd name="connsiteX2" fmla="*/ 447441 w 2508069"/>
              <a:gd name="connsiteY2" fmla="*/ 1013557 h 1988917"/>
              <a:gd name="connsiteX3" fmla="*/ 557349 w 2508069"/>
              <a:gd name="connsiteY3" fmla="*/ 464917 h 1988917"/>
              <a:gd name="connsiteX4" fmla="*/ 636927 w 2508069"/>
              <a:gd name="connsiteY4" fmla="*/ 143000 h 1988917"/>
              <a:gd name="connsiteX5" fmla="*/ 777402 w 2508069"/>
              <a:gd name="connsiteY5" fmla="*/ 59 h 1988917"/>
              <a:gd name="connsiteX6" fmla="*/ 977762 w 2508069"/>
              <a:gd name="connsiteY6" fmla="*/ 314769 h 1988917"/>
              <a:gd name="connsiteX7" fmla="*/ 1193075 w 2508069"/>
              <a:gd name="connsiteY7" fmla="*/ 778425 h 1988917"/>
              <a:gd name="connsiteX8" fmla="*/ 1663337 w 2508069"/>
              <a:gd name="connsiteY8" fmla="*/ 1388025 h 1988917"/>
              <a:gd name="connsiteX9" fmla="*/ 2255520 w 2508069"/>
              <a:gd name="connsiteY9" fmla="*/ 1866997 h 1988917"/>
              <a:gd name="connsiteX10" fmla="*/ 2508069 w 2508069"/>
              <a:gd name="connsiteY10" fmla="*/ 1988917 h 1988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08069" h="1988917">
                <a:moveTo>
                  <a:pt x="0" y="1666699"/>
                </a:moveTo>
                <a:cubicBezTo>
                  <a:pt x="129903" y="1555665"/>
                  <a:pt x="212511" y="1486672"/>
                  <a:pt x="287084" y="1377815"/>
                </a:cubicBezTo>
                <a:cubicBezTo>
                  <a:pt x="361658" y="1268958"/>
                  <a:pt x="402397" y="1165707"/>
                  <a:pt x="447441" y="1013557"/>
                </a:cubicBezTo>
                <a:cubicBezTo>
                  <a:pt x="492485" y="861407"/>
                  <a:pt x="525768" y="610010"/>
                  <a:pt x="557349" y="464917"/>
                </a:cubicBezTo>
                <a:cubicBezTo>
                  <a:pt x="588930" y="319824"/>
                  <a:pt x="600251" y="220476"/>
                  <a:pt x="636927" y="143000"/>
                </a:cubicBezTo>
                <a:cubicBezTo>
                  <a:pt x="673603" y="65524"/>
                  <a:pt x="689066" y="-2293"/>
                  <a:pt x="777402" y="59"/>
                </a:cubicBezTo>
                <a:cubicBezTo>
                  <a:pt x="897270" y="33942"/>
                  <a:pt x="908483" y="185041"/>
                  <a:pt x="977762" y="314769"/>
                </a:cubicBezTo>
                <a:cubicBezTo>
                  <a:pt x="1047041" y="444497"/>
                  <a:pt x="1078812" y="599549"/>
                  <a:pt x="1193075" y="778425"/>
                </a:cubicBezTo>
                <a:cubicBezTo>
                  <a:pt x="1307338" y="957301"/>
                  <a:pt x="1486263" y="1206596"/>
                  <a:pt x="1663337" y="1388025"/>
                </a:cubicBezTo>
                <a:cubicBezTo>
                  <a:pt x="1840411" y="1569454"/>
                  <a:pt x="2114731" y="1766848"/>
                  <a:pt x="2255520" y="1866997"/>
                </a:cubicBezTo>
                <a:cubicBezTo>
                  <a:pt x="2396309" y="1967146"/>
                  <a:pt x="2452189" y="1978031"/>
                  <a:pt x="2508069" y="1988917"/>
                </a:cubicBezTo>
              </a:path>
            </a:pathLst>
          </a:custGeom>
          <a:noFill/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716574" y="2866769"/>
            <a:ext cx="2386149" cy="2051709"/>
          </a:xfrm>
          <a:custGeom>
            <a:avLst/>
            <a:gdLst>
              <a:gd name="connsiteX0" fmla="*/ 0 w 2386149"/>
              <a:gd name="connsiteY0" fmla="*/ 1604206 h 1978675"/>
              <a:gd name="connsiteX1" fmla="*/ 148046 w 2386149"/>
              <a:gd name="connsiteY1" fmla="*/ 1299406 h 1978675"/>
              <a:gd name="connsiteX2" fmla="*/ 296092 w 2386149"/>
              <a:gd name="connsiteY2" fmla="*/ 663681 h 1978675"/>
              <a:gd name="connsiteX3" fmla="*/ 374469 w 2386149"/>
              <a:gd name="connsiteY3" fmla="*/ 132458 h 1978675"/>
              <a:gd name="connsiteX4" fmla="*/ 452846 w 2386149"/>
              <a:gd name="connsiteY4" fmla="*/ 1829 h 1978675"/>
              <a:gd name="connsiteX5" fmla="*/ 583474 w 2386149"/>
              <a:gd name="connsiteY5" fmla="*/ 80206 h 1978675"/>
              <a:gd name="connsiteX6" fmla="*/ 670560 w 2386149"/>
              <a:gd name="connsiteY6" fmla="*/ 393715 h 1978675"/>
              <a:gd name="connsiteX7" fmla="*/ 731520 w 2386149"/>
              <a:gd name="connsiteY7" fmla="*/ 924938 h 1978675"/>
              <a:gd name="connsiteX8" fmla="*/ 1001486 w 2386149"/>
              <a:gd name="connsiteY8" fmla="*/ 1342949 h 1978675"/>
              <a:gd name="connsiteX9" fmla="*/ 1550126 w 2386149"/>
              <a:gd name="connsiteY9" fmla="*/ 1787086 h 1978675"/>
              <a:gd name="connsiteX10" fmla="*/ 2055223 w 2386149"/>
              <a:gd name="connsiteY10" fmla="*/ 1943841 h 1978675"/>
              <a:gd name="connsiteX11" fmla="*/ 2386149 w 2386149"/>
              <a:gd name="connsiteY11" fmla="*/ 1978675 h 1978675"/>
              <a:gd name="connsiteX0" fmla="*/ 0 w 2386149"/>
              <a:gd name="connsiteY0" fmla="*/ 1604206 h 1978675"/>
              <a:gd name="connsiteX1" fmla="*/ 148046 w 2386149"/>
              <a:gd name="connsiteY1" fmla="*/ 1299406 h 1978675"/>
              <a:gd name="connsiteX2" fmla="*/ 296092 w 2386149"/>
              <a:gd name="connsiteY2" fmla="*/ 663681 h 1978675"/>
              <a:gd name="connsiteX3" fmla="*/ 374469 w 2386149"/>
              <a:gd name="connsiteY3" fmla="*/ 132458 h 1978675"/>
              <a:gd name="connsiteX4" fmla="*/ 452846 w 2386149"/>
              <a:gd name="connsiteY4" fmla="*/ 1829 h 1978675"/>
              <a:gd name="connsiteX5" fmla="*/ 583474 w 2386149"/>
              <a:gd name="connsiteY5" fmla="*/ 80206 h 1978675"/>
              <a:gd name="connsiteX6" fmla="*/ 670560 w 2386149"/>
              <a:gd name="connsiteY6" fmla="*/ 393715 h 1978675"/>
              <a:gd name="connsiteX7" fmla="*/ 784072 w 2386149"/>
              <a:gd name="connsiteY7" fmla="*/ 893407 h 1978675"/>
              <a:gd name="connsiteX8" fmla="*/ 1001486 w 2386149"/>
              <a:gd name="connsiteY8" fmla="*/ 1342949 h 1978675"/>
              <a:gd name="connsiteX9" fmla="*/ 1550126 w 2386149"/>
              <a:gd name="connsiteY9" fmla="*/ 1787086 h 1978675"/>
              <a:gd name="connsiteX10" fmla="*/ 2055223 w 2386149"/>
              <a:gd name="connsiteY10" fmla="*/ 1943841 h 1978675"/>
              <a:gd name="connsiteX11" fmla="*/ 2386149 w 2386149"/>
              <a:gd name="connsiteY11" fmla="*/ 1978675 h 1978675"/>
              <a:gd name="connsiteX0" fmla="*/ 0 w 2386149"/>
              <a:gd name="connsiteY0" fmla="*/ 1604206 h 1978675"/>
              <a:gd name="connsiteX1" fmla="*/ 148046 w 2386149"/>
              <a:gd name="connsiteY1" fmla="*/ 1299406 h 1978675"/>
              <a:gd name="connsiteX2" fmla="*/ 296092 w 2386149"/>
              <a:gd name="connsiteY2" fmla="*/ 663681 h 1978675"/>
              <a:gd name="connsiteX3" fmla="*/ 374469 w 2386149"/>
              <a:gd name="connsiteY3" fmla="*/ 132458 h 1978675"/>
              <a:gd name="connsiteX4" fmla="*/ 505398 w 2386149"/>
              <a:gd name="connsiteY4" fmla="*/ 1829 h 1978675"/>
              <a:gd name="connsiteX5" fmla="*/ 583474 w 2386149"/>
              <a:gd name="connsiteY5" fmla="*/ 80206 h 1978675"/>
              <a:gd name="connsiteX6" fmla="*/ 670560 w 2386149"/>
              <a:gd name="connsiteY6" fmla="*/ 393715 h 1978675"/>
              <a:gd name="connsiteX7" fmla="*/ 784072 w 2386149"/>
              <a:gd name="connsiteY7" fmla="*/ 893407 h 1978675"/>
              <a:gd name="connsiteX8" fmla="*/ 1001486 w 2386149"/>
              <a:gd name="connsiteY8" fmla="*/ 1342949 h 1978675"/>
              <a:gd name="connsiteX9" fmla="*/ 1550126 w 2386149"/>
              <a:gd name="connsiteY9" fmla="*/ 1787086 h 1978675"/>
              <a:gd name="connsiteX10" fmla="*/ 2055223 w 2386149"/>
              <a:gd name="connsiteY10" fmla="*/ 1943841 h 1978675"/>
              <a:gd name="connsiteX11" fmla="*/ 2386149 w 2386149"/>
              <a:gd name="connsiteY11" fmla="*/ 1978675 h 1978675"/>
              <a:gd name="connsiteX0" fmla="*/ 0 w 2386149"/>
              <a:gd name="connsiteY0" fmla="*/ 1604206 h 1978675"/>
              <a:gd name="connsiteX1" fmla="*/ 148046 w 2386149"/>
              <a:gd name="connsiteY1" fmla="*/ 1299406 h 1978675"/>
              <a:gd name="connsiteX2" fmla="*/ 296092 w 2386149"/>
              <a:gd name="connsiteY2" fmla="*/ 663681 h 1978675"/>
              <a:gd name="connsiteX3" fmla="*/ 374469 w 2386149"/>
              <a:gd name="connsiteY3" fmla="*/ 132458 h 1978675"/>
              <a:gd name="connsiteX4" fmla="*/ 494887 w 2386149"/>
              <a:gd name="connsiteY4" fmla="*/ 1829 h 1978675"/>
              <a:gd name="connsiteX5" fmla="*/ 583474 w 2386149"/>
              <a:gd name="connsiteY5" fmla="*/ 80206 h 1978675"/>
              <a:gd name="connsiteX6" fmla="*/ 670560 w 2386149"/>
              <a:gd name="connsiteY6" fmla="*/ 393715 h 1978675"/>
              <a:gd name="connsiteX7" fmla="*/ 784072 w 2386149"/>
              <a:gd name="connsiteY7" fmla="*/ 893407 h 1978675"/>
              <a:gd name="connsiteX8" fmla="*/ 1001486 w 2386149"/>
              <a:gd name="connsiteY8" fmla="*/ 1342949 h 1978675"/>
              <a:gd name="connsiteX9" fmla="*/ 1550126 w 2386149"/>
              <a:gd name="connsiteY9" fmla="*/ 1787086 h 1978675"/>
              <a:gd name="connsiteX10" fmla="*/ 2055223 w 2386149"/>
              <a:gd name="connsiteY10" fmla="*/ 1943841 h 1978675"/>
              <a:gd name="connsiteX11" fmla="*/ 2386149 w 2386149"/>
              <a:gd name="connsiteY11" fmla="*/ 1978675 h 1978675"/>
              <a:gd name="connsiteX0" fmla="*/ 0 w 2386149"/>
              <a:gd name="connsiteY0" fmla="*/ 1607120 h 1981589"/>
              <a:gd name="connsiteX1" fmla="*/ 148046 w 2386149"/>
              <a:gd name="connsiteY1" fmla="*/ 1302320 h 1981589"/>
              <a:gd name="connsiteX2" fmla="*/ 296092 w 2386149"/>
              <a:gd name="connsiteY2" fmla="*/ 666595 h 1981589"/>
              <a:gd name="connsiteX3" fmla="*/ 395490 w 2386149"/>
              <a:gd name="connsiteY3" fmla="*/ 186194 h 1981589"/>
              <a:gd name="connsiteX4" fmla="*/ 494887 w 2386149"/>
              <a:gd name="connsiteY4" fmla="*/ 4743 h 1981589"/>
              <a:gd name="connsiteX5" fmla="*/ 583474 w 2386149"/>
              <a:gd name="connsiteY5" fmla="*/ 83120 h 1981589"/>
              <a:gd name="connsiteX6" fmla="*/ 670560 w 2386149"/>
              <a:gd name="connsiteY6" fmla="*/ 396629 h 1981589"/>
              <a:gd name="connsiteX7" fmla="*/ 784072 w 2386149"/>
              <a:gd name="connsiteY7" fmla="*/ 896321 h 1981589"/>
              <a:gd name="connsiteX8" fmla="*/ 1001486 w 2386149"/>
              <a:gd name="connsiteY8" fmla="*/ 1345863 h 1981589"/>
              <a:gd name="connsiteX9" fmla="*/ 1550126 w 2386149"/>
              <a:gd name="connsiteY9" fmla="*/ 1790000 h 1981589"/>
              <a:gd name="connsiteX10" fmla="*/ 2055223 w 2386149"/>
              <a:gd name="connsiteY10" fmla="*/ 1946755 h 1981589"/>
              <a:gd name="connsiteX11" fmla="*/ 2386149 w 2386149"/>
              <a:gd name="connsiteY11" fmla="*/ 1981589 h 1981589"/>
              <a:gd name="connsiteX0" fmla="*/ 0 w 2386149"/>
              <a:gd name="connsiteY0" fmla="*/ 1607120 h 1981589"/>
              <a:gd name="connsiteX1" fmla="*/ 148046 w 2386149"/>
              <a:gd name="connsiteY1" fmla="*/ 1302320 h 1981589"/>
              <a:gd name="connsiteX2" fmla="*/ 306602 w 2386149"/>
              <a:gd name="connsiteY2" fmla="*/ 778404 h 1981589"/>
              <a:gd name="connsiteX3" fmla="*/ 395490 w 2386149"/>
              <a:gd name="connsiteY3" fmla="*/ 186194 h 1981589"/>
              <a:gd name="connsiteX4" fmla="*/ 494887 w 2386149"/>
              <a:gd name="connsiteY4" fmla="*/ 4743 h 1981589"/>
              <a:gd name="connsiteX5" fmla="*/ 583474 w 2386149"/>
              <a:gd name="connsiteY5" fmla="*/ 83120 h 1981589"/>
              <a:gd name="connsiteX6" fmla="*/ 670560 w 2386149"/>
              <a:gd name="connsiteY6" fmla="*/ 396629 h 1981589"/>
              <a:gd name="connsiteX7" fmla="*/ 784072 w 2386149"/>
              <a:gd name="connsiteY7" fmla="*/ 896321 h 1981589"/>
              <a:gd name="connsiteX8" fmla="*/ 1001486 w 2386149"/>
              <a:gd name="connsiteY8" fmla="*/ 1345863 h 1981589"/>
              <a:gd name="connsiteX9" fmla="*/ 1550126 w 2386149"/>
              <a:gd name="connsiteY9" fmla="*/ 1790000 h 1981589"/>
              <a:gd name="connsiteX10" fmla="*/ 2055223 w 2386149"/>
              <a:gd name="connsiteY10" fmla="*/ 1946755 h 1981589"/>
              <a:gd name="connsiteX11" fmla="*/ 2386149 w 2386149"/>
              <a:gd name="connsiteY11" fmla="*/ 1981589 h 1981589"/>
              <a:gd name="connsiteX0" fmla="*/ 0 w 2386149"/>
              <a:gd name="connsiteY0" fmla="*/ 1609705 h 1984174"/>
              <a:gd name="connsiteX1" fmla="*/ 148046 w 2386149"/>
              <a:gd name="connsiteY1" fmla="*/ 1304905 h 1984174"/>
              <a:gd name="connsiteX2" fmla="*/ 306602 w 2386149"/>
              <a:gd name="connsiteY2" fmla="*/ 780989 h 1984174"/>
              <a:gd name="connsiteX3" fmla="*/ 427021 w 2386149"/>
              <a:gd name="connsiteY3" fmla="*/ 229436 h 1984174"/>
              <a:gd name="connsiteX4" fmla="*/ 494887 w 2386149"/>
              <a:gd name="connsiteY4" fmla="*/ 7328 h 1984174"/>
              <a:gd name="connsiteX5" fmla="*/ 583474 w 2386149"/>
              <a:gd name="connsiteY5" fmla="*/ 85705 h 1984174"/>
              <a:gd name="connsiteX6" fmla="*/ 670560 w 2386149"/>
              <a:gd name="connsiteY6" fmla="*/ 399214 h 1984174"/>
              <a:gd name="connsiteX7" fmla="*/ 784072 w 2386149"/>
              <a:gd name="connsiteY7" fmla="*/ 898906 h 1984174"/>
              <a:gd name="connsiteX8" fmla="*/ 1001486 w 2386149"/>
              <a:gd name="connsiteY8" fmla="*/ 1348448 h 1984174"/>
              <a:gd name="connsiteX9" fmla="*/ 1550126 w 2386149"/>
              <a:gd name="connsiteY9" fmla="*/ 1792585 h 1984174"/>
              <a:gd name="connsiteX10" fmla="*/ 2055223 w 2386149"/>
              <a:gd name="connsiteY10" fmla="*/ 1949340 h 1984174"/>
              <a:gd name="connsiteX11" fmla="*/ 2386149 w 2386149"/>
              <a:gd name="connsiteY11" fmla="*/ 1984174 h 1984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86149" h="1984174">
                <a:moveTo>
                  <a:pt x="0" y="1609705"/>
                </a:moveTo>
                <a:cubicBezTo>
                  <a:pt x="49348" y="1535682"/>
                  <a:pt x="96946" y="1443024"/>
                  <a:pt x="148046" y="1304905"/>
                </a:cubicBezTo>
                <a:cubicBezTo>
                  <a:pt x="199146" y="1166786"/>
                  <a:pt x="260106" y="960234"/>
                  <a:pt x="306602" y="780989"/>
                </a:cubicBezTo>
                <a:cubicBezTo>
                  <a:pt x="353098" y="601744"/>
                  <a:pt x="395640" y="358379"/>
                  <a:pt x="427021" y="229436"/>
                </a:cubicBezTo>
                <a:cubicBezTo>
                  <a:pt x="458402" y="100493"/>
                  <a:pt x="468812" y="31283"/>
                  <a:pt x="494887" y="7328"/>
                </a:cubicBezTo>
                <a:cubicBezTo>
                  <a:pt x="520962" y="-16627"/>
                  <a:pt x="554195" y="20391"/>
                  <a:pt x="583474" y="85705"/>
                </a:cubicBezTo>
                <a:cubicBezTo>
                  <a:pt x="612753" y="151019"/>
                  <a:pt x="637127" y="263681"/>
                  <a:pt x="670560" y="399214"/>
                </a:cubicBezTo>
                <a:cubicBezTo>
                  <a:pt x="703993" y="534747"/>
                  <a:pt x="728918" y="740700"/>
                  <a:pt x="784072" y="898906"/>
                </a:cubicBezTo>
                <a:cubicBezTo>
                  <a:pt x="839226" y="1057112"/>
                  <a:pt x="873810" y="1199502"/>
                  <a:pt x="1001486" y="1348448"/>
                </a:cubicBezTo>
                <a:cubicBezTo>
                  <a:pt x="1129162" y="1497394"/>
                  <a:pt x="1374503" y="1692436"/>
                  <a:pt x="1550126" y="1792585"/>
                </a:cubicBezTo>
                <a:cubicBezTo>
                  <a:pt x="1725749" y="1892734"/>
                  <a:pt x="1915886" y="1917409"/>
                  <a:pt x="2055223" y="1949340"/>
                </a:cubicBezTo>
                <a:cubicBezTo>
                  <a:pt x="2194560" y="1981271"/>
                  <a:pt x="2290354" y="1982722"/>
                  <a:pt x="2386149" y="1984174"/>
                </a:cubicBezTo>
              </a:path>
            </a:pathLst>
          </a:custGeom>
          <a:noFill/>
          <a:ln w="28575">
            <a:solidFill>
              <a:srgbClr val="D476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690443" y="2718076"/>
            <a:ext cx="1846218" cy="2156861"/>
          </a:xfrm>
          <a:custGeom>
            <a:avLst/>
            <a:gdLst>
              <a:gd name="connsiteX0" fmla="*/ 0 w 1846218"/>
              <a:gd name="connsiteY0" fmla="*/ 1835557 h 2157774"/>
              <a:gd name="connsiteX1" fmla="*/ 87086 w 1846218"/>
              <a:gd name="connsiteY1" fmla="*/ 1609134 h 2157774"/>
              <a:gd name="connsiteX2" fmla="*/ 209006 w 1846218"/>
              <a:gd name="connsiteY2" fmla="*/ 1130163 h 2157774"/>
              <a:gd name="connsiteX3" fmla="*/ 287383 w 1846218"/>
              <a:gd name="connsiteY3" fmla="*/ 755694 h 2157774"/>
              <a:gd name="connsiteX4" fmla="*/ 348343 w 1846218"/>
              <a:gd name="connsiteY4" fmla="*/ 137385 h 2157774"/>
              <a:gd name="connsiteX5" fmla="*/ 418012 w 1846218"/>
              <a:gd name="connsiteY5" fmla="*/ 6757 h 2157774"/>
              <a:gd name="connsiteX6" fmla="*/ 531223 w 1846218"/>
              <a:gd name="connsiteY6" fmla="*/ 268014 h 2157774"/>
              <a:gd name="connsiteX7" fmla="*/ 705395 w 1846218"/>
              <a:gd name="connsiteY7" fmla="*/ 1147580 h 2157774"/>
              <a:gd name="connsiteX8" fmla="*/ 923109 w 1846218"/>
              <a:gd name="connsiteY8" fmla="*/ 1600425 h 2157774"/>
              <a:gd name="connsiteX9" fmla="*/ 1227909 w 1846218"/>
              <a:gd name="connsiteY9" fmla="*/ 1948768 h 2157774"/>
              <a:gd name="connsiteX10" fmla="*/ 1541418 w 1846218"/>
              <a:gd name="connsiteY10" fmla="*/ 2114231 h 2157774"/>
              <a:gd name="connsiteX11" fmla="*/ 1846218 w 1846218"/>
              <a:gd name="connsiteY11" fmla="*/ 2157774 h 2157774"/>
              <a:gd name="connsiteX0" fmla="*/ 0 w 1846218"/>
              <a:gd name="connsiteY0" fmla="*/ 1834644 h 2156861"/>
              <a:gd name="connsiteX1" fmla="*/ 87086 w 1846218"/>
              <a:gd name="connsiteY1" fmla="*/ 1608221 h 2156861"/>
              <a:gd name="connsiteX2" fmla="*/ 209006 w 1846218"/>
              <a:gd name="connsiteY2" fmla="*/ 1129250 h 2156861"/>
              <a:gd name="connsiteX3" fmla="*/ 276873 w 1846218"/>
              <a:gd name="connsiteY3" fmla="*/ 691719 h 2156861"/>
              <a:gd name="connsiteX4" fmla="*/ 348343 w 1846218"/>
              <a:gd name="connsiteY4" fmla="*/ 136472 h 2156861"/>
              <a:gd name="connsiteX5" fmla="*/ 418012 w 1846218"/>
              <a:gd name="connsiteY5" fmla="*/ 5844 h 2156861"/>
              <a:gd name="connsiteX6" fmla="*/ 531223 w 1846218"/>
              <a:gd name="connsiteY6" fmla="*/ 267101 h 2156861"/>
              <a:gd name="connsiteX7" fmla="*/ 705395 w 1846218"/>
              <a:gd name="connsiteY7" fmla="*/ 1146667 h 2156861"/>
              <a:gd name="connsiteX8" fmla="*/ 923109 w 1846218"/>
              <a:gd name="connsiteY8" fmla="*/ 1599512 h 2156861"/>
              <a:gd name="connsiteX9" fmla="*/ 1227909 w 1846218"/>
              <a:gd name="connsiteY9" fmla="*/ 1947855 h 2156861"/>
              <a:gd name="connsiteX10" fmla="*/ 1541418 w 1846218"/>
              <a:gd name="connsiteY10" fmla="*/ 2113318 h 2156861"/>
              <a:gd name="connsiteX11" fmla="*/ 1846218 w 1846218"/>
              <a:gd name="connsiteY11" fmla="*/ 2156861 h 2156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46218" h="2156861">
                <a:moveTo>
                  <a:pt x="0" y="1834644"/>
                </a:moveTo>
                <a:cubicBezTo>
                  <a:pt x="26126" y="1780215"/>
                  <a:pt x="52252" y="1725787"/>
                  <a:pt x="87086" y="1608221"/>
                </a:cubicBezTo>
                <a:cubicBezTo>
                  <a:pt x="121920" y="1490655"/>
                  <a:pt x="177375" y="1282000"/>
                  <a:pt x="209006" y="1129250"/>
                </a:cubicBezTo>
                <a:cubicBezTo>
                  <a:pt x="240637" y="976500"/>
                  <a:pt x="253650" y="857182"/>
                  <a:pt x="276873" y="691719"/>
                </a:cubicBezTo>
                <a:cubicBezTo>
                  <a:pt x="300096" y="526256"/>
                  <a:pt x="324820" y="250784"/>
                  <a:pt x="348343" y="136472"/>
                </a:cubicBezTo>
                <a:cubicBezTo>
                  <a:pt x="371866" y="22160"/>
                  <a:pt x="387532" y="-15927"/>
                  <a:pt x="418012" y="5844"/>
                </a:cubicBezTo>
                <a:cubicBezTo>
                  <a:pt x="448492" y="27615"/>
                  <a:pt x="483326" y="76964"/>
                  <a:pt x="531223" y="267101"/>
                </a:cubicBezTo>
                <a:cubicBezTo>
                  <a:pt x="579120" y="457238"/>
                  <a:pt x="640081" y="924599"/>
                  <a:pt x="705395" y="1146667"/>
                </a:cubicBezTo>
                <a:cubicBezTo>
                  <a:pt x="770709" y="1368735"/>
                  <a:pt x="836023" y="1465981"/>
                  <a:pt x="923109" y="1599512"/>
                </a:cubicBezTo>
                <a:cubicBezTo>
                  <a:pt x="1010195" y="1733043"/>
                  <a:pt x="1124857" y="1862221"/>
                  <a:pt x="1227909" y="1947855"/>
                </a:cubicBezTo>
                <a:cubicBezTo>
                  <a:pt x="1330961" y="2033489"/>
                  <a:pt x="1438367" y="2078484"/>
                  <a:pt x="1541418" y="2113318"/>
                </a:cubicBezTo>
                <a:cubicBezTo>
                  <a:pt x="1644469" y="2148152"/>
                  <a:pt x="1745343" y="2152506"/>
                  <a:pt x="1846218" y="2156861"/>
                </a:cubicBezTo>
              </a:path>
            </a:pathLst>
          </a:custGeom>
          <a:noFill/>
          <a:ln w="2857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05992" y="5620212"/>
            <a:ext cx="1676100" cy="258019"/>
          </a:xfrm>
          <a:prstGeom prst="rect">
            <a:avLst/>
          </a:prstGeom>
        </p:spPr>
        <p:txBody>
          <a:bodyPr wrap="none" lIns="90170" tIns="46482" rIns="90170" bIns="46482" anchor="b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kern="0" dirty="0">
                <a:solidFill>
                  <a:srgbClr val="82786F"/>
                </a:solidFill>
                <a:latin typeface="Verdana"/>
              </a:rPr>
              <a:t>*Schematic represent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kern="0" dirty="0">
                <a:solidFill>
                  <a:srgbClr val="82786F"/>
                </a:solidFill>
                <a:latin typeface="Verdana"/>
              </a:rPr>
              <a:t>T1D, type 1 diabetes; T2D, type 2 diabet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01534" y="5776886"/>
            <a:ext cx="8479301" cy="1744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kern="0" dirty="0">
                <a:solidFill>
                  <a:srgbClr val="82786F"/>
                </a:solidFill>
                <a:latin typeface="Verdana"/>
              </a:rPr>
              <a:t>Adapted from Home. </a:t>
            </a:r>
            <a:r>
              <a:rPr lang="en-GB" sz="800" i="1" dirty="0">
                <a:solidFill>
                  <a:srgbClr val="82786F"/>
                </a:solidFill>
                <a:latin typeface="Verdana"/>
              </a:rPr>
              <a:t>Diabetes </a:t>
            </a:r>
            <a:r>
              <a:rPr lang="en-GB" sz="800" i="1" dirty="0" err="1">
                <a:solidFill>
                  <a:srgbClr val="82786F"/>
                </a:solidFill>
                <a:latin typeface="Verdana"/>
              </a:rPr>
              <a:t>Obes</a:t>
            </a:r>
            <a:r>
              <a:rPr lang="en-GB" sz="800" i="1" dirty="0">
                <a:solidFill>
                  <a:srgbClr val="82786F"/>
                </a:solidFill>
                <a:latin typeface="Verdana"/>
              </a:rPr>
              <a:t> </a:t>
            </a:r>
            <a:r>
              <a:rPr lang="en-GB" sz="800" i="1" dirty="0" err="1">
                <a:solidFill>
                  <a:srgbClr val="82786F"/>
                </a:solidFill>
                <a:latin typeface="Verdana"/>
              </a:rPr>
              <a:t>Metab</a:t>
            </a:r>
            <a:r>
              <a:rPr lang="en-GB" sz="800" i="1" dirty="0">
                <a:solidFill>
                  <a:srgbClr val="82786F"/>
                </a:solidFill>
                <a:latin typeface="Verdana"/>
              </a:rPr>
              <a:t> </a:t>
            </a:r>
            <a:r>
              <a:rPr lang="en-GB" sz="800" dirty="0">
                <a:solidFill>
                  <a:srgbClr val="82786F"/>
                </a:solidFill>
                <a:latin typeface="Verdana"/>
              </a:rPr>
              <a:t>2015;17:1011–20</a:t>
            </a:r>
            <a:endParaRPr lang="en-GB" sz="800" kern="0" dirty="0">
              <a:solidFill>
                <a:srgbClr val="82786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8069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56" grpId="0"/>
      <p:bldP spid="57" grpId="0"/>
      <p:bldP spid="58" grpId="0"/>
      <p:bldP spid="2" grpId="0" animBg="1"/>
      <p:bldP spid="3" grpId="0" animBg="1"/>
      <p:bldP spid="5" grpId="0" animBg="1"/>
      <p:bldP spid="7" grpId="0" animBg="1"/>
      <p:bldP spid="9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3840479" y="2243362"/>
            <a:ext cx="4362028" cy="1400052"/>
            <a:chOff x="144189" y="1097380"/>
            <a:chExt cx="4362028" cy="1400051"/>
          </a:xfrm>
        </p:grpSpPr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44189" y="1097380"/>
              <a:ext cx="4362028" cy="365186"/>
            </a:xfrm>
            <a:prstGeom prst="round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baseline="0" dirty="0" err="1">
                  <a:solidFill>
                    <a:srgbClr val="001965"/>
                  </a:solidFill>
                </a:rPr>
                <a:t>Niacinamide</a:t>
              </a:r>
              <a:r>
                <a:rPr lang="en-GB" sz="1200" b="1" baseline="0" dirty="0">
                  <a:solidFill>
                    <a:srgbClr val="001965"/>
                  </a:solidFill>
                </a:rPr>
                <a:t>: </a:t>
              </a:r>
              <a:r>
                <a:rPr lang="en-GB" sz="1200" baseline="0" dirty="0">
                  <a:solidFill>
                    <a:srgbClr val="001965"/>
                  </a:solidFill>
                </a:rPr>
                <a:t>absorption modifier </a:t>
              </a:r>
            </a:p>
          </p:txBody>
        </p:sp>
        <p:sp>
          <p:nvSpPr>
            <p:cNvPr id="11" name="Content Placeholder 2"/>
            <p:cNvSpPr txBox="1">
              <a:spLocks/>
            </p:cNvSpPr>
            <p:nvPr/>
          </p:nvSpPr>
          <p:spPr bwMode="auto">
            <a:xfrm>
              <a:off x="2304038" y="1869567"/>
              <a:ext cx="2130278" cy="627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265113" indent="-265113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marL="0" indent="0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009FDA"/>
                </a:buClr>
                <a:defRPr/>
              </a:pPr>
              <a:endParaRPr lang="en-GB" sz="1200" baseline="0" dirty="0">
                <a:solidFill>
                  <a:srgbClr val="001965"/>
                </a:solidFill>
                <a:ea typeface="+mn-ea"/>
              </a:endParaRPr>
            </a:p>
            <a:p>
              <a:pPr marL="0" indent="0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009FDA"/>
                </a:buClr>
                <a:defRPr/>
              </a:pPr>
              <a:r>
                <a:rPr lang="en-GB" sz="1200" baseline="0" dirty="0">
                  <a:solidFill>
                    <a:srgbClr val="001965"/>
                  </a:solidFill>
                  <a:ea typeface="+mn-ea"/>
                </a:rPr>
                <a:t>Vitamin B3</a:t>
              </a:r>
            </a:p>
            <a:p>
              <a:pPr marL="0" indent="0" eaLnBrk="1" fontAlgn="auto" hangingPunct="1">
                <a:spcBef>
                  <a:spcPct val="20000"/>
                </a:spcBef>
                <a:spcAft>
                  <a:spcPts val="0"/>
                </a:spcAft>
                <a:buClr>
                  <a:srgbClr val="82786F"/>
                </a:buClr>
                <a:defRPr/>
              </a:pPr>
              <a:endParaRPr lang="en-GB" sz="1200" baseline="0" dirty="0">
                <a:solidFill>
                  <a:srgbClr val="001965"/>
                </a:solidFill>
                <a:ea typeface="+mn-ea"/>
              </a:endParaRPr>
            </a:p>
          </p:txBody>
        </p:sp>
        <p:pic>
          <p:nvPicPr>
            <p:cNvPr id="12" name="Picture 40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4753" y="1899164"/>
              <a:ext cx="729150" cy="574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3840482" y="3937498"/>
            <a:ext cx="4617721" cy="1340204"/>
            <a:chOff x="133778" y="2284543"/>
            <a:chExt cx="4617721" cy="1340203"/>
          </a:xfrm>
        </p:grpSpPr>
        <p:pic>
          <p:nvPicPr>
            <p:cNvPr id="18" name="Picture 1" descr="cid:image001.png@01D0A850.11C8D99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419" y="2909795"/>
              <a:ext cx="1581150" cy="561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9"/>
            <p:cNvSpPr>
              <a:spLocks noChangeArrowheads="1"/>
            </p:cNvSpPr>
            <p:nvPr/>
          </p:nvSpPr>
          <p:spPr bwMode="auto">
            <a:xfrm>
              <a:off x="133778" y="2284543"/>
              <a:ext cx="4362028" cy="365186"/>
            </a:xfrm>
            <a:prstGeom prst="roundRect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72000" tIns="72000" rIns="72000" bIns="7200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kern="0" baseline="0" dirty="0">
                  <a:solidFill>
                    <a:srgbClr val="001965"/>
                  </a:solidFill>
                  <a:latin typeface="Verdana"/>
                  <a:ea typeface="+mn-ea"/>
                </a:rPr>
                <a:t>L-Arginine: </a:t>
              </a:r>
              <a:r>
                <a:rPr lang="en-GB" sz="1200" kern="0" baseline="0" dirty="0">
                  <a:solidFill>
                    <a:srgbClr val="001965"/>
                  </a:solidFill>
                  <a:latin typeface="Verdana"/>
                  <a:ea typeface="+mn-ea"/>
                </a:rPr>
                <a:t>added for stability</a:t>
              </a:r>
            </a:p>
          </p:txBody>
        </p:sp>
        <p:sp>
          <p:nvSpPr>
            <p:cNvPr id="20" name="Rectangle 4"/>
            <p:cNvSpPr>
              <a:spLocks noChangeArrowheads="1"/>
            </p:cNvSpPr>
            <p:nvPr/>
          </p:nvSpPr>
          <p:spPr bwMode="auto">
            <a:xfrm>
              <a:off x="2202768" y="2941483"/>
              <a:ext cx="2548731" cy="683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defRPr/>
              </a:pPr>
              <a:endParaRPr lang="en-GB" sz="1200" kern="0" baseline="0" dirty="0">
                <a:solidFill>
                  <a:srgbClr val="001965"/>
                </a:solidFill>
                <a:latin typeface="Verdana"/>
                <a:ea typeface="+mn-ea"/>
              </a:endParaRPr>
            </a:p>
            <a:p>
              <a:pPr>
                <a:defRPr/>
              </a:pPr>
              <a:r>
                <a:rPr lang="en-GB" sz="1200" kern="0" baseline="0" dirty="0">
                  <a:solidFill>
                    <a:srgbClr val="001965"/>
                  </a:solidFill>
                  <a:latin typeface="Verdana"/>
                  <a:ea typeface="+mn-ea"/>
                </a:rPr>
                <a:t>Naturally occurring amino acid</a:t>
              </a:r>
            </a:p>
            <a:p>
              <a:pPr fontAlgn="auto">
                <a:spcBef>
                  <a:spcPct val="20000"/>
                </a:spcBef>
                <a:spcAft>
                  <a:spcPts val="0"/>
                </a:spcAft>
                <a:buClr>
                  <a:srgbClr val="82786F"/>
                </a:buClr>
                <a:defRPr/>
              </a:pPr>
              <a:endParaRPr lang="en-GB" sz="1200" kern="0" baseline="0" dirty="0">
                <a:solidFill>
                  <a:srgbClr val="001965"/>
                </a:solidFill>
                <a:latin typeface="Verdana"/>
                <a:ea typeface="+mn-ea"/>
                <a:cs typeface="Arial" pitchFamily="34" charset="0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5486594" y="5120323"/>
            <a:ext cx="2008187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buClr>
                <a:srgbClr val="009FDA"/>
              </a:buClr>
              <a:defRPr/>
            </a:pPr>
            <a:endParaRPr lang="en-GB" sz="900" b="1" baseline="0" dirty="0">
              <a:solidFill>
                <a:srgbClr val="001965"/>
              </a:solidFill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04802" y="5778926"/>
            <a:ext cx="8524875" cy="216982"/>
          </a:xfrm>
          <a:prstGeom prst="rect">
            <a:avLst/>
          </a:prstGeom>
        </p:spPr>
        <p:txBody>
          <a:bodyPr wrap="square" lIns="90170" tIns="46482" rIns="90170" bIns="46482">
            <a:spAutoFit/>
          </a:bodyPr>
          <a:lstStyle/>
          <a:p>
            <a:pPr>
              <a:defRPr/>
            </a:pPr>
            <a:r>
              <a:rPr lang="en-GB" sz="800" kern="0" baseline="0" dirty="0">
                <a:solidFill>
                  <a:srgbClr val="82786F"/>
                </a:solidFill>
                <a:latin typeface="Verdana"/>
                <a:ea typeface="+mn-ea"/>
                <a:cs typeface="Arial" pitchFamily="34" charset="0"/>
              </a:rPr>
              <a:t>FDA. Inactive Ingredient Search for Approved Drug Products database. </a:t>
            </a:r>
            <a:r>
              <a:rPr lang="en-GB" sz="800" kern="0" baseline="0" dirty="0">
                <a:solidFill>
                  <a:srgbClr val="82786F"/>
                </a:solidFill>
                <a:latin typeface="Verdana"/>
                <a:ea typeface="+mn-ea"/>
                <a:cs typeface="Arial" pitchFamily="34" charset="0"/>
                <a:hlinkClick r:id="rId7"/>
              </a:rPr>
              <a:t>www.accessdata.fda.gov/scripts/cder/iig/index.cfm</a:t>
            </a:r>
            <a:r>
              <a:rPr lang="en-GB" sz="800" kern="0" baseline="0" dirty="0">
                <a:solidFill>
                  <a:srgbClr val="82786F"/>
                </a:solidFill>
                <a:latin typeface="Verdana"/>
                <a:ea typeface="+mn-ea"/>
                <a:cs typeface="Arial" pitchFamily="34" charset="0"/>
              </a:rPr>
              <a:t>. Accessed June 2016.</a:t>
            </a:r>
          </a:p>
        </p:txBody>
      </p:sp>
      <p:pic>
        <p:nvPicPr>
          <p:cNvPr id="4" name="Rotation_loop - høj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46334" y="2163205"/>
            <a:ext cx="2211193" cy="221119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57288" y="4506994"/>
            <a:ext cx="2238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b="1" baseline="0" dirty="0">
                <a:solidFill>
                  <a:srgbClr val="001965"/>
                </a:solidFill>
                <a:latin typeface="Verdana"/>
                <a:ea typeface="+mn-ea"/>
              </a:rPr>
              <a:t>Insulin aspart</a:t>
            </a:r>
          </a:p>
        </p:txBody>
      </p:sp>
      <p:grpSp>
        <p:nvGrpSpPr>
          <p:cNvPr id="21" name="Group 326"/>
          <p:cNvGrpSpPr>
            <a:grpSpLocks noChangeAspect="1"/>
          </p:cNvGrpSpPr>
          <p:nvPr/>
        </p:nvGrpSpPr>
        <p:grpSpPr bwMode="auto">
          <a:xfrm>
            <a:off x="8691652" y="931118"/>
            <a:ext cx="373784" cy="373785"/>
            <a:chOff x="1052513" y="0"/>
            <a:chExt cx="5143500" cy="5143500"/>
          </a:xfrm>
          <a:solidFill>
            <a:srgbClr val="C2DEEA"/>
          </a:solidFill>
        </p:grpSpPr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1052513" y="0"/>
              <a:ext cx="5143500" cy="5143500"/>
            </a:xfrm>
            <a:custGeom>
              <a:avLst/>
              <a:gdLst>
                <a:gd name="T0" fmla="*/ 2147483647 w 3302"/>
                <a:gd name="T1" fmla="*/ 2147483647 h 3302"/>
                <a:gd name="T2" fmla="*/ 2147483647 w 3302"/>
                <a:gd name="T3" fmla="*/ 2147483647 h 3302"/>
                <a:gd name="T4" fmla="*/ 2147483647 w 3302"/>
                <a:gd name="T5" fmla="*/ 2147483647 h 3302"/>
                <a:gd name="T6" fmla="*/ 2147483647 w 3302"/>
                <a:gd name="T7" fmla="*/ 2147483647 h 3302"/>
                <a:gd name="T8" fmla="*/ 2147483647 w 3302"/>
                <a:gd name="T9" fmla="*/ 2147483647 h 3302"/>
                <a:gd name="T10" fmla="*/ 2147483647 w 3302"/>
                <a:gd name="T11" fmla="*/ 2147483647 h 3302"/>
                <a:gd name="T12" fmla="*/ 2147483647 w 3302"/>
                <a:gd name="T13" fmla="*/ 2147483647 h 3302"/>
                <a:gd name="T14" fmla="*/ 2147483647 w 3302"/>
                <a:gd name="T15" fmla="*/ 2147483647 h 3302"/>
                <a:gd name="T16" fmla="*/ 2147483647 w 3302"/>
                <a:gd name="T17" fmla="*/ 2147483647 h 3302"/>
                <a:gd name="T18" fmla="*/ 2147483647 w 3302"/>
                <a:gd name="T19" fmla="*/ 2147483647 h 3302"/>
                <a:gd name="T20" fmla="*/ 2147483647 w 3302"/>
                <a:gd name="T21" fmla="*/ 2147483647 h 3302"/>
                <a:gd name="T22" fmla="*/ 2147483647 w 3302"/>
                <a:gd name="T23" fmla="*/ 2147483647 h 3302"/>
                <a:gd name="T24" fmla="*/ 2147483647 w 3302"/>
                <a:gd name="T25" fmla="*/ 2147483647 h 3302"/>
                <a:gd name="T26" fmla="*/ 2147483647 w 3302"/>
                <a:gd name="T27" fmla="*/ 2147483647 h 3302"/>
                <a:gd name="T28" fmla="*/ 2147483647 w 3302"/>
                <a:gd name="T29" fmla="*/ 2147483647 h 3302"/>
                <a:gd name="T30" fmla="*/ 2147483647 w 3302"/>
                <a:gd name="T31" fmla="*/ 2147483647 h 3302"/>
                <a:gd name="T32" fmla="*/ 2147483647 w 3302"/>
                <a:gd name="T33" fmla="*/ 2147483647 h 3302"/>
                <a:gd name="T34" fmla="*/ 0 w 3302"/>
                <a:gd name="T35" fmla="*/ 2147483647 h 3302"/>
                <a:gd name="T36" fmla="*/ 0 w 3302"/>
                <a:gd name="T37" fmla="*/ 2147483647 h 3302"/>
                <a:gd name="T38" fmla="*/ 2147483647 w 3302"/>
                <a:gd name="T39" fmla="*/ 2147483647 h 3302"/>
                <a:gd name="T40" fmla="*/ 2147483647 w 3302"/>
                <a:gd name="T41" fmla="*/ 2147483647 h 3302"/>
                <a:gd name="T42" fmla="*/ 2147483647 w 3302"/>
                <a:gd name="T43" fmla="*/ 2147483647 h 3302"/>
                <a:gd name="T44" fmla="*/ 2147483647 w 3302"/>
                <a:gd name="T45" fmla="*/ 2147483647 h 3302"/>
                <a:gd name="T46" fmla="*/ 2147483647 w 3302"/>
                <a:gd name="T47" fmla="*/ 2147483647 h 3302"/>
                <a:gd name="T48" fmla="*/ 2147483647 w 3302"/>
                <a:gd name="T49" fmla="*/ 2147483647 h 3302"/>
                <a:gd name="T50" fmla="*/ 2147483647 w 3302"/>
                <a:gd name="T51" fmla="*/ 2147483647 h 3302"/>
                <a:gd name="T52" fmla="*/ 2147483647 w 3302"/>
                <a:gd name="T53" fmla="*/ 0 h 3302"/>
                <a:gd name="T54" fmla="*/ 2147483647 w 3302"/>
                <a:gd name="T55" fmla="*/ 0 h 3302"/>
                <a:gd name="T56" fmla="*/ 2147483647 w 3302"/>
                <a:gd name="T57" fmla="*/ 2147483647 h 3302"/>
                <a:gd name="T58" fmla="*/ 2147483647 w 3302"/>
                <a:gd name="T59" fmla="*/ 2147483647 h 3302"/>
                <a:gd name="T60" fmla="*/ 2147483647 w 3302"/>
                <a:gd name="T61" fmla="*/ 2147483647 h 3302"/>
                <a:gd name="T62" fmla="*/ 2147483647 w 3302"/>
                <a:gd name="T63" fmla="*/ 2147483647 h 3302"/>
                <a:gd name="T64" fmla="*/ 2147483647 w 3302"/>
                <a:gd name="T65" fmla="*/ 2147483647 h 3302"/>
                <a:gd name="T66" fmla="*/ 2147483647 w 3302"/>
                <a:gd name="T67" fmla="*/ 2147483647 h 3302"/>
                <a:gd name="T68" fmla="*/ 2147483647 w 3302"/>
                <a:gd name="T69" fmla="*/ 2147483647 h 3302"/>
                <a:gd name="T70" fmla="*/ 2147483647 w 3302"/>
                <a:gd name="T71" fmla="*/ 2147483647 h 33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302" h="3302">
                  <a:moveTo>
                    <a:pt x="3302" y="3045"/>
                  </a:moveTo>
                  <a:lnTo>
                    <a:pt x="3302" y="3045"/>
                  </a:lnTo>
                  <a:lnTo>
                    <a:pt x="3300" y="3072"/>
                  </a:lnTo>
                  <a:lnTo>
                    <a:pt x="3297" y="3097"/>
                  </a:lnTo>
                  <a:lnTo>
                    <a:pt x="3291" y="3122"/>
                  </a:lnTo>
                  <a:lnTo>
                    <a:pt x="3282" y="3145"/>
                  </a:lnTo>
                  <a:lnTo>
                    <a:pt x="3271" y="3167"/>
                  </a:lnTo>
                  <a:lnTo>
                    <a:pt x="3258" y="3189"/>
                  </a:lnTo>
                  <a:lnTo>
                    <a:pt x="3242" y="3208"/>
                  </a:lnTo>
                  <a:lnTo>
                    <a:pt x="3227" y="3227"/>
                  </a:lnTo>
                  <a:lnTo>
                    <a:pt x="3208" y="3242"/>
                  </a:lnTo>
                  <a:lnTo>
                    <a:pt x="3189" y="3258"/>
                  </a:lnTo>
                  <a:lnTo>
                    <a:pt x="3167" y="3271"/>
                  </a:lnTo>
                  <a:lnTo>
                    <a:pt x="3145" y="3282"/>
                  </a:lnTo>
                  <a:lnTo>
                    <a:pt x="3122" y="3289"/>
                  </a:lnTo>
                  <a:lnTo>
                    <a:pt x="3097" y="3296"/>
                  </a:lnTo>
                  <a:lnTo>
                    <a:pt x="3072" y="3300"/>
                  </a:lnTo>
                  <a:lnTo>
                    <a:pt x="3045" y="3302"/>
                  </a:lnTo>
                  <a:lnTo>
                    <a:pt x="257" y="3302"/>
                  </a:lnTo>
                  <a:lnTo>
                    <a:pt x="232" y="3300"/>
                  </a:lnTo>
                  <a:lnTo>
                    <a:pt x="205" y="3296"/>
                  </a:lnTo>
                  <a:lnTo>
                    <a:pt x="182" y="3289"/>
                  </a:lnTo>
                  <a:lnTo>
                    <a:pt x="158" y="3282"/>
                  </a:lnTo>
                  <a:lnTo>
                    <a:pt x="135" y="3271"/>
                  </a:lnTo>
                  <a:lnTo>
                    <a:pt x="114" y="3258"/>
                  </a:lnTo>
                  <a:lnTo>
                    <a:pt x="94" y="3242"/>
                  </a:lnTo>
                  <a:lnTo>
                    <a:pt x="75" y="3227"/>
                  </a:lnTo>
                  <a:lnTo>
                    <a:pt x="60" y="3208"/>
                  </a:lnTo>
                  <a:lnTo>
                    <a:pt x="44" y="3189"/>
                  </a:lnTo>
                  <a:lnTo>
                    <a:pt x="31" y="3167"/>
                  </a:lnTo>
                  <a:lnTo>
                    <a:pt x="20" y="3145"/>
                  </a:lnTo>
                  <a:lnTo>
                    <a:pt x="13" y="3122"/>
                  </a:lnTo>
                  <a:lnTo>
                    <a:pt x="6" y="3097"/>
                  </a:lnTo>
                  <a:lnTo>
                    <a:pt x="2" y="3072"/>
                  </a:lnTo>
                  <a:lnTo>
                    <a:pt x="0" y="3045"/>
                  </a:lnTo>
                  <a:lnTo>
                    <a:pt x="0" y="257"/>
                  </a:lnTo>
                  <a:lnTo>
                    <a:pt x="2" y="230"/>
                  </a:lnTo>
                  <a:lnTo>
                    <a:pt x="6" y="205"/>
                  </a:lnTo>
                  <a:lnTo>
                    <a:pt x="13" y="180"/>
                  </a:lnTo>
                  <a:lnTo>
                    <a:pt x="20" y="157"/>
                  </a:lnTo>
                  <a:lnTo>
                    <a:pt x="31" y="135"/>
                  </a:lnTo>
                  <a:lnTo>
                    <a:pt x="44" y="114"/>
                  </a:lnTo>
                  <a:lnTo>
                    <a:pt x="60" y="94"/>
                  </a:lnTo>
                  <a:lnTo>
                    <a:pt x="75" y="75"/>
                  </a:lnTo>
                  <a:lnTo>
                    <a:pt x="94" y="60"/>
                  </a:lnTo>
                  <a:lnTo>
                    <a:pt x="114" y="44"/>
                  </a:lnTo>
                  <a:lnTo>
                    <a:pt x="135" y="31"/>
                  </a:lnTo>
                  <a:lnTo>
                    <a:pt x="158" y="20"/>
                  </a:lnTo>
                  <a:lnTo>
                    <a:pt x="182" y="13"/>
                  </a:lnTo>
                  <a:lnTo>
                    <a:pt x="205" y="6"/>
                  </a:lnTo>
                  <a:lnTo>
                    <a:pt x="232" y="2"/>
                  </a:lnTo>
                  <a:lnTo>
                    <a:pt x="257" y="0"/>
                  </a:lnTo>
                  <a:lnTo>
                    <a:pt x="3045" y="0"/>
                  </a:lnTo>
                  <a:lnTo>
                    <a:pt x="3072" y="2"/>
                  </a:lnTo>
                  <a:lnTo>
                    <a:pt x="3097" y="6"/>
                  </a:lnTo>
                  <a:lnTo>
                    <a:pt x="3122" y="13"/>
                  </a:lnTo>
                  <a:lnTo>
                    <a:pt x="3145" y="20"/>
                  </a:lnTo>
                  <a:lnTo>
                    <a:pt x="3167" y="31"/>
                  </a:lnTo>
                  <a:lnTo>
                    <a:pt x="3189" y="44"/>
                  </a:lnTo>
                  <a:lnTo>
                    <a:pt x="3208" y="60"/>
                  </a:lnTo>
                  <a:lnTo>
                    <a:pt x="3227" y="75"/>
                  </a:lnTo>
                  <a:lnTo>
                    <a:pt x="3242" y="94"/>
                  </a:lnTo>
                  <a:lnTo>
                    <a:pt x="3258" y="114"/>
                  </a:lnTo>
                  <a:lnTo>
                    <a:pt x="3271" y="135"/>
                  </a:lnTo>
                  <a:lnTo>
                    <a:pt x="3282" y="157"/>
                  </a:lnTo>
                  <a:lnTo>
                    <a:pt x="3291" y="180"/>
                  </a:lnTo>
                  <a:lnTo>
                    <a:pt x="3297" y="205"/>
                  </a:lnTo>
                  <a:lnTo>
                    <a:pt x="3300" y="230"/>
                  </a:lnTo>
                  <a:lnTo>
                    <a:pt x="3302" y="257"/>
                  </a:lnTo>
                  <a:lnTo>
                    <a:pt x="3302" y="3045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aseline="0">
                <a:solidFill>
                  <a:srgbClr val="001965"/>
                </a:solidFill>
                <a:latin typeface="Verdana"/>
                <a:ea typeface="+mn-ea"/>
              </a:endParaRPr>
            </a:p>
          </p:txBody>
        </p:sp>
        <p:sp>
          <p:nvSpPr>
            <p:cNvPr id="23" name="Freeform 328"/>
            <p:cNvSpPr>
              <a:spLocks noEditPoints="1"/>
            </p:cNvSpPr>
            <p:nvPr/>
          </p:nvSpPr>
          <p:spPr bwMode="auto">
            <a:xfrm>
              <a:off x="2543175" y="428625"/>
              <a:ext cx="2028825" cy="4286250"/>
            </a:xfrm>
            <a:custGeom>
              <a:avLst/>
              <a:gdLst>
                <a:gd name="T0" fmla="*/ 2147483647 w 1278"/>
                <a:gd name="T1" fmla="*/ 0 h 2700"/>
                <a:gd name="T2" fmla="*/ 2147483647 w 1278"/>
                <a:gd name="T3" fmla="*/ 2147483647 h 2700"/>
                <a:gd name="T4" fmla="*/ 2147483647 w 1278"/>
                <a:gd name="T5" fmla="*/ 2147483647 h 2700"/>
                <a:gd name="T6" fmla="*/ 2147483647 w 1278"/>
                <a:gd name="T7" fmla="*/ 2147483647 h 2700"/>
                <a:gd name="T8" fmla="*/ 2147483647 w 1278"/>
                <a:gd name="T9" fmla="*/ 2147483647 h 2700"/>
                <a:gd name="T10" fmla="*/ 2147483647 w 1278"/>
                <a:gd name="T11" fmla="*/ 2147483647 h 2700"/>
                <a:gd name="T12" fmla="*/ 2147483647 w 1278"/>
                <a:gd name="T13" fmla="*/ 2147483647 h 2700"/>
                <a:gd name="T14" fmla="*/ 2147483647 w 1278"/>
                <a:gd name="T15" fmla="*/ 2147483647 h 2700"/>
                <a:gd name="T16" fmla="*/ 2147483647 w 1278"/>
                <a:gd name="T17" fmla="*/ 2147483647 h 2700"/>
                <a:gd name="T18" fmla="*/ 2147483647 w 1278"/>
                <a:gd name="T19" fmla="*/ 2147483647 h 2700"/>
                <a:gd name="T20" fmla="*/ 2147483647 w 1278"/>
                <a:gd name="T21" fmla="*/ 2147483647 h 2700"/>
                <a:gd name="T22" fmla="*/ 2147483647 w 1278"/>
                <a:gd name="T23" fmla="*/ 2147483647 h 2700"/>
                <a:gd name="T24" fmla="*/ 2147483647 w 1278"/>
                <a:gd name="T25" fmla="*/ 2147483647 h 2700"/>
                <a:gd name="T26" fmla="*/ 2147483647 w 1278"/>
                <a:gd name="T27" fmla="*/ 2147483647 h 2700"/>
                <a:gd name="T28" fmla="*/ 2147483647 w 1278"/>
                <a:gd name="T29" fmla="*/ 2147483647 h 2700"/>
                <a:gd name="T30" fmla="*/ 2147483647 w 1278"/>
                <a:gd name="T31" fmla="*/ 2147483647 h 2700"/>
                <a:gd name="T32" fmla="*/ 2147483647 w 1278"/>
                <a:gd name="T33" fmla="*/ 2147483647 h 2700"/>
                <a:gd name="T34" fmla="*/ 2147483647 w 1278"/>
                <a:gd name="T35" fmla="*/ 2147483647 h 2700"/>
                <a:gd name="T36" fmla="*/ 2147483647 w 1278"/>
                <a:gd name="T37" fmla="*/ 2147483647 h 2700"/>
                <a:gd name="T38" fmla="*/ 2147483647 w 1278"/>
                <a:gd name="T39" fmla="*/ 2147483647 h 2700"/>
                <a:gd name="T40" fmla="*/ 2147483647 w 1278"/>
                <a:gd name="T41" fmla="*/ 2147483647 h 2700"/>
                <a:gd name="T42" fmla="*/ 2147483647 w 1278"/>
                <a:gd name="T43" fmla="*/ 2147483647 h 2700"/>
                <a:gd name="T44" fmla="*/ 2147483647 w 1278"/>
                <a:gd name="T45" fmla="*/ 2147483647 h 2700"/>
                <a:gd name="T46" fmla="*/ 2147483647 w 1278"/>
                <a:gd name="T47" fmla="*/ 2147483647 h 2700"/>
                <a:gd name="T48" fmla="*/ 2147483647 w 1278"/>
                <a:gd name="T49" fmla="*/ 2147483647 h 2700"/>
                <a:gd name="T50" fmla="*/ 2147483647 w 1278"/>
                <a:gd name="T51" fmla="*/ 2147483647 h 2700"/>
                <a:gd name="T52" fmla="*/ 2147483647 w 1278"/>
                <a:gd name="T53" fmla="*/ 2147483647 h 2700"/>
                <a:gd name="T54" fmla="*/ 2147483647 w 1278"/>
                <a:gd name="T55" fmla="*/ 2147483647 h 2700"/>
                <a:gd name="T56" fmla="*/ 2147483647 w 1278"/>
                <a:gd name="T57" fmla="*/ 2147483647 h 2700"/>
                <a:gd name="T58" fmla="*/ 2147483647 w 1278"/>
                <a:gd name="T59" fmla="*/ 2147483647 h 2700"/>
                <a:gd name="T60" fmla="*/ 2147483647 w 1278"/>
                <a:gd name="T61" fmla="*/ 2147483647 h 2700"/>
                <a:gd name="T62" fmla="*/ 2147483647 w 1278"/>
                <a:gd name="T63" fmla="*/ 2147483647 h 2700"/>
                <a:gd name="T64" fmla="*/ 2147483647 w 1278"/>
                <a:gd name="T65" fmla="*/ 2147483647 h 2700"/>
                <a:gd name="T66" fmla="*/ 2147483647 w 1278"/>
                <a:gd name="T67" fmla="*/ 2147483647 h 2700"/>
                <a:gd name="T68" fmla="*/ 2147483647 w 1278"/>
                <a:gd name="T69" fmla="*/ 2147483647 h 2700"/>
                <a:gd name="T70" fmla="*/ 2147483647 w 1278"/>
                <a:gd name="T71" fmla="*/ 2147483647 h 2700"/>
                <a:gd name="T72" fmla="*/ 2147483647 w 1278"/>
                <a:gd name="T73" fmla="*/ 2147483647 h 2700"/>
                <a:gd name="T74" fmla="*/ 2147483647 w 1278"/>
                <a:gd name="T75" fmla="*/ 2147483647 h 2700"/>
                <a:gd name="T76" fmla="*/ 2147483647 w 1278"/>
                <a:gd name="T77" fmla="*/ 2147483647 h 2700"/>
                <a:gd name="T78" fmla="*/ 2147483647 w 1278"/>
                <a:gd name="T79" fmla="*/ 0 h 2700"/>
                <a:gd name="T80" fmla="*/ 2147483647 w 1278"/>
                <a:gd name="T81" fmla="*/ 2147483647 h 2700"/>
                <a:gd name="T82" fmla="*/ 2147483647 w 1278"/>
                <a:gd name="T83" fmla="*/ 2147483647 h 2700"/>
                <a:gd name="T84" fmla="*/ 2147483647 w 1278"/>
                <a:gd name="T85" fmla="*/ 2147483647 h 2700"/>
                <a:gd name="T86" fmla="*/ 2147483647 w 1278"/>
                <a:gd name="T87" fmla="*/ 2147483647 h 2700"/>
                <a:gd name="T88" fmla="*/ 2147483647 w 1278"/>
                <a:gd name="T89" fmla="*/ 2147483647 h 2700"/>
                <a:gd name="T90" fmla="*/ 2147483647 w 1278"/>
                <a:gd name="T91" fmla="*/ 2147483647 h 2700"/>
                <a:gd name="T92" fmla="*/ 2147483647 w 1278"/>
                <a:gd name="T93" fmla="*/ 2147483647 h 2700"/>
                <a:gd name="T94" fmla="*/ 2147483647 w 1278"/>
                <a:gd name="T95" fmla="*/ 2147483647 h 2700"/>
                <a:gd name="T96" fmla="*/ 2147483647 w 1278"/>
                <a:gd name="T97" fmla="*/ 2147483647 h 2700"/>
                <a:gd name="T98" fmla="*/ 2147483647 w 1278"/>
                <a:gd name="T99" fmla="*/ 2147483647 h 2700"/>
                <a:gd name="T100" fmla="*/ 2147483647 w 1278"/>
                <a:gd name="T101" fmla="*/ 2147483647 h 2700"/>
                <a:gd name="T102" fmla="*/ 2147483647 w 1278"/>
                <a:gd name="T103" fmla="*/ 2147483647 h 2700"/>
                <a:gd name="T104" fmla="*/ 2147483647 w 1278"/>
                <a:gd name="T105" fmla="*/ 2147483647 h 2700"/>
                <a:gd name="T106" fmla="*/ 2147483647 w 1278"/>
                <a:gd name="T107" fmla="*/ 2147483647 h 2700"/>
                <a:gd name="T108" fmla="*/ 2147483647 w 1278"/>
                <a:gd name="T109" fmla="*/ 2147483647 h 2700"/>
                <a:gd name="T110" fmla="*/ 2147483647 w 1278"/>
                <a:gd name="T111" fmla="*/ 2147483647 h 2700"/>
                <a:gd name="T112" fmla="*/ 2147483647 w 1278"/>
                <a:gd name="T113" fmla="*/ 2147483647 h 2700"/>
                <a:gd name="T114" fmla="*/ 2147483647 w 1278"/>
                <a:gd name="T115" fmla="*/ 2147483647 h 2700"/>
                <a:gd name="T116" fmla="*/ 2147483647 w 1278"/>
                <a:gd name="T117" fmla="*/ 2147483647 h 2700"/>
                <a:gd name="T118" fmla="*/ 2147483647 w 1278"/>
                <a:gd name="T119" fmla="*/ 2147483647 h 2700"/>
                <a:gd name="T120" fmla="*/ 2147483647 w 1278"/>
                <a:gd name="T121" fmla="*/ 2147483647 h 2700"/>
                <a:gd name="T122" fmla="*/ 2147483647 w 1278"/>
                <a:gd name="T123" fmla="*/ 2147483647 h 2700"/>
                <a:gd name="T124" fmla="*/ 2147483647 w 1278"/>
                <a:gd name="T125" fmla="*/ 2147483647 h 27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278" h="2700">
                  <a:moveTo>
                    <a:pt x="638" y="0"/>
                  </a:moveTo>
                  <a:lnTo>
                    <a:pt x="638" y="0"/>
                  </a:lnTo>
                  <a:lnTo>
                    <a:pt x="606" y="0"/>
                  </a:lnTo>
                  <a:lnTo>
                    <a:pt x="574" y="2"/>
                  </a:lnTo>
                  <a:lnTo>
                    <a:pt x="542" y="6"/>
                  </a:lnTo>
                  <a:lnTo>
                    <a:pt x="510" y="12"/>
                  </a:lnTo>
                  <a:lnTo>
                    <a:pt x="480" y="20"/>
                  </a:lnTo>
                  <a:lnTo>
                    <a:pt x="450" y="28"/>
                  </a:lnTo>
                  <a:lnTo>
                    <a:pt x="420" y="38"/>
                  </a:lnTo>
                  <a:lnTo>
                    <a:pt x="390" y="50"/>
                  </a:lnTo>
                  <a:lnTo>
                    <a:pt x="362" y="62"/>
                  </a:lnTo>
                  <a:lnTo>
                    <a:pt x="334" y="76"/>
                  </a:lnTo>
                  <a:lnTo>
                    <a:pt x="308" y="92"/>
                  </a:lnTo>
                  <a:lnTo>
                    <a:pt x="282" y="108"/>
                  </a:lnTo>
                  <a:lnTo>
                    <a:pt x="256" y="126"/>
                  </a:lnTo>
                  <a:lnTo>
                    <a:pt x="232" y="144"/>
                  </a:lnTo>
                  <a:lnTo>
                    <a:pt x="210" y="164"/>
                  </a:lnTo>
                  <a:lnTo>
                    <a:pt x="188" y="184"/>
                  </a:lnTo>
                  <a:lnTo>
                    <a:pt x="166" y="206"/>
                  </a:lnTo>
                  <a:lnTo>
                    <a:pt x="146" y="230"/>
                  </a:lnTo>
                  <a:lnTo>
                    <a:pt x="128" y="254"/>
                  </a:lnTo>
                  <a:lnTo>
                    <a:pt x="110" y="278"/>
                  </a:lnTo>
                  <a:lnTo>
                    <a:pt x="92" y="304"/>
                  </a:lnTo>
                  <a:lnTo>
                    <a:pt x="78" y="330"/>
                  </a:lnTo>
                  <a:lnTo>
                    <a:pt x="64" y="358"/>
                  </a:lnTo>
                  <a:lnTo>
                    <a:pt x="50" y="386"/>
                  </a:lnTo>
                  <a:lnTo>
                    <a:pt x="40" y="414"/>
                  </a:lnTo>
                  <a:lnTo>
                    <a:pt x="30" y="444"/>
                  </a:lnTo>
                  <a:lnTo>
                    <a:pt x="20" y="474"/>
                  </a:lnTo>
                  <a:lnTo>
                    <a:pt x="14" y="504"/>
                  </a:lnTo>
                  <a:lnTo>
                    <a:pt x="8" y="536"/>
                  </a:lnTo>
                  <a:lnTo>
                    <a:pt x="4" y="568"/>
                  </a:lnTo>
                  <a:lnTo>
                    <a:pt x="2" y="600"/>
                  </a:lnTo>
                  <a:lnTo>
                    <a:pt x="0" y="632"/>
                  </a:lnTo>
                  <a:lnTo>
                    <a:pt x="2" y="676"/>
                  </a:lnTo>
                  <a:lnTo>
                    <a:pt x="6" y="718"/>
                  </a:lnTo>
                  <a:lnTo>
                    <a:pt x="14" y="760"/>
                  </a:lnTo>
                  <a:lnTo>
                    <a:pt x="24" y="800"/>
                  </a:lnTo>
                  <a:lnTo>
                    <a:pt x="36" y="840"/>
                  </a:lnTo>
                  <a:lnTo>
                    <a:pt x="52" y="880"/>
                  </a:lnTo>
                  <a:lnTo>
                    <a:pt x="70" y="916"/>
                  </a:lnTo>
                  <a:lnTo>
                    <a:pt x="90" y="952"/>
                  </a:lnTo>
                  <a:lnTo>
                    <a:pt x="112" y="986"/>
                  </a:lnTo>
                  <a:lnTo>
                    <a:pt x="136" y="1020"/>
                  </a:lnTo>
                  <a:lnTo>
                    <a:pt x="162" y="1050"/>
                  </a:lnTo>
                  <a:lnTo>
                    <a:pt x="190" y="1080"/>
                  </a:lnTo>
                  <a:lnTo>
                    <a:pt x="222" y="1108"/>
                  </a:lnTo>
                  <a:lnTo>
                    <a:pt x="254" y="1134"/>
                  </a:lnTo>
                  <a:lnTo>
                    <a:pt x="286" y="1158"/>
                  </a:lnTo>
                  <a:lnTo>
                    <a:pt x="322" y="1180"/>
                  </a:lnTo>
                  <a:lnTo>
                    <a:pt x="322" y="1434"/>
                  </a:lnTo>
                  <a:lnTo>
                    <a:pt x="524" y="1638"/>
                  </a:lnTo>
                  <a:lnTo>
                    <a:pt x="368" y="1792"/>
                  </a:lnTo>
                  <a:lnTo>
                    <a:pt x="518" y="1942"/>
                  </a:lnTo>
                  <a:lnTo>
                    <a:pt x="364" y="2096"/>
                  </a:lnTo>
                  <a:lnTo>
                    <a:pt x="520" y="2252"/>
                  </a:lnTo>
                  <a:lnTo>
                    <a:pt x="364" y="2406"/>
                  </a:lnTo>
                  <a:lnTo>
                    <a:pt x="630" y="2670"/>
                  </a:lnTo>
                  <a:lnTo>
                    <a:pt x="644" y="2684"/>
                  </a:lnTo>
                  <a:lnTo>
                    <a:pt x="658" y="2692"/>
                  </a:lnTo>
                  <a:lnTo>
                    <a:pt x="670" y="2698"/>
                  </a:lnTo>
                  <a:lnTo>
                    <a:pt x="684" y="2700"/>
                  </a:lnTo>
                  <a:lnTo>
                    <a:pt x="696" y="2698"/>
                  </a:lnTo>
                  <a:lnTo>
                    <a:pt x="708" y="2692"/>
                  </a:lnTo>
                  <a:lnTo>
                    <a:pt x="722" y="2684"/>
                  </a:lnTo>
                  <a:lnTo>
                    <a:pt x="738" y="2670"/>
                  </a:lnTo>
                  <a:lnTo>
                    <a:pt x="956" y="2454"/>
                  </a:lnTo>
                  <a:lnTo>
                    <a:pt x="956" y="1180"/>
                  </a:lnTo>
                  <a:lnTo>
                    <a:pt x="992" y="1158"/>
                  </a:lnTo>
                  <a:lnTo>
                    <a:pt x="1026" y="1134"/>
                  </a:lnTo>
                  <a:lnTo>
                    <a:pt x="1058" y="1108"/>
                  </a:lnTo>
                  <a:lnTo>
                    <a:pt x="1088" y="1080"/>
                  </a:lnTo>
                  <a:lnTo>
                    <a:pt x="1116" y="1052"/>
                  </a:lnTo>
                  <a:lnTo>
                    <a:pt x="1142" y="1020"/>
                  </a:lnTo>
                  <a:lnTo>
                    <a:pt x="1166" y="988"/>
                  </a:lnTo>
                  <a:lnTo>
                    <a:pt x="1188" y="952"/>
                  </a:lnTo>
                  <a:lnTo>
                    <a:pt x="1208" y="916"/>
                  </a:lnTo>
                  <a:lnTo>
                    <a:pt x="1226" y="880"/>
                  </a:lnTo>
                  <a:lnTo>
                    <a:pt x="1242" y="840"/>
                  </a:lnTo>
                  <a:lnTo>
                    <a:pt x="1254" y="802"/>
                  </a:lnTo>
                  <a:lnTo>
                    <a:pt x="1264" y="760"/>
                  </a:lnTo>
                  <a:lnTo>
                    <a:pt x="1272" y="718"/>
                  </a:lnTo>
                  <a:lnTo>
                    <a:pt x="1276" y="676"/>
                  </a:lnTo>
                  <a:lnTo>
                    <a:pt x="1278" y="632"/>
                  </a:lnTo>
                  <a:lnTo>
                    <a:pt x="1276" y="600"/>
                  </a:lnTo>
                  <a:lnTo>
                    <a:pt x="1274" y="568"/>
                  </a:lnTo>
                  <a:lnTo>
                    <a:pt x="1270" y="536"/>
                  </a:lnTo>
                  <a:lnTo>
                    <a:pt x="1264" y="504"/>
                  </a:lnTo>
                  <a:lnTo>
                    <a:pt x="1258" y="474"/>
                  </a:lnTo>
                  <a:lnTo>
                    <a:pt x="1248" y="444"/>
                  </a:lnTo>
                  <a:lnTo>
                    <a:pt x="1238" y="414"/>
                  </a:lnTo>
                  <a:lnTo>
                    <a:pt x="1228" y="386"/>
                  </a:lnTo>
                  <a:lnTo>
                    <a:pt x="1214" y="358"/>
                  </a:lnTo>
                  <a:lnTo>
                    <a:pt x="1200" y="330"/>
                  </a:lnTo>
                  <a:lnTo>
                    <a:pt x="1186" y="304"/>
                  </a:lnTo>
                  <a:lnTo>
                    <a:pt x="1168" y="278"/>
                  </a:lnTo>
                  <a:lnTo>
                    <a:pt x="1150" y="254"/>
                  </a:lnTo>
                  <a:lnTo>
                    <a:pt x="1132" y="230"/>
                  </a:lnTo>
                  <a:lnTo>
                    <a:pt x="1112" y="206"/>
                  </a:lnTo>
                  <a:lnTo>
                    <a:pt x="1090" y="184"/>
                  </a:lnTo>
                  <a:lnTo>
                    <a:pt x="1068" y="164"/>
                  </a:lnTo>
                  <a:lnTo>
                    <a:pt x="1046" y="144"/>
                  </a:lnTo>
                  <a:lnTo>
                    <a:pt x="1022" y="126"/>
                  </a:lnTo>
                  <a:lnTo>
                    <a:pt x="996" y="108"/>
                  </a:lnTo>
                  <a:lnTo>
                    <a:pt x="970" y="92"/>
                  </a:lnTo>
                  <a:lnTo>
                    <a:pt x="944" y="76"/>
                  </a:lnTo>
                  <a:lnTo>
                    <a:pt x="916" y="62"/>
                  </a:lnTo>
                  <a:lnTo>
                    <a:pt x="888" y="50"/>
                  </a:lnTo>
                  <a:lnTo>
                    <a:pt x="858" y="38"/>
                  </a:lnTo>
                  <a:lnTo>
                    <a:pt x="828" y="28"/>
                  </a:lnTo>
                  <a:lnTo>
                    <a:pt x="798" y="20"/>
                  </a:lnTo>
                  <a:lnTo>
                    <a:pt x="768" y="12"/>
                  </a:lnTo>
                  <a:lnTo>
                    <a:pt x="736" y="6"/>
                  </a:lnTo>
                  <a:lnTo>
                    <a:pt x="704" y="2"/>
                  </a:lnTo>
                  <a:lnTo>
                    <a:pt x="672" y="0"/>
                  </a:lnTo>
                  <a:lnTo>
                    <a:pt x="638" y="0"/>
                  </a:lnTo>
                  <a:close/>
                  <a:moveTo>
                    <a:pt x="642" y="522"/>
                  </a:moveTo>
                  <a:lnTo>
                    <a:pt x="642" y="522"/>
                  </a:lnTo>
                  <a:lnTo>
                    <a:pt x="624" y="520"/>
                  </a:lnTo>
                  <a:lnTo>
                    <a:pt x="608" y="518"/>
                  </a:lnTo>
                  <a:lnTo>
                    <a:pt x="592" y="514"/>
                  </a:lnTo>
                  <a:lnTo>
                    <a:pt x="576" y="508"/>
                  </a:lnTo>
                  <a:lnTo>
                    <a:pt x="562" y="502"/>
                  </a:lnTo>
                  <a:lnTo>
                    <a:pt x="548" y="494"/>
                  </a:lnTo>
                  <a:lnTo>
                    <a:pt x="534" y="484"/>
                  </a:lnTo>
                  <a:lnTo>
                    <a:pt x="522" y="472"/>
                  </a:lnTo>
                  <a:lnTo>
                    <a:pt x="512" y="460"/>
                  </a:lnTo>
                  <a:lnTo>
                    <a:pt x="502" y="448"/>
                  </a:lnTo>
                  <a:lnTo>
                    <a:pt x="494" y="434"/>
                  </a:lnTo>
                  <a:lnTo>
                    <a:pt x="486" y="420"/>
                  </a:lnTo>
                  <a:lnTo>
                    <a:pt x="480" y="404"/>
                  </a:lnTo>
                  <a:lnTo>
                    <a:pt x="476" y="388"/>
                  </a:lnTo>
                  <a:lnTo>
                    <a:pt x="474" y="372"/>
                  </a:lnTo>
                  <a:lnTo>
                    <a:pt x="472" y="354"/>
                  </a:lnTo>
                  <a:lnTo>
                    <a:pt x="474" y="336"/>
                  </a:lnTo>
                  <a:lnTo>
                    <a:pt x="476" y="320"/>
                  </a:lnTo>
                  <a:lnTo>
                    <a:pt x="480" y="304"/>
                  </a:lnTo>
                  <a:lnTo>
                    <a:pt x="486" y="288"/>
                  </a:lnTo>
                  <a:lnTo>
                    <a:pt x="494" y="274"/>
                  </a:lnTo>
                  <a:lnTo>
                    <a:pt x="502" y="260"/>
                  </a:lnTo>
                  <a:lnTo>
                    <a:pt x="512" y="248"/>
                  </a:lnTo>
                  <a:lnTo>
                    <a:pt x="522" y="236"/>
                  </a:lnTo>
                  <a:lnTo>
                    <a:pt x="534" y="224"/>
                  </a:lnTo>
                  <a:lnTo>
                    <a:pt x="548" y="214"/>
                  </a:lnTo>
                  <a:lnTo>
                    <a:pt x="562" y="206"/>
                  </a:lnTo>
                  <a:lnTo>
                    <a:pt x="576" y="200"/>
                  </a:lnTo>
                  <a:lnTo>
                    <a:pt x="592" y="194"/>
                  </a:lnTo>
                  <a:lnTo>
                    <a:pt x="608" y="190"/>
                  </a:lnTo>
                  <a:lnTo>
                    <a:pt x="624" y="188"/>
                  </a:lnTo>
                  <a:lnTo>
                    <a:pt x="642" y="186"/>
                  </a:lnTo>
                  <a:lnTo>
                    <a:pt x="660" y="188"/>
                  </a:lnTo>
                  <a:lnTo>
                    <a:pt x="676" y="190"/>
                  </a:lnTo>
                  <a:lnTo>
                    <a:pt x="692" y="194"/>
                  </a:lnTo>
                  <a:lnTo>
                    <a:pt x="708" y="200"/>
                  </a:lnTo>
                  <a:lnTo>
                    <a:pt x="722" y="206"/>
                  </a:lnTo>
                  <a:lnTo>
                    <a:pt x="736" y="214"/>
                  </a:lnTo>
                  <a:lnTo>
                    <a:pt x="750" y="224"/>
                  </a:lnTo>
                  <a:lnTo>
                    <a:pt x="762" y="236"/>
                  </a:lnTo>
                  <a:lnTo>
                    <a:pt x="772" y="248"/>
                  </a:lnTo>
                  <a:lnTo>
                    <a:pt x="782" y="260"/>
                  </a:lnTo>
                  <a:lnTo>
                    <a:pt x="792" y="274"/>
                  </a:lnTo>
                  <a:lnTo>
                    <a:pt x="798" y="288"/>
                  </a:lnTo>
                  <a:lnTo>
                    <a:pt x="804" y="304"/>
                  </a:lnTo>
                  <a:lnTo>
                    <a:pt x="808" y="320"/>
                  </a:lnTo>
                  <a:lnTo>
                    <a:pt x="810" y="336"/>
                  </a:lnTo>
                  <a:lnTo>
                    <a:pt x="812" y="354"/>
                  </a:lnTo>
                  <a:lnTo>
                    <a:pt x="810" y="372"/>
                  </a:lnTo>
                  <a:lnTo>
                    <a:pt x="808" y="388"/>
                  </a:lnTo>
                  <a:lnTo>
                    <a:pt x="804" y="404"/>
                  </a:lnTo>
                  <a:lnTo>
                    <a:pt x="798" y="420"/>
                  </a:lnTo>
                  <a:lnTo>
                    <a:pt x="792" y="434"/>
                  </a:lnTo>
                  <a:lnTo>
                    <a:pt x="782" y="448"/>
                  </a:lnTo>
                  <a:lnTo>
                    <a:pt x="772" y="460"/>
                  </a:lnTo>
                  <a:lnTo>
                    <a:pt x="762" y="472"/>
                  </a:lnTo>
                  <a:lnTo>
                    <a:pt x="750" y="484"/>
                  </a:lnTo>
                  <a:lnTo>
                    <a:pt x="736" y="494"/>
                  </a:lnTo>
                  <a:lnTo>
                    <a:pt x="722" y="502"/>
                  </a:lnTo>
                  <a:lnTo>
                    <a:pt x="708" y="508"/>
                  </a:lnTo>
                  <a:lnTo>
                    <a:pt x="692" y="514"/>
                  </a:lnTo>
                  <a:lnTo>
                    <a:pt x="676" y="518"/>
                  </a:lnTo>
                  <a:lnTo>
                    <a:pt x="660" y="520"/>
                  </a:lnTo>
                  <a:lnTo>
                    <a:pt x="642" y="522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aseline="0">
                <a:solidFill>
                  <a:srgbClr val="001965"/>
                </a:solidFill>
                <a:latin typeface="Verdana"/>
                <a:ea typeface="+mn-ea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GB" altLang="en-US" sz="2200" b="1" dirty="0">
                <a:solidFill>
                  <a:srgbClr val="001965"/>
                </a:solidFill>
                <a:latin typeface="+mj-lt"/>
              </a:rPr>
              <a:t>Changing the formulation: faster aspart is insulin aspart in a new formulatio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07898" y="5653814"/>
            <a:ext cx="8538736" cy="216982"/>
          </a:xfrm>
          <a:prstGeom prst="rect">
            <a:avLst/>
          </a:prstGeom>
        </p:spPr>
        <p:txBody>
          <a:bodyPr wrap="square" lIns="90170" tIns="46482" rIns="90170" bIns="46482" anchor="b" anchorCtr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aseline="0" dirty="0">
                <a:solidFill>
                  <a:srgbClr val="82786F"/>
                </a:solidFill>
                <a:latin typeface="Verdana"/>
                <a:ea typeface="+mn-ea"/>
              </a:rPr>
              <a:t>Faster aspart, fast-acting insulin aspart</a:t>
            </a:r>
            <a:endParaRPr lang="en-GB" sz="800" baseline="0" dirty="0">
              <a:solidFill>
                <a:srgbClr val="001965"/>
              </a:solidFill>
              <a:latin typeface="Verdan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201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39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4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5"/>
          <p:cNvSpPr>
            <a:spLocks noChangeArrowheads="1"/>
          </p:cNvSpPr>
          <p:nvPr/>
        </p:nvSpPr>
        <p:spPr bwMode="auto">
          <a:xfrm>
            <a:off x="203200" y="115888"/>
            <a:ext cx="8761413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 anchor="ctr"/>
          <a:lstStyle/>
          <a:p>
            <a:pPr eaLnBrk="1" hangingPunct="1">
              <a:defRPr/>
            </a:pPr>
            <a:r>
              <a:rPr lang="en-GB" altLang="nl-BE" sz="2800" b="1" baseline="0">
                <a:solidFill>
                  <a:srgbClr val="0070C0"/>
                </a:solidFill>
                <a:ea typeface="+mn-ea"/>
                <a:cs typeface="Arial" pitchFamily="34" charset="0"/>
              </a:rPr>
              <a:t>Tight Glycaemic Control Reduces Complications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057275" y="1739900"/>
            <a:ext cx="8078788" cy="1812925"/>
            <a:chOff x="1031875" y="1728789"/>
            <a:chExt cx="8077941" cy="1812924"/>
          </a:xfrm>
        </p:grpSpPr>
        <p:sp>
          <p:nvSpPr>
            <p:cNvPr id="11303" name="Freeform 6"/>
            <p:cNvSpPr>
              <a:spLocks/>
            </p:cNvSpPr>
            <p:nvPr/>
          </p:nvSpPr>
          <p:spPr bwMode="auto">
            <a:xfrm rot="-420076">
              <a:off x="1031875" y="2032002"/>
              <a:ext cx="4509615" cy="1509711"/>
            </a:xfrm>
            <a:custGeom>
              <a:avLst/>
              <a:gdLst>
                <a:gd name="T0" fmla="*/ 0 w 2726"/>
                <a:gd name="T1" fmla="*/ 2147483647 h 1387"/>
                <a:gd name="T2" fmla="*/ 2147483647 w 2726"/>
                <a:gd name="T3" fmla="*/ 0 h 1387"/>
                <a:gd name="T4" fmla="*/ 2147483647 w 2726"/>
                <a:gd name="T5" fmla="*/ 2147483647 h 1387"/>
                <a:gd name="T6" fmla="*/ 2147483647 w 2726"/>
                <a:gd name="T7" fmla="*/ 2147483647 h 1387"/>
                <a:gd name="T8" fmla="*/ 0 w 2726"/>
                <a:gd name="T9" fmla="*/ 2147483647 h 13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26"/>
                <a:gd name="T16" fmla="*/ 0 h 1387"/>
                <a:gd name="T17" fmla="*/ 2726 w 2726"/>
                <a:gd name="T18" fmla="*/ 1387 h 138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26" h="1387">
                  <a:moveTo>
                    <a:pt x="0" y="1360"/>
                  </a:moveTo>
                  <a:lnTo>
                    <a:pt x="2544" y="0"/>
                  </a:lnTo>
                  <a:lnTo>
                    <a:pt x="2726" y="683"/>
                  </a:lnTo>
                  <a:lnTo>
                    <a:pt x="22" y="1387"/>
                  </a:lnTo>
                  <a:lnTo>
                    <a:pt x="0" y="1360"/>
                  </a:lnTo>
                  <a:close/>
                </a:path>
              </a:pathLst>
            </a:custGeom>
            <a:solidFill>
              <a:srgbClr val="B2C1CA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304" name="Line 7"/>
            <p:cNvSpPr>
              <a:spLocks noChangeShapeType="1"/>
            </p:cNvSpPr>
            <p:nvPr/>
          </p:nvSpPr>
          <p:spPr bwMode="auto">
            <a:xfrm rot="21179924" flipV="1">
              <a:off x="1804907" y="2678113"/>
              <a:ext cx="2519098" cy="682625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305" name="Text Box 16"/>
            <p:cNvSpPr txBox="1">
              <a:spLocks noChangeArrowheads="1"/>
            </p:cNvSpPr>
            <p:nvPr/>
          </p:nvSpPr>
          <p:spPr bwMode="auto">
            <a:xfrm>
              <a:off x="6379602" y="1938339"/>
              <a:ext cx="2730214" cy="339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BE0023"/>
                  </a:solidFill>
                  <a:ea typeface="+mn-ea"/>
                  <a:cs typeface="Arial" pitchFamily="34" charset="0"/>
                </a:rPr>
                <a:t>Deaths related to diabetes*</a:t>
              </a:r>
            </a:p>
          </p:txBody>
        </p:sp>
        <p:grpSp>
          <p:nvGrpSpPr>
            <p:cNvPr id="60458" name="Group 17"/>
            <p:cNvGrpSpPr>
              <a:grpSpLocks/>
            </p:cNvGrpSpPr>
            <p:nvPr/>
          </p:nvGrpSpPr>
          <p:grpSpPr bwMode="auto">
            <a:xfrm>
              <a:off x="4826013" y="1728789"/>
              <a:ext cx="1797057" cy="815977"/>
              <a:chOff x="3064" y="854"/>
              <a:chExt cx="1132" cy="514"/>
            </a:xfrm>
          </p:grpSpPr>
          <p:pic>
            <p:nvPicPr>
              <p:cNvPr id="60459" name="Picture 18"/>
              <p:cNvPicPr>
                <a:picLocks noChangeAspect="1" noChangeArrowheads="1"/>
              </p:cNvPicPr>
              <p:nvPr/>
            </p:nvPicPr>
            <p:blipFill>
              <a:blip r:embed="rId3">
                <a:clrChange>
                  <a:clrFrom>
                    <a:srgbClr val="003466"/>
                  </a:clrFrom>
                  <a:clrTo>
                    <a:srgbClr val="00346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6" y="854"/>
                <a:ext cx="630" cy="4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08" name="AutoShape 19"/>
              <p:cNvSpPr>
                <a:spLocks noChangeArrowheads="1"/>
              </p:cNvSpPr>
              <p:nvPr/>
            </p:nvSpPr>
            <p:spPr bwMode="auto">
              <a:xfrm>
                <a:off x="3064" y="876"/>
                <a:ext cx="702" cy="492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solidFill>
                <a:srgbClr val="7F97A7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nl-BE" sz="1600" baseline="0">
                  <a:solidFill>
                    <a:srgbClr val="BE0023"/>
                  </a:solidFill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309" name="Text Box 20"/>
              <p:cNvSpPr txBox="1">
                <a:spLocks noChangeArrowheads="1"/>
              </p:cNvSpPr>
              <p:nvPr/>
            </p:nvSpPr>
            <p:spPr bwMode="auto">
              <a:xfrm>
                <a:off x="3069" y="949"/>
                <a:ext cx="715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eaLnBrk="1" hangingPunct="1">
                  <a:spcBef>
                    <a:spcPct val="50000"/>
                  </a:spcBef>
                  <a:defRPr/>
                </a:pPr>
                <a:r>
                  <a:rPr lang="en-GB" altLang="nl-BE" sz="1600" baseline="0">
                    <a:solidFill>
                      <a:srgbClr val="FFFFFF"/>
                    </a:solidFill>
                    <a:ea typeface="+mn-ea"/>
                    <a:cs typeface="Arial" pitchFamily="34" charset="0"/>
                  </a:rPr>
                  <a:t>21%</a:t>
                </a:r>
              </a:p>
            </p:txBody>
          </p:sp>
        </p:grpSp>
      </p:grpSp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1049338" y="2767013"/>
            <a:ext cx="8086725" cy="1071562"/>
            <a:chOff x="1023938" y="2756958"/>
            <a:chExt cx="8085877" cy="1070505"/>
          </a:xfrm>
        </p:grpSpPr>
        <p:sp>
          <p:nvSpPr>
            <p:cNvPr id="11295" name="Freeform 8"/>
            <p:cNvSpPr>
              <a:spLocks/>
            </p:cNvSpPr>
            <p:nvPr/>
          </p:nvSpPr>
          <p:spPr bwMode="auto">
            <a:xfrm rot="-498083">
              <a:off x="1023938" y="3093176"/>
              <a:ext cx="4300086" cy="734287"/>
            </a:xfrm>
            <a:custGeom>
              <a:avLst/>
              <a:gdLst>
                <a:gd name="T0" fmla="*/ 0 w 2747"/>
                <a:gd name="T1" fmla="*/ 2147483647 h 694"/>
                <a:gd name="T2" fmla="*/ 2147483647 w 2747"/>
                <a:gd name="T3" fmla="*/ 0 h 694"/>
                <a:gd name="T4" fmla="*/ 2147483647 w 2747"/>
                <a:gd name="T5" fmla="*/ 2147483647 h 694"/>
                <a:gd name="T6" fmla="*/ 2147483647 w 2747"/>
                <a:gd name="T7" fmla="*/ 2147483647 h 694"/>
                <a:gd name="T8" fmla="*/ 0 w 2747"/>
                <a:gd name="T9" fmla="*/ 2147483647 h 6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47"/>
                <a:gd name="T16" fmla="*/ 0 h 694"/>
                <a:gd name="T17" fmla="*/ 2747 w 2747"/>
                <a:gd name="T18" fmla="*/ 694 h 6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47" h="694">
                  <a:moveTo>
                    <a:pt x="0" y="427"/>
                  </a:moveTo>
                  <a:lnTo>
                    <a:pt x="2747" y="0"/>
                  </a:lnTo>
                  <a:lnTo>
                    <a:pt x="2742" y="694"/>
                  </a:lnTo>
                  <a:lnTo>
                    <a:pt x="6" y="459"/>
                  </a:lnTo>
                  <a:lnTo>
                    <a:pt x="0" y="427"/>
                  </a:lnTo>
                  <a:close/>
                </a:path>
              </a:pathLst>
            </a:custGeom>
            <a:solidFill>
              <a:srgbClr val="B2C1CA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96" name="Line 9"/>
            <p:cNvSpPr>
              <a:spLocks noChangeShapeType="1"/>
            </p:cNvSpPr>
            <p:nvPr/>
          </p:nvSpPr>
          <p:spPr bwMode="auto">
            <a:xfrm rot="21101917" flipV="1">
              <a:off x="1785858" y="3486488"/>
              <a:ext cx="2582591" cy="72953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97" name="Text Box 13"/>
            <p:cNvSpPr txBox="1">
              <a:spLocks noChangeArrowheads="1"/>
            </p:cNvSpPr>
            <p:nvPr/>
          </p:nvSpPr>
          <p:spPr bwMode="auto">
            <a:xfrm>
              <a:off x="6397061" y="2756958"/>
              <a:ext cx="2712754" cy="8310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BE0023"/>
                  </a:solidFill>
                  <a:ea typeface="+mn-ea"/>
                  <a:cs typeface="Arial" pitchFamily="34" charset="0"/>
                </a:rPr>
                <a:t>Microvascular complications (eg, kidney disease and blindness)*</a:t>
              </a:r>
            </a:p>
          </p:txBody>
        </p:sp>
        <p:grpSp>
          <p:nvGrpSpPr>
            <p:cNvPr id="60450" name="Group 23"/>
            <p:cNvGrpSpPr>
              <a:grpSpLocks/>
            </p:cNvGrpSpPr>
            <p:nvPr/>
          </p:nvGrpSpPr>
          <p:grpSpPr bwMode="auto">
            <a:xfrm>
              <a:off x="5599113" y="2781300"/>
              <a:ext cx="844550" cy="841375"/>
              <a:chOff x="3594" y="2063"/>
              <a:chExt cx="618" cy="703"/>
            </a:xfrm>
          </p:grpSpPr>
          <p:pic>
            <p:nvPicPr>
              <p:cNvPr id="60453" name="Picture 24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003466"/>
                  </a:clrFrom>
                  <a:clrTo>
                    <a:srgbClr val="00346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139" t="33435" r="11595"/>
              <a:stretch>
                <a:fillRect/>
              </a:stretch>
            </p:blipFill>
            <p:spPr bwMode="auto">
              <a:xfrm>
                <a:off x="3829" y="2413"/>
                <a:ext cx="383" cy="3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0454" name="Picture 25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003466"/>
                  </a:clrFrom>
                  <a:clrTo>
                    <a:srgbClr val="00346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4330" t="1534" r="65926" b="36043"/>
              <a:stretch>
                <a:fillRect/>
              </a:stretch>
            </p:blipFill>
            <p:spPr bwMode="auto">
              <a:xfrm>
                <a:off x="3594" y="2063"/>
                <a:ext cx="328" cy="4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299" name="AutoShape 26"/>
            <p:cNvSpPr>
              <a:spLocks noChangeArrowheads="1"/>
            </p:cNvSpPr>
            <p:nvPr/>
          </p:nvSpPr>
          <p:spPr bwMode="auto">
            <a:xfrm>
              <a:off x="4809728" y="2774403"/>
              <a:ext cx="1114308" cy="781866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7F97A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en-US" altLang="nl-BE" sz="1600" baseline="0">
                <a:solidFill>
                  <a:srgbClr val="BE0023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300" name="Text Box 27"/>
            <p:cNvSpPr txBox="1">
              <a:spLocks noChangeArrowheads="1"/>
            </p:cNvSpPr>
            <p:nvPr/>
          </p:nvSpPr>
          <p:spPr bwMode="auto">
            <a:xfrm>
              <a:off x="4812903" y="2891762"/>
              <a:ext cx="1134944" cy="3393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FFFFFF"/>
                  </a:solidFill>
                  <a:ea typeface="+mn-ea"/>
                  <a:cs typeface="Arial" pitchFamily="34" charset="0"/>
                </a:rPr>
                <a:t>37%</a:t>
              </a:r>
            </a:p>
          </p:txBody>
        </p:sp>
      </p:grp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1055688" y="3621088"/>
            <a:ext cx="6997700" cy="1238250"/>
            <a:chOff x="1030288" y="3609975"/>
            <a:chExt cx="6997700" cy="1238250"/>
          </a:xfrm>
        </p:grpSpPr>
        <p:sp>
          <p:nvSpPr>
            <p:cNvPr id="11289" name="Freeform 10"/>
            <p:cNvSpPr>
              <a:spLocks/>
            </p:cNvSpPr>
            <p:nvPr/>
          </p:nvSpPr>
          <p:spPr bwMode="auto">
            <a:xfrm rot="-487159">
              <a:off x="1030288" y="3609975"/>
              <a:ext cx="4259262" cy="1238250"/>
            </a:xfrm>
            <a:custGeom>
              <a:avLst/>
              <a:gdLst>
                <a:gd name="T0" fmla="*/ 2147483647 w 2747"/>
                <a:gd name="T1" fmla="*/ 0 h 1131"/>
                <a:gd name="T2" fmla="*/ 2147483647 w 2747"/>
                <a:gd name="T3" fmla="*/ 2147483647 h 1131"/>
                <a:gd name="T4" fmla="*/ 2147483647 w 2747"/>
                <a:gd name="T5" fmla="*/ 2147483647 h 1131"/>
                <a:gd name="T6" fmla="*/ 0 w 2747"/>
                <a:gd name="T7" fmla="*/ 2147483647 h 1131"/>
                <a:gd name="T8" fmla="*/ 2147483647 w 2747"/>
                <a:gd name="T9" fmla="*/ 0 h 11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47"/>
                <a:gd name="T16" fmla="*/ 0 h 1131"/>
                <a:gd name="T17" fmla="*/ 2747 w 2747"/>
                <a:gd name="T18" fmla="*/ 1131 h 11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47" h="1131">
                  <a:moveTo>
                    <a:pt x="32" y="0"/>
                  </a:moveTo>
                  <a:lnTo>
                    <a:pt x="2747" y="458"/>
                  </a:lnTo>
                  <a:lnTo>
                    <a:pt x="2742" y="1131"/>
                  </a:lnTo>
                  <a:lnTo>
                    <a:pt x="0" y="26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2C1CA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90" name="Line 11"/>
            <p:cNvSpPr>
              <a:spLocks noChangeShapeType="1"/>
            </p:cNvSpPr>
            <p:nvPr/>
          </p:nvSpPr>
          <p:spPr bwMode="auto">
            <a:xfrm rot="-487159">
              <a:off x="1827213" y="3794125"/>
              <a:ext cx="2486025" cy="477837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91" name="Text Box 14"/>
            <p:cNvSpPr txBox="1">
              <a:spLocks noChangeArrowheads="1"/>
            </p:cNvSpPr>
            <p:nvPr/>
          </p:nvSpPr>
          <p:spPr bwMode="auto">
            <a:xfrm>
              <a:off x="6407150" y="3954462"/>
              <a:ext cx="1620838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BE0023"/>
                  </a:solidFill>
                  <a:ea typeface="+mn-ea"/>
                  <a:cs typeface="Arial" pitchFamily="34" charset="0"/>
                </a:rPr>
                <a:t>Heart attack*</a:t>
              </a:r>
            </a:p>
          </p:txBody>
        </p:sp>
        <p:pic>
          <p:nvPicPr>
            <p:cNvPr id="60444" name="Picture 28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003466"/>
                </a:clrFrom>
                <a:clrTo>
                  <a:srgbClr val="00346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5338" y="3778250"/>
              <a:ext cx="1144587" cy="857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93" name="AutoShape 29"/>
            <p:cNvSpPr>
              <a:spLocks noChangeArrowheads="1"/>
            </p:cNvSpPr>
            <p:nvPr/>
          </p:nvSpPr>
          <p:spPr bwMode="auto">
            <a:xfrm>
              <a:off x="4822825" y="3789362"/>
              <a:ext cx="1114425" cy="78105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7F97A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en-US" altLang="nl-BE" sz="1600" baseline="0">
                <a:solidFill>
                  <a:srgbClr val="BE0023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94" name="Text Box 30"/>
            <p:cNvSpPr txBox="1">
              <a:spLocks noChangeArrowheads="1"/>
            </p:cNvSpPr>
            <p:nvPr/>
          </p:nvSpPr>
          <p:spPr bwMode="auto">
            <a:xfrm>
              <a:off x="4826000" y="3911600"/>
              <a:ext cx="1135063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FFFFFF"/>
                  </a:solidFill>
                  <a:ea typeface="+mn-ea"/>
                  <a:cs typeface="Arial" pitchFamily="34" charset="0"/>
                </a:rPr>
                <a:t>14%</a:t>
              </a:r>
            </a:p>
          </p:txBody>
        </p:sp>
      </p:grpSp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1027113" y="4160838"/>
            <a:ext cx="7748587" cy="1466850"/>
            <a:chOff x="1001713" y="4149725"/>
            <a:chExt cx="7748587" cy="1466850"/>
          </a:xfrm>
        </p:grpSpPr>
        <p:sp>
          <p:nvSpPr>
            <p:cNvPr id="11283" name="Text Box 22"/>
            <p:cNvSpPr txBox="1">
              <a:spLocks noChangeArrowheads="1"/>
            </p:cNvSpPr>
            <p:nvPr/>
          </p:nvSpPr>
          <p:spPr bwMode="auto">
            <a:xfrm>
              <a:off x="6416675" y="4708525"/>
              <a:ext cx="2333625" cy="830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BE0023"/>
                  </a:solidFill>
                  <a:ea typeface="+mn-ea"/>
                  <a:cs typeface="Arial" pitchFamily="34" charset="0"/>
                </a:rPr>
                <a:t>Amputation or fatal peripheral blood vessel disease*</a:t>
              </a:r>
            </a:p>
          </p:txBody>
        </p:sp>
        <p:sp>
          <p:nvSpPr>
            <p:cNvPr id="11284" name="Freeform 34"/>
            <p:cNvSpPr>
              <a:spLocks/>
            </p:cNvSpPr>
            <p:nvPr/>
          </p:nvSpPr>
          <p:spPr bwMode="auto">
            <a:xfrm rot="276614">
              <a:off x="1001713" y="4149725"/>
              <a:ext cx="4278312" cy="1152525"/>
            </a:xfrm>
            <a:custGeom>
              <a:avLst/>
              <a:gdLst>
                <a:gd name="T0" fmla="*/ 2147483647 w 2747"/>
                <a:gd name="T1" fmla="*/ 0 h 1131"/>
                <a:gd name="T2" fmla="*/ 2147483647 w 2747"/>
                <a:gd name="T3" fmla="*/ 2147483647 h 1131"/>
                <a:gd name="T4" fmla="*/ 2147483647 w 2747"/>
                <a:gd name="T5" fmla="*/ 2147483647 h 1131"/>
                <a:gd name="T6" fmla="*/ 0 w 2747"/>
                <a:gd name="T7" fmla="*/ 2147483647 h 1131"/>
                <a:gd name="T8" fmla="*/ 2147483647 w 2747"/>
                <a:gd name="T9" fmla="*/ 0 h 11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47"/>
                <a:gd name="T16" fmla="*/ 0 h 1131"/>
                <a:gd name="T17" fmla="*/ 2747 w 2747"/>
                <a:gd name="T18" fmla="*/ 1131 h 11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47" h="1131">
                  <a:moveTo>
                    <a:pt x="32" y="0"/>
                  </a:moveTo>
                  <a:lnTo>
                    <a:pt x="2747" y="458"/>
                  </a:lnTo>
                  <a:lnTo>
                    <a:pt x="2742" y="1131"/>
                  </a:lnTo>
                  <a:lnTo>
                    <a:pt x="0" y="26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2C1CA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85" name="Line 35"/>
            <p:cNvSpPr>
              <a:spLocks noChangeShapeType="1"/>
            </p:cNvSpPr>
            <p:nvPr/>
          </p:nvSpPr>
          <p:spPr bwMode="auto">
            <a:xfrm rot="276614">
              <a:off x="1762125" y="4276725"/>
              <a:ext cx="2582863" cy="481012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pic>
          <p:nvPicPr>
            <p:cNvPr id="60438" name="Picture 37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084"/>
            <a:stretch>
              <a:fillRect/>
            </a:stretch>
          </p:blipFill>
          <p:spPr bwMode="auto">
            <a:xfrm>
              <a:off x="5514975" y="4786313"/>
              <a:ext cx="1217613" cy="830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87" name="AutoShape 38"/>
            <p:cNvSpPr>
              <a:spLocks noChangeArrowheads="1"/>
            </p:cNvSpPr>
            <p:nvPr/>
          </p:nvSpPr>
          <p:spPr bwMode="auto">
            <a:xfrm>
              <a:off x="4810125" y="4787900"/>
              <a:ext cx="1114425" cy="78105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7F97A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en-US" altLang="nl-BE" sz="1600" baseline="0">
                <a:solidFill>
                  <a:srgbClr val="BE0023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88" name="Text Box 39"/>
            <p:cNvSpPr txBox="1">
              <a:spLocks noChangeArrowheads="1"/>
            </p:cNvSpPr>
            <p:nvPr/>
          </p:nvSpPr>
          <p:spPr bwMode="auto">
            <a:xfrm>
              <a:off x="4814888" y="4914900"/>
              <a:ext cx="1135062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FFFFFF"/>
                  </a:solidFill>
                  <a:ea typeface="+mn-ea"/>
                  <a:cs typeface="Arial" pitchFamily="34" charset="0"/>
                </a:rPr>
                <a:t>43%</a:t>
              </a:r>
            </a:p>
          </p:txBody>
        </p:sp>
      </p:grpSp>
      <p:grpSp>
        <p:nvGrpSpPr>
          <p:cNvPr id="8" name="Group 8"/>
          <p:cNvGrpSpPr>
            <a:grpSpLocks/>
          </p:cNvGrpSpPr>
          <p:nvPr/>
        </p:nvGrpSpPr>
        <p:grpSpPr bwMode="auto">
          <a:xfrm>
            <a:off x="684213" y="4473575"/>
            <a:ext cx="8110537" cy="2068513"/>
            <a:chOff x="658813" y="4462463"/>
            <a:chExt cx="8109558" cy="2068512"/>
          </a:xfrm>
        </p:grpSpPr>
        <p:sp>
          <p:nvSpPr>
            <p:cNvPr id="11277" name="Freeform 4"/>
            <p:cNvSpPr>
              <a:spLocks/>
            </p:cNvSpPr>
            <p:nvPr/>
          </p:nvSpPr>
          <p:spPr bwMode="auto">
            <a:xfrm rot="943629">
              <a:off x="658813" y="4649788"/>
              <a:ext cx="4863513" cy="1212849"/>
            </a:xfrm>
            <a:custGeom>
              <a:avLst/>
              <a:gdLst>
                <a:gd name="T0" fmla="*/ 2147483647 w 2747"/>
                <a:gd name="T1" fmla="*/ 0 h 1131"/>
                <a:gd name="T2" fmla="*/ 2147483647 w 2747"/>
                <a:gd name="T3" fmla="*/ 2147483647 h 1131"/>
                <a:gd name="T4" fmla="*/ 2147483647 w 2747"/>
                <a:gd name="T5" fmla="*/ 2147483647 h 1131"/>
                <a:gd name="T6" fmla="*/ 0 w 2747"/>
                <a:gd name="T7" fmla="*/ 2147483647 h 1131"/>
                <a:gd name="T8" fmla="*/ 2147483647 w 2747"/>
                <a:gd name="T9" fmla="*/ 0 h 11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47"/>
                <a:gd name="T16" fmla="*/ 0 h 1131"/>
                <a:gd name="T17" fmla="*/ 2747 w 2747"/>
                <a:gd name="T18" fmla="*/ 1131 h 11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47" h="1131">
                  <a:moveTo>
                    <a:pt x="32" y="0"/>
                  </a:moveTo>
                  <a:lnTo>
                    <a:pt x="2747" y="458"/>
                  </a:lnTo>
                  <a:lnTo>
                    <a:pt x="2742" y="1131"/>
                  </a:lnTo>
                  <a:lnTo>
                    <a:pt x="0" y="26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B2C1CA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78" name="Line 5"/>
            <p:cNvSpPr>
              <a:spLocks noChangeShapeType="1"/>
            </p:cNvSpPr>
            <p:nvPr/>
          </p:nvSpPr>
          <p:spPr bwMode="auto">
            <a:xfrm rot="38969">
              <a:off x="1774690" y="4462463"/>
              <a:ext cx="2455567" cy="1085849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nl-BE" sz="1600" baseline="0">
                <a:solidFill>
                  <a:srgbClr val="4D4D4F"/>
                </a:solidFill>
                <a:ea typeface="+mn-ea"/>
                <a:cs typeface="Arial" pitchFamily="34" charset="0"/>
              </a:endParaRPr>
            </a:p>
          </p:txBody>
        </p:sp>
        <p:pic>
          <p:nvPicPr>
            <p:cNvPr id="60431" name="Picture 31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77521" y="5869675"/>
              <a:ext cx="657225" cy="483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80" name="AutoShape 32"/>
            <p:cNvSpPr>
              <a:spLocks noChangeArrowheads="1"/>
            </p:cNvSpPr>
            <p:nvPr/>
          </p:nvSpPr>
          <p:spPr bwMode="auto">
            <a:xfrm>
              <a:off x="4838195" y="5792787"/>
              <a:ext cx="1069846" cy="738188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7F97A7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>
                <a:defRPr/>
              </a:pPr>
              <a:endParaRPr lang="en-US" altLang="nl-BE" sz="1600" baseline="0">
                <a:solidFill>
                  <a:srgbClr val="BE0023"/>
                </a:solidFill>
                <a:ea typeface="+mn-ea"/>
                <a:cs typeface="Arial" pitchFamily="34" charset="0"/>
              </a:endParaRPr>
            </a:p>
          </p:txBody>
        </p:sp>
        <p:sp>
          <p:nvSpPr>
            <p:cNvPr id="11281" name="Text Box 33"/>
            <p:cNvSpPr txBox="1">
              <a:spLocks noChangeArrowheads="1"/>
            </p:cNvSpPr>
            <p:nvPr/>
          </p:nvSpPr>
          <p:spPr bwMode="auto">
            <a:xfrm>
              <a:off x="4831846" y="5921375"/>
              <a:ext cx="1088894" cy="33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FFFFFF"/>
                  </a:solidFill>
                  <a:ea typeface="+mn-ea"/>
                  <a:cs typeface="Arial" pitchFamily="34" charset="0"/>
                </a:rPr>
                <a:t>12%</a:t>
              </a:r>
            </a:p>
          </p:txBody>
        </p:sp>
        <p:sp>
          <p:nvSpPr>
            <p:cNvPr id="11282" name="Text Box 40"/>
            <p:cNvSpPr txBox="1">
              <a:spLocks noChangeArrowheads="1"/>
            </p:cNvSpPr>
            <p:nvPr/>
          </p:nvSpPr>
          <p:spPr bwMode="auto">
            <a:xfrm>
              <a:off x="6435028" y="5878512"/>
              <a:ext cx="2333343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50000"/>
                </a:spcBef>
                <a:defRPr/>
              </a:pPr>
              <a:r>
                <a:rPr lang="en-GB" altLang="nl-BE" sz="1600" baseline="0">
                  <a:solidFill>
                    <a:srgbClr val="BE0023"/>
                  </a:solidFill>
                  <a:ea typeface="+mn-ea"/>
                  <a:cs typeface="Arial" pitchFamily="34" charset="0"/>
                </a:rPr>
                <a:t>Stroke**</a:t>
              </a:r>
            </a:p>
          </p:txBody>
        </p:sp>
      </p:grpSp>
      <p:sp>
        <p:nvSpPr>
          <p:cNvPr id="11272" name="Text Box 42"/>
          <p:cNvSpPr txBox="1">
            <a:spLocks noChangeArrowheads="1"/>
          </p:cNvSpPr>
          <p:nvPr/>
        </p:nvSpPr>
        <p:spPr bwMode="auto">
          <a:xfrm>
            <a:off x="203200" y="908050"/>
            <a:ext cx="87614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algn="ctr" eaLnBrk="1" hangingPunct="1">
              <a:defRPr/>
            </a:pPr>
            <a:r>
              <a:rPr lang="en-GB" altLang="en-GB" sz="2400" b="1" baseline="0">
                <a:solidFill>
                  <a:srgbClr val="00B050"/>
                </a:solidFill>
                <a:ea typeface="+mn-ea"/>
                <a:cs typeface="Arial" pitchFamily="34" charset="0"/>
              </a:rPr>
              <a:t>benefit of a </a:t>
            </a:r>
            <a:r>
              <a:rPr lang="en-US" altLang="en-US" sz="2400" b="1" baseline="0">
                <a:solidFill>
                  <a:srgbClr val="00B050"/>
                </a:solidFill>
                <a:ea typeface="+mn-ea"/>
                <a:cs typeface="Arial" pitchFamily="34" charset="0"/>
              </a:rPr>
              <a:t>1% reduction in HbA</a:t>
            </a:r>
            <a:r>
              <a:rPr lang="en-US" altLang="en-US" sz="2400" b="1">
                <a:solidFill>
                  <a:srgbClr val="00B050"/>
                </a:solidFill>
                <a:ea typeface="+mn-ea"/>
                <a:cs typeface="Arial" pitchFamily="34" charset="0"/>
              </a:rPr>
              <a:t>1c </a:t>
            </a:r>
            <a:endParaRPr lang="en-US" altLang="en-US" sz="2400" b="1" baseline="30000">
              <a:solidFill>
                <a:srgbClr val="00B050"/>
              </a:solidFill>
              <a:ea typeface="+mn-ea"/>
              <a:cs typeface="Arial" pitchFamily="34" charset="0"/>
            </a:endParaRPr>
          </a:p>
        </p:txBody>
      </p:sp>
      <p:sp>
        <p:nvSpPr>
          <p:cNvPr id="11273" name="Text Box 43"/>
          <p:cNvSpPr txBox="1">
            <a:spLocks noChangeArrowheads="1"/>
          </p:cNvSpPr>
          <p:nvPr/>
        </p:nvSpPr>
        <p:spPr bwMode="auto">
          <a:xfrm>
            <a:off x="357188" y="6294438"/>
            <a:ext cx="6118225" cy="4000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eaLnBrk="1" hangingPunct="1">
              <a:defRPr/>
            </a:pPr>
            <a:r>
              <a:rPr lang="en-GB" altLang="nl-BE" sz="1000" baseline="0">
                <a:solidFill>
                  <a:srgbClr val="000000"/>
                </a:solidFill>
                <a:ea typeface="+mn-ea"/>
                <a:cs typeface="Arial" pitchFamily="34" charset="0"/>
              </a:rPr>
              <a:t>*</a:t>
            </a:r>
            <a:r>
              <a:rPr lang="en-GB" altLang="nl-BE" sz="1000" i="1" baseline="0">
                <a:solidFill>
                  <a:srgbClr val="000000"/>
                </a:solidFill>
                <a:ea typeface="+mn-ea"/>
                <a:cs typeface="Arial" pitchFamily="34" charset="0"/>
              </a:rPr>
              <a:t>P&lt;.</a:t>
            </a:r>
            <a:r>
              <a:rPr lang="en-GB" altLang="nl-BE" sz="1000" baseline="0">
                <a:solidFill>
                  <a:srgbClr val="000000"/>
                </a:solidFill>
                <a:ea typeface="+mn-ea"/>
                <a:cs typeface="Arial" pitchFamily="34" charset="0"/>
              </a:rPr>
              <a:t>0001; **</a:t>
            </a:r>
            <a:r>
              <a:rPr lang="en-GB" altLang="nl-BE" sz="1000" i="1" baseline="0">
                <a:solidFill>
                  <a:srgbClr val="000000"/>
                </a:solidFill>
                <a:ea typeface="+mn-ea"/>
                <a:cs typeface="Arial" pitchFamily="34" charset="0"/>
              </a:rPr>
              <a:t>P</a:t>
            </a:r>
            <a:r>
              <a:rPr lang="en-GB" altLang="nl-BE" sz="1000" baseline="0">
                <a:solidFill>
                  <a:srgbClr val="000000"/>
                </a:solidFill>
                <a:ea typeface="+mn-ea"/>
                <a:cs typeface="Arial" pitchFamily="34" charset="0"/>
              </a:rPr>
              <a:t>=.035.</a:t>
            </a:r>
          </a:p>
          <a:p>
            <a:pPr eaLnBrk="1" hangingPunct="1">
              <a:defRPr/>
            </a:pPr>
            <a:r>
              <a:rPr lang="en-GB" altLang="nl-BE" sz="1000" baseline="0">
                <a:solidFill>
                  <a:srgbClr val="000000"/>
                </a:solidFill>
                <a:ea typeface="+mn-ea"/>
                <a:cs typeface="Arial" pitchFamily="34" charset="0"/>
              </a:rPr>
              <a:t>Stratton IM, et al. UKPDS 35. </a:t>
            </a:r>
            <a:r>
              <a:rPr lang="en-GB" altLang="nl-BE" sz="1000" i="1" baseline="0">
                <a:solidFill>
                  <a:srgbClr val="000000"/>
                </a:solidFill>
                <a:ea typeface="+mn-ea"/>
                <a:cs typeface="Arial" pitchFamily="34" charset="0"/>
              </a:rPr>
              <a:t>BMJ.</a:t>
            </a:r>
            <a:r>
              <a:rPr lang="en-GB" altLang="nl-BE" sz="1000" baseline="0">
                <a:solidFill>
                  <a:srgbClr val="000000"/>
                </a:solidFill>
                <a:ea typeface="+mn-ea"/>
                <a:cs typeface="Arial" pitchFamily="34" charset="0"/>
              </a:rPr>
              <a:t>2000;321:405-412.</a:t>
            </a:r>
          </a:p>
        </p:txBody>
      </p:sp>
      <p:sp>
        <p:nvSpPr>
          <p:cNvPr id="11274" name="Text Box 12"/>
          <p:cNvSpPr txBox="1">
            <a:spLocks noChangeArrowheads="1"/>
          </p:cNvSpPr>
          <p:nvPr/>
        </p:nvSpPr>
        <p:spPr bwMode="auto">
          <a:xfrm>
            <a:off x="381000" y="3363913"/>
            <a:ext cx="1135063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en-GB" altLang="nl-BE" sz="1600" baseline="0">
                <a:solidFill>
                  <a:srgbClr val="BE0023"/>
                </a:solidFill>
                <a:ea typeface="+mn-ea"/>
                <a:cs typeface="Arial" pitchFamily="34" charset="0"/>
              </a:rPr>
              <a:t>HbA</a:t>
            </a:r>
            <a:r>
              <a:rPr lang="en-GB" altLang="nl-BE" sz="1600">
                <a:solidFill>
                  <a:srgbClr val="BE0023"/>
                </a:solidFill>
                <a:ea typeface="+mn-ea"/>
                <a:cs typeface="Arial" pitchFamily="34" charset="0"/>
              </a:rPr>
              <a:t>1c</a:t>
            </a:r>
            <a:endParaRPr lang="en-GB" altLang="nl-BE" sz="1600" baseline="0">
              <a:solidFill>
                <a:srgbClr val="BE0023"/>
              </a:solidFill>
              <a:ea typeface="+mn-ea"/>
              <a:cs typeface="Arial" pitchFamily="34" charset="0"/>
            </a:endParaRPr>
          </a:p>
        </p:txBody>
      </p:sp>
      <p:sp>
        <p:nvSpPr>
          <p:cNvPr id="11275" name="AutoShape 36"/>
          <p:cNvSpPr>
            <a:spLocks noChangeArrowheads="1"/>
          </p:cNvSpPr>
          <p:nvPr/>
        </p:nvSpPr>
        <p:spPr bwMode="auto">
          <a:xfrm>
            <a:off x="203200" y="3700463"/>
            <a:ext cx="1371600" cy="882650"/>
          </a:xfrm>
          <a:prstGeom prst="downArrow">
            <a:avLst>
              <a:gd name="adj1" fmla="val 50000"/>
              <a:gd name="adj2" fmla="val 47421"/>
            </a:avLst>
          </a:prstGeom>
          <a:solidFill>
            <a:srgbClr val="0070C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eaLnBrk="1" hangingPunct="1">
              <a:defRPr/>
            </a:pPr>
            <a:endParaRPr lang="en-US" altLang="nl-BE" sz="1600" baseline="0">
              <a:solidFill>
                <a:srgbClr val="BE0023"/>
              </a:solidFill>
              <a:ea typeface="+mn-ea"/>
              <a:cs typeface="Arial" pitchFamily="34" charset="0"/>
            </a:endParaRPr>
          </a:p>
        </p:txBody>
      </p:sp>
      <p:sp>
        <p:nvSpPr>
          <p:cNvPr id="11276" name="Text Box 41"/>
          <p:cNvSpPr txBox="1">
            <a:spLocks noChangeArrowheads="1"/>
          </p:cNvSpPr>
          <p:nvPr/>
        </p:nvSpPr>
        <p:spPr bwMode="auto">
          <a:xfrm>
            <a:off x="349250" y="3871913"/>
            <a:ext cx="1135063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en-GB" altLang="nl-BE" sz="1600" baseline="0">
                <a:solidFill>
                  <a:srgbClr val="FFFFFF"/>
                </a:solidFill>
                <a:ea typeface="+mn-ea"/>
                <a:cs typeface="Arial" pitchFamily="34" charset="0"/>
              </a:rPr>
              <a:t>1%</a:t>
            </a:r>
          </a:p>
        </p:txBody>
      </p:sp>
    </p:spTree>
    <p:extLst>
      <p:ext uri="{BB962C8B-B14F-4D97-AF65-F5344CB8AC3E}">
        <p14:creationId xmlns:p14="http://schemas.microsoft.com/office/powerpoint/2010/main" val="20893952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200" dirty="0"/>
              <a:t>Faster aspart vs. insulin aspart via </a:t>
            </a:r>
            <a:r>
              <a:rPr lang="en-GB" sz="2200" dirty="0" err="1"/>
              <a:t>sc</a:t>
            </a:r>
            <a:r>
              <a:rPr lang="en-GB" sz="2200" dirty="0"/>
              <a:t> injection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296671" y="2888511"/>
            <a:ext cx="3553434" cy="69991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>
              <a:spcBef>
                <a:spcPts val="1600"/>
              </a:spcBef>
            </a:pPr>
            <a:r>
              <a:rPr lang="en-GB" sz="1400" dirty="0">
                <a:solidFill>
                  <a:srgbClr val="001965"/>
                </a:solidFill>
              </a:rPr>
              <a:t>Twice as fast onset of appearance in the bloodstream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296669" y="3739208"/>
            <a:ext cx="3548442" cy="69991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>
              <a:spcBef>
                <a:spcPts val="1600"/>
              </a:spcBef>
            </a:pPr>
            <a:r>
              <a:rPr lang="en-GB" sz="1400" dirty="0">
                <a:solidFill>
                  <a:srgbClr val="001965"/>
                </a:solidFill>
              </a:rPr>
              <a:t>Two-fold higher insulin exposure within the first 30 min 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296669" y="4579359"/>
            <a:ext cx="3548442" cy="687595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>
              <a:spcBef>
                <a:spcPts val="1600"/>
              </a:spcBef>
            </a:pPr>
            <a:r>
              <a:rPr lang="en-GB" sz="1400" dirty="0">
                <a:solidFill>
                  <a:srgbClr val="001965"/>
                </a:solidFill>
              </a:rPr>
              <a:t>74% greater insulin action within the first 30 min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16804" y="2175598"/>
            <a:ext cx="3544981" cy="553452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/>
            <a:r>
              <a:rPr lang="en-GB" sz="1400" b="1" dirty="0">
                <a:solidFill>
                  <a:srgbClr val="FFFFFF"/>
                </a:solidFill>
              </a:rPr>
              <a:t>Compared with insulin aspart, faster aspart has: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9307" y="5616708"/>
            <a:ext cx="8551684" cy="256476"/>
          </a:xfrm>
          <a:prstGeom prst="rect">
            <a:avLst/>
          </a:prstGeom>
          <a:noFill/>
        </p:spPr>
        <p:txBody>
          <a:bodyPr wrap="square" lIns="91414" tIns="45718" rIns="91414" bIns="45718" rtlCol="0" anchor="b" anchorCtr="0">
            <a:spAutoFit/>
          </a:bodyPr>
          <a:lstStyle/>
          <a:p>
            <a:pPr marL="0" lvl="1" eaLnBrk="0" hangingPunct="0"/>
            <a:r>
              <a:rPr lang="en-GB" sz="800" dirty="0">
                <a:solidFill>
                  <a:srgbClr val="82786F"/>
                </a:solidFill>
                <a:cs typeface="Arial" pitchFamily="34" charset="0"/>
              </a:rPr>
              <a:t>Pooled analysis of NN1218 trials </a:t>
            </a:r>
            <a:r>
              <a:rPr lang="en-GB" sz="800" dirty="0">
                <a:solidFill>
                  <a:srgbClr val="82786F"/>
                </a:solidFill>
                <a:latin typeface="Verdana"/>
              </a:rPr>
              <a:t>3887, 3888, 3889, 3891, 3921, 3978.</a:t>
            </a:r>
          </a:p>
          <a:p>
            <a:pPr marL="0" lvl="1" eaLnBrk="0" hangingPunct="0"/>
            <a:r>
              <a:rPr lang="en-US" sz="800" dirty="0">
                <a:solidFill>
                  <a:srgbClr val="82786F"/>
                </a:solidFill>
              </a:rPr>
              <a:t>Faster aspart, fast-acting insulin aspart; </a:t>
            </a:r>
            <a:r>
              <a:rPr lang="en-GB" sz="800" dirty="0">
                <a:solidFill>
                  <a:srgbClr val="82786F"/>
                </a:solidFill>
                <a:latin typeface="Verdana"/>
                <a:cs typeface="Arial" pitchFamily="34" charset="0"/>
              </a:rPr>
              <a:t>GIR, glucose infusion rate; IAsp, insulin aspart; </a:t>
            </a:r>
            <a:r>
              <a:rPr lang="en-GB" sz="800" dirty="0" err="1">
                <a:solidFill>
                  <a:srgbClr val="82786F"/>
                </a:solidFill>
                <a:latin typeface="Verdana"/>
                <a:cs typeface="Arial" pitchFamily="34" charset="0"/>
              </a:rPr>
              <a:t>sc</a:t>
            </a:r>
            <a:r>
              <a:rPr lang="en-GB" sz="800" dirty="0">
                <a:solidFill>
                  <a:srgbClr val="82786F"/>
                </a:solidFill>
                <a:latin typeface="Verdana"/>
                <a:cs typeface="Arial" pitchFamily="34" charset="0"/>
              </a:rPr>
              <a:t>, subcutaneou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4388774" y="2047265"/>
            <a:ext cx="3845485" cy="2303470"/>
            <a:chOff x="4388772" y="1027943"/>
            <a:chExt cx="3845485" cy="2888881"/>
          </a:xfrm>
        </p:grpSpPr>
        <p:sp>
          <p:nvSpPr>
            <p:cNvPr id="200" name="Freeform 199"/>
            <p:cNvSpPr/>
            <p:nvPr/>
          </p:nvSpPr>
          <p:spPr>
            <a:xfrm>
              <a:off x="5085401" y="1589189"/>
              <a:ext cx="1489497" cy="1851719"/>
            </a:xfrm>
            <a:custGeom>
              <a:avLst/>
              <a:gdLst>
                <a:gd name="connsiteX0" fmla="*/ 0 w 7322820"/>
                <a:gd name="connsiteY0" fmla="*/ 2697480 h 2697480"/>
                <a:gd name="connsiteX1" fmla="*/ 144780 w 7322820"/>
                <a:gd name="connsiteY1" fmla="*/ 2667000 h 2697480"/>
                <a:gd name="connsiteX2" fmla="*/ 274320 w 7322820"/>
                <a:gd name="connsiteY2" fmla="*/ 2529840 h 2697480"/>
                <a:gd name="connsiteX3" fmla="*/ 396240 w 7322820"/>
                <a:gd name="connsiteY3" fmla="*/ 2225040 h 2697480"/>
                <a:gd name="connsiteX4" fmla="*/ 518160 w 7322820"/>
                <a:gd name="connsiteY4" fmla="*/ 2072640 h 2697480"/>
                <a:gd name="connsiteX5" fmla="*/ 640080 w 7322820"/>
                <a:gd name="connsiteY5" fmla="*/ 1828800 h 2697480"/>
                <a:gd name="connsiteX6" fmla="*/ 830580 w 7322820"/>
                <a:gd name="connsiteY6" fmla="*/ 1592580 h 2697480"/>
                <a:gd name="connsiteX7" fmla="*/ 929640 w 7322820"/>
                <a:gd name="connsiteY7" fmla="*/ 1478280 h 2697480"/>
                <a:gd name="connsiteX8" fmla="*/ 998220 w 7322820"/>
                <a:gd name="connsiteY8" fmla="*/ 1363980 h 2697480"/>
                <a:gd name="connsiteX9" fmla="*/ 1135380 w 7322820"/>
                <a:gd name="connsiteY9" fmla="*/ 1234440 h 2697480"/>
                <a:gd name="connsiteX10" fmla="*/ 1226820 w 7322820"/>
                <a:gd name="connsiteY10" fmla="*/ 1059180 h 2697480"/>
                <a:gd name="connsiteX11" fmla="*/ 1303020 w 7322820"/>
                <a:gd name="connsiteY11" fmla="*/ 1005840 h 2697480"/>
                <a:gd name="connsiteX12" fmla="*/ 1546860 w 7322820"/>
                <a:gd name="connsiteY12" fmla="*/ 708660 h 2697480"/>
                <a:gd name="connsiteX13" fmla="*/ 1859280 w 7322820"/>
                <a:gd name="connsiteY13" fmla="*/ 419100 h 2697480"/>
                <a:gd name="connsiteX14" fmla="*/ 2156460 w 7322820"/>
                <a:gd name="connsiteY14" fmla="*/ 190500 h 2697480"/>
                <a:gd name="connsiteX15" fmla="*/ 2461260 w 7322820"/>
                <a:gd name="connsiteY15" fmla="*/ 99060 h 2697480"/>
                <a:gd name="connsiteX16" fmla="*/ 2773680 w 7322820"/>
                <a:gd name="connsiteY16" fmla="*/ 38100 h 2697480"/>
                <a:gd name="connsiteX17" fmla="*/ 3055620 w 7322820"/>
                <a:gd name="connsiteY17" fmla="*/ 0 h 2697480"/>
                <a:gd name="connsiteX18" fmla="*/ 3360420 w 7322820"/>
                <a:gd name="connsiteY18" fmla="*/ 114300 h 2697480"/>
                <a:gd name="connsiteX19" fmla="*/ 3695700 w 7322820"/>
                <a:gd name="connsiteY19" fmla="*/ 83820 h 2697480"/>
                <a:gd name="connsiteX20" fmla="*/ 3977640 w 7322820"/>
                <a:gd name="connsiteY20" fmla="*/ 91440 h 2697480"/>
                <a:gd name="connsiteX21" fmla="*/ 4290060 w 7322820"/>
                <a:gd name="connsiteY21" fmla="*/ 182880 h 2697480"/>
                <a:gd name="connsiteX22" fmla="*/ 4579620 w 7322820"/>
                <a:gd name="connsiteY22" fmla="*/ 259080 h 2697480"/>
                <a:gd name="connsiteX23" fmla="*/ 4899660 w 7322820"/>
                <a:gd name="connsiteY23" fmla="*/ 342900 h 2697480"/>
                <a:gd name="connsiteX24" fmla="*/ 5433060 w 7322820"/>
                <a:gd name="connsiteY24" fmla="*/ 449580 h 2697480"/>
                <a:gd name="connsiteX25" fmla="*/ 5935980 w 7322820"/>
                <a:gd name="connsiteY25" fmla="*/ 579120 h 2697480"/>
                <a:gd name="connsiteX26" fmla="*/ 6217920 w 7322820"/>
                <a:gd name="connsiteY26" fmla="*/ 678180 h 2697480"/>
                <a:gd name="connsiteX27" fmla="*/ 6720840 w 7322820"/>
                <a:gd name="connsiteY27" fmla="*/ 830580 h 2697480"/>
                <a:gd name="connsiteX28" fmla="*/ 7322820 w 7322820"/>
                <a:gd name="connsiteY28" fmla="*/ 998220 h 2697480"/>
                <a:gd name="connsiteX0" fmla="*/ 0 w 7322820"/>
                <a:gd name="connsiteY0" fmla="*/ 2697480 h 2697480"/>
                <a:gd name="connsiteX1" fmla="*/ 144780 w 7322820"/>
                <a:gd name="connsiteY1" fmla="*/ 2667000 h 2697480"/>
                <a:gd name="connsiteX2" fmla="*/ 274320 w 7322820"/>
                <a:gd name="connsiteY2" fmla="*/ 2529840 h 2697480"/>
                <a:gd name="connsiteX3" fmla="*/ 396240 w 7322820"/>
                <a:gd name="connsiteY3" fmla="*/ 2225040 h 2697480"/>
                <a:gd name="connsiteX4" fmla="*/ 518160 w 7322820"/>
                <a:gd name="connsiteY4" fmla="*/ 2072640 h 2697480"/>
                <a:gd name="connsiteX5" fmla="*/ 640080 w 7322820"/>
                <a:gd name="connsiteY5" fmla="*/ 1828800 h 2697480"/>
                <a:gd name="connsiteX6" fmla="*/ 830580 w 7322820"/>
                <a:gd name="connsiteY6" fmla="*/ 1592580 h 2697480"/>
                <a:gd name="connsiteX7" fmla="*/ 929640 w 7322820"/>
                <a:gd name="connsiteY7" fmla="*/ 1478280 h 2697480"/>
                <a:gd name="connsiteX8" fmla="*/ 998220 w 7322820"/>
                <a:gd name="connsiteY8" fmla="*/ 1363980 h 2697480"/>
                <a:gd name="connsiteX9" fmla="*/ 1135380 w 7322820"/>
                <a:gd name="connsiteY9" fmla="*/ 1234440 h 2697480"/>
                <a:gd name="connsiteX10" fmla="*/ 1226820 w 7322820"/>
                <a:gd name="connsiteY10" fmla="*/ 1059180 h 2697480"/>
                <a:gd name="connsiteX11" fmla="*/ 1303020 w 7322820"/>
                <a:gd name="connsiteY11" fmla="*/ 1005840 h 2697480"/>
                <a:gd name="connsiteX12" fmla="*/ 1546860 w 7322820"/>
                <a:gd name="connsiteY12" fmla="*/ 708660 h 2697480"/>
                <a:gd name="connsiteX13" fmla="*/ 1859280 w 7322820"/>
                <a:gd name="connsiteY13" fmla="*/ 419100 h 2697480"/>
                <a:gd name="connsiteX14" fmla="*/ 2145724 w 7322820"/>
                <a:gd name="connsiteY14" fmla="*/ 224690 h 2697480"/>
                <a:gd name="connsiteX15" fmla="*/ 2461260 w 7322820"/>
                <a:gd name="connsiteY15" fmla="*/ 99060 h 2697480"/>
                <a:gd name="connsiteX16" fmla="*/ 2773680 w 7322820"/>
                <a:gd name="connsiteY16" fmla="*/ 38100 h 2697480"/>
                <a:gd name="connsiteX17" fmla="*/ 3055620 w 7322820"/>
                <a:gd name="connsiteY17" fmla="*/ 0 h 2697480"/>
                <a:gd name="connsiteX18" fmla="*/ 3360420 w 7322820"/>
                <a:gd name="connsiteY18" fmla="*/ 114300 h 2697480"/>
                <a:gd name="connsiteX19" fmla="*/ 3695700 w 7322820"/>
                <a:gd name="connsiteY19" fmla="*/ 83820 h 2697480"/>
                <a:gd name="connsiteX20" fmla="*/ 3977640 w 7322820"/>
                <a:gd name="connsiteY20" fmla="*/ 91440 h 2697480"/>
                <a:gd name="connsiteX21" fmla="*/ 4290060 w 7322820"/>
                <a:gd name="connsiteY21" fmla="*/ 182880 h 2697480"/>
                <a:gd name="connsiteX22" fmla="*/ 4579620 w 7322820"/>
                <a:gd name="connsiteY22" fmla="*/ 259080 h 2697480"/>
                <a:gd name="connsiteX23" fmla="*/ 4899660 w 7322820"/>
                <a:gd name="connsiteY23" fmla="*/ 342900 h 2697480"/>
                <a:gd name="connsiteX24" fmla="*/ 5433060 w 7322820"/>
                <a:gd name="connsiteY24" fmla="*/ 449580 h 2697480"/>
                <a:gd name="connsiteX25" fmla="*/ 5935980 w 7322820"/>
                <a:gd name="connsiteY25" fmla="*/ 579120 h 2697480"/>
                <a:gd name="connsiteX26" fmla="*/ 6217920 w 7322820"/>
                <a:gd name="connsiteY26" fmla="*/ 678180 h 2697480"/>
                <a:gd name="connsiteX27" fmla="*/ 6720840 w 7322820"/>
                <a:gd name="connsiteY27" fmla="*/ 830580 h 2697480"/>
                <a:gd name="connsiteX28" fmla="*/ 7322820 w 7322820"/>
                <a:gd name="connsiteY28" fmla="*/ 998220 h 2697480"/>
                <a:gd name="connsiteX0" fmla="*/ 0 w 7322820"/>
                <a:gd name="connsiteY0" fmla="*/ 2697480 h 2697480"/>
                <a:gd name="connsiteX1" fmla="*/ 144780 w 7322820"/>
                <a:gd name="connsiteY1" fmla="*/ 2667000 h 2697480"/>
                <a:gd name="connsiteX2" fmla="*/ 274320 w 7322820"/>
                <a:gd name="connsiteY2" fmla="*/ 2529840 h 2697480"/>
                <a:gd name="connsiteX3" fmla="*/ 396240 w 7322820"/>
                <a:gd name="connsiteY3" fmla="*/ 2225040 h 2697480"/>
                <a:gd name="connsiteX4" fmla="*/ 518160 w 7322820"/>
                <a:gd name="connsiteY4" fmla="*/ 2072640 h 2697480"/>
                <a:gd name="connsiteX5" fmla="*/ 640080 w 7322820"/>
                <a:gd name="connsiteY5" fmla="*/ 1828800 h 2697480"/>
                <a:gd name="connsiteX6" fmla="*/ 830580 w 7322820"/>
                <a:gd name="connsiteY6" fmla="*/ 1592580 h 2697480"/>
                <a:gd name="connsiteX7" fmla="*/ 929640 w 7322820"/>
                <a:gd name="connsiteY7" fmla="*/ 1478280 h 2697480"/>
                <a:gd name="connsiteX8" fmla="*/ 998220 w 7322820"/>
                <a:gd name="connsiteY8" fmla="*/ 1363980 h 2697480"/>
                <a:gd name="connsiteX9" fmla="*/ 1135380 w 7322820"/>
                <a:gd name="connsiteY9" fmla="*/ 1234440 h 2697480"/>
                <a:gd name="connsiteX10" fmla="*/ 1226820 w 7322820"/>
                <a:gd name="connsiteY10" fmla="*/ 1059180 h 2697480"/>
                <a:gd name="connsiteX11" fmla="*/ 1303020 w 7322820"/>
                <a:gd name="connsiteY11" fmla="*/ 1005840 h 2697480"/>
                <a:gd name="connsiteX12" fmla="*/ 1546860 w 7322820"/>
                <a:gd name="connsiteY12" fmla="*/ 708660 h 2697480"/>
                <a:gd name="connsiteX13" fmla="*/ 1859280 w 7322820"/>
                <a:gd name="connsiteY13" fmla="*/ 419100 h 2697480"/>
                <a:gd name="connsiteX14" fmla="*/ 2145724 w 7322820"/>
                <a:gd name="connsiteY14" fmla="*/ 224690 h 2697480"/>
                <a:gd name="connsiteX15" fmla="*/ 2450525 w 7322820"/>
                <a:gd name="connsiteY15" fmla="*/ 116155 h 2697480"/>
                <a:gd name="connsiteX16" fmla="*/ 2773680 w 7322820"/>
                <a:gd name="connsiteY16" fmla="*/ 38100 h 2697480"/>
                <a:gd name="connsiteX17" fmla="*/ 3055620 w 7322820"/>
                <a:gd name="connsiteY17" fmla="*/ 0 h 2697480"/>
                <a:gd name="connsiteX18" fmla="*/ 3360420 w 7322820"/>
                <a:gd name="connsiteY18" fmla="*/ 114300 h 2697480"/>
                <a:gd name="connsiteX19" fmla="*/ 3695700 w 7322820"/>
                <a:gd name="connsiteY19" fmla="*/ 83820 h 2697480"/>
                <a:gd name="connsiteX20" fmla="*/ 3977640 w 7322820"/>
                <a:gd name="connsiteY20" fmla="*/ 91440 h 2697480"/>
                <a:gd name="connsiteX21" fmla="*/ 4290060 w 7322820"/>
                <a:gd name="connsiteY21" fmla="*/ 182880 h 2697480"/>
                <a:gd name="connsiteX22" fmla="*/ 4579620 w 7322820"/>
                <a:gd name="connsiteY22" fmla="*/ 259080 h 2697480"/>
                <a:gd name="connsiteX23" fmla="*/ 4899660 w 7322820"/>
                <a:gd name="connsiteY23" fmla="*/ 342900 h 2697480"/>
                <a:gd name="connsiteX24" fmla="*/ 5433060 w 7322820"/>
                <a:gd name="connsiteY24" fmla="*/ 449580 h 2697480"/>
                <a:gd name="connsiteX25" fmla="*/ 5935980 w 7322820"/>
                <a:gd name="connsiteY25" fmla="*/ 579120 h 2697480"/>
                <a:gd name="connsiteX26" fmla="*/ 6217920 w 7322820"/>
                <a:gd name="connsiteY26" fmla="*/ 678180 h 2697480"/>
                <a:gd name="connsiteX27" fmla="*/ 6720840 w 7322820"/>
                <a:gd name="connsiteY27" fmla="*/ 830580 h 2697480"/>
                <a:gd name="connsiteX28" fmla="*/ 7322820 w 7322820"/>
                <a:gd name="connsiteY28" fmla="*/ 998220 h 2697480"/>
                <a:gd name="connsiteX0" fmla="*/ 0 w 7322820"/>
                <a:gd name="connsiteY0" fmla="*/ 2697480 h 2697480"/>
                <a:gd name="connsiteX1" fmla="*/ 144780 w 7322820"/>
                <a:gd name="connsiteY1" fmla="*/ 2667000 h 2697480"/>
                <a:gd name="connsiteX2" fmla="*/ 274320 w 7322820"/>
                <a:gd name="connsiteY2" fmla="*/ 2529840 h 2697480"/>
                <a:gd name="connsiteX3" fmla="*/ 396240 w 7322820"/>
                <a:gd name="connsiteY3" fmla="*/ 2225040 h 2697480"/>
                <a:gd name="connsiteX4" fmla="*/ 518160 w 7322820"/>
                <a:gd name="connsiteY4" fmla="*/ 2072640 h 2697480"/>
                <a:gd name="connsiteX5" fmla="*/ 640080 w 7322820"/>
                <a:gd name="connsiteY5" fmla="*/ 1828800 h 2697480"/>
                <a:gd name="connsiteX6" fmla="*/ 830580 w 7322820"/>
                <a:gd name="connsiteY6" fmla="*/ 1592580 h 2697480"/>
                <a:gd name="connsiteX7" fmla="*/ 929640 w 7322820"/>
                <a:gd name="connsiteY7" fmla="*/ 1478280 h 2697480"/>
                <a:gd name="connsiteX8" fmla="*/ 998220 w 7322820"/>
                <a:gd name="connsiteY8" fmla="*/ 1363980 h 2697480"/>
                <a:gd name="connsiteX9" fmla="*/ 1135380 w 7322820"/>
                <a:gd name="connsiteY9" fmla="*/ 1234440 h 2697480"/>
                <a:gd name="connsiteX10" fmla="*/ 1226820 w 7322820"/>
                <a:gd name="connsiteY10" fmla="*/ 1059180 h 2697480"/>
                <a:gd name="connsiteX11" fmla="*/ 1303020 w 7322820"/>
                <a:gd name="connsiteY11" fmla="*/ 1005840 h 2697480"/>
                <a:gd name="connsiteX12" fmla="*/ 1546860 w 7322820"/>
                <a:gd name="connsiteY12" fmla="*/ 708660 h 2697480"/>
                <a:gd name="connsiteX13" fmla="*/ 1859280 w 7322820"/>
                <a:gd name="connsiteY13" fmla="*/ 419100 h 2697480"/>
                <a:gd name="connsiteX14" fmla="*/ 2145724 w 7322820"/>
                <a:gd name="connsiteY14" fmla="*/ 224690 h 2697480"/>
                <a:gd name="connsiteX15" fmla="*/ 2450525 w 7322820"/>
                <a:gd name="connsiteY15" fmla="*/ 116155 h 2697480"/>
                <a:gd name="connsiteX16" fmla="*/ 2725373 w 7322820"/>
                <a:gd name="connsiteY16" fmla="*/ 95083 h 2697480"/>
                <a:gd name="connsiteX17" fmla="*/ 3055620 w 7322820"/>
                <a:gd name="connsiteY17" fmla="*/ 0 h 2697480"/>
                <a:gd name="connsiteX18" fmla="*/ 3360420 w 7322820"/>
                <a:gd name="connsiteY18" fmla="*/ 114300 h 2697480"/>
                <a:gd name="connsiteX19" fmla="*/ 3695700 w 7322820"/>
                <a:gd name="connsiteY19" fmla="*/ 83820 h 2697480"/>
                <a:gd name="connsiteX20" fmla="*/ 3977640 w 7322820"/>
                <a:gd name="connsiteY20" fmla="*/ 91440 h 2697480"/>
                <a:gd name="connsiteX21" fmla="*/ 4290060 w 7322820"/>
                <a:gd name="connsiteY21" fmla="*/ 182880 h 2697480"/>
                <a:gd name="connsiteX22" fmla="*/ 4579620 w 7322820"/>
                <a:gd name="connsiteY22" fmla="*/ 259080 h 2697480"/>
                <a:gd name="connsiteX23" fmla="*/ 4899660 w 7322820"/>
                <a:gd name="connsiteY23" fmla="*/ 342900 h 2697480"/>
                <a:gd name="connsiteX24" fmla="*/ 5433060 w 7322820"/>
                <a:gd name="connsiteY24" fmla="*/ 449580 h 2697480"/>
                <a:gd name="connsiteX25" fmla="*/ 5935980 w 7322820"/>
                <a:gd name="connsiteY25" fmla="*/ 579120 h 2697480"/>
                <a:gd name="connsiteX26" fmla="*/ 6217920 w 7322820"/>
                <a:gd name="connsiteY26" fmla="*/ 678180 h 2697480"/>
                <a:gd name="connsiteX27" fmla="*/ 6720840 w 7322820"/>
                <a:gd name="connsiteY27" fmla="*/ 830580 h 2697480"/>
                <a:gd name="connsiteX28" fmla="*/ 7322820 w 7322820"/>
                <a:gd name="connsiteY28" fmla="*/ 998220 h 2697480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60420 w 7322820"/>
                <a:gd name="connsiteY18" fmla="*/ 74412 h 2657592"/>
                <a:gd name="connsiteX19" fmla="*/ 3695700 w 7322820"/>
                <a:gd name="connsiteY19" fmla="*/ 43932 h 2657592"/>
                <a:gd name="connsiteX20" fmla="*/ 3977640 w 7322820"/>
                <a:gd name="connsiteY20" fmla="*/ 51552 h 2657592"/>
                <a:gd name="connsiteX21" fmla="*/ 4290060 w 7322820"/>
                <a:gd name="connsiteY21" fmla="*/ 142992 h 2657592"/>
                <a:gd name="connsiteX22" fmla="*/ 4579620 w 7322820"/>
                <a:gd name="connsiteY22" fmla="*/ 219192 h 2657592"/>
                <a:gd name="connsiteX23" fmla="*/ 4899660 w 7322820"/>
                <a:gd name="connsiteY23" fmla="*/ 303012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43932 h 2657592"/>
                <a:gd name="connsiteX20" fmla="*/ 3977640 w 7322820"/>
                <a:gd name="connsiteY20" fmla="*/ 51552 h 2657592"/>
                <a:gd name="connsiteX21" fmla="*/ 4290060 w 7322820"/>
                <a:gd name="connsiteY21" fmla="*/ 142992 h 2657592"/>
                <a:gd name="connsiteX22" fmla="*/ 4579620 w 7322820"/>
                <a:gd name="connsiteY22" fmla="*/ 219192 h 2657592"/>
                <a:gd name="connsiteX23" fmla="*/ 4899660 w 7322820"/>
                <a:gd name="connsiteY23" fmla="*/ 303012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51552 h 2657592"/>
                <a:gd name="connsiteX21" fmla="*/ 4290060 w 7322820"/>
                <a:gd name="connsiteY21" fmla="*/ 142992 h 2657592"/>
                <a:gd name="connsiteX22" fmla="*/ 4579620 w 7322820"/>
                <a:gd name="connsiteY22" fmla="*/ 219192 h 2657592"/>
                <a:gd name="connsiteX23" fmla="*/ 4899660 w 7322820"/>
                <a:gd name="connsiteY23" fmla="*/ 303012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90060 w 7322820"/>
                <a:gd name="connsiteY21" fmla="*/ 142992 h 2657592"/>
                <a:gd name="connsiteX22" fmla="*/ 4579620 w 7322820"/>
                <a:gd name="connsiteY22" fmla="*/ 219192 h 2657592"/>
                <a:gd name="connsiteX23" fmla="*/ 4899660 w 7322820"/>
                <a:gd name="connsiteY23" fmla="*/ 303012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9620 w 7322820"/>
                <a:gd name="connsiteY22" fmla="*/ 219192 h 2657592"/>
                <a:gd name="connsiteX23" fmla="*/ 4899660 w 7322820"/>
                <a:gd name="connsiteY23" fmla="*/ 303012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4253 w 7322820"/>
                <a:gd name="connsiteY22" fmla="*/ 270478 h 2657592"/>
                <a:gd name="connsiteX23" fmla="*/ 4899660 w 7322820"/>
                <a:gd name="connsiteY23" fmla="*/ 303012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4253 w 7322820"/>
                <a:gd name="connsiteY22" fmla="*/ 270478 h 2657592"/>
                <a:gd name="connsiteX23" fmla="*/ 4851352 w 7322820"/>
                <a:gd name="connsiteY23" fmla="*/ 354297 h 2657592"/>
                <a:gd name="connsiteX24" fmla="*/ 5433060 w 7322820"/>
                <a:gd name="connsiteY24" fmla="*/ 40969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4253 w 7322820"/>
                <a:gd name="connsiteY22" fmla="*/ 270478 h 2657592"/>
                <a:gd name="connsiteX23" fmla="*/ 4851352 w 7322820"/>
                <a:gd name="connsiteY23" fmla="*/ 354297 h 2657592"/>
                <a:gd name="connsiteX24" fmla="*/ 5438428 w 7322820"/>
                <a:gd name="connsiteY24" fmla="*/ 443882 h 2657592"/>
                <a:gd name="connsiteX25" fmla="*/ 5935980 w 7322820"/>
                <a:gd name="connsiteY25" fmla="*/ 539232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4253 w 7322820"/>
                <a:gd name="connsiteY22" fmla="*/ 270478 h 2657592"/>
                <a:gd name="connsiteX23" fmla="*/ 4851352 w 7322820"/>
                <a:gd name="connsiteY23" fmla="*/ 354297 h 2657592"/>
                <a:gd name="connsiteX24" fmla="*/ 5438428 w 7322820"/>
                <a:gd name="connsiteY24" fmla="*/ 443882 h 2657592"/>
                <a:gd name="connsiteX25" fmla="*/ 5919877 w 7322820"/>
                <a:gd name="connsiteY25" fmla="*/ 596216 h 2657592"/>
                <a:gd name="connsiteX26" fmla="*/ 6217920 w 7322820"/>
                <a:gd name="connsiteY26" fmla="*/ 638292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4253 w 7322820"/>
                <a:gd name="connsiteY22" fmla="*/ 270478 h 2657592"/>
                <a:gd name="connsiteX23" fmla="*/ 4851352 w 7322820"/>
                <a:gd name="connsiteY23" fmla="*/ 354297 h 2657592"/>
                <a:gd name="connsiteX24" fmla="*/ 5438428 w 7322820"/>
                <a:gd name="connsiteY24" fmla="*/ 443882 h 2657592"/>
                <a:gd name="connsiteX25" fmla="*/ 5919877 w 7322820"/>
                <a:gd name="connsiteY25" fmla="*/ 596216 h 2657592"/>
                <a:gd name="connsiteX26" fmla="*/ 6244759 w 7322820"/>
                <a:gd name="connsiteY26" fmla="*/ 695276 h 2657592"/>
                <a:gd name="connsiteX27" fmla="*/ 6720840 w 7322820"/>
                <a:gd name="connsiteY27" fmla="*/ 790692 h 2657592"/>
                <a:gd name="connsiteX28" fmla="*/ 7322820 w 7322820"/>
                <a:gd name="connsiteY28" fmla="*/ 958332 h 2657592"/>
                <a:gd name="connsiteX0" fmla="*/ 0 w 7322820"/>
                <a:gd name="connsiteY0" fmla="*/ 2657592 h 2657592"/>
                <a:gd name="connsiteX1" fmla="*/ 144780 w 7322820"/>
                <a:gd name="connsiteY1" fmla="*/ 2627112 h 2657592"/>
                <a:gd name="connsiteX2" fmla="*/ 274320 w 7322820"/>
                <a:gd name="connsiteY2" fmla="*/ 2489952 h 2657592"/>
                <a:gd name="connsiteX3" fmla="*/ 396240 w 7322820"/>
                <a:gd name="connsiteY3" fmla="*/ 2185152 h 2657592"/>
                <a:gd name="connsiteX4" fmla="*/ 518160 w 7322820"/>
                <a:gd name="connsiteY4" fmla="*/ 2032752 h 2657592"/>
                <a:gd name="connsiteX5" fmla="*/ 640080 w 7322820"/>
                <a:gd name="connsiteY5" fmla="*/ 1788912 h 2657592"/>
                <a:gd name="connsiteX6" fmla="*/ 830580 w 7322820"/>
                <a:gd name="connsiteY6" fmla="*/ 1552692 h 2657592"/>
                <a:gd name="connsiteX7" fmla="*/ 929640 w 7322820"/>
                <a:gd name="connsiteY7" fmla="*/ 1438392 h 2657592"/>
                <a:gd name="connsiteX8" fmla="*/ 998220 w 7322820"/>
                <a:gd name="connsiteY8" fmla="*/ 1324092 h 2657592"/>
                <a:gd name="connsiteX9" fmla="*/ 1135380 w 7322820"/>
                <a:gd name="connsiteY9" fmla="*/ 1194552 h 2657592"/>
                <a:gd name="connsiteX10" fmla="*/ 1226820 w 7322820"/>
                <a:gd name="connsiteY10" fmla="*/ 1019292 h 2657592"/>
                <a:gd name="connsiteX11" fmla="*/ 1303020 w 7322820"/>
                <a:gd name="connsiteY11" fmla="*/ 965952 h 2657592"/>
                <a:gd name="connsiteX12" fmla="*/ 1546860 w 7322820"/>
                <a:gd name="connsiteY12" fmla="*/ 668772 h 2657592"/>
                <a:gd name="connsiteX13" fmla="*/ 1859280 w 7322820"/>
                <a:gd name="connsiteY13" fmla="*/ 379212 h 2657592"/>
                <a:gd name="connsiteX14" fmla="*/ 2145724 w 7322820"/>
                <a:gd name="connsiteY14" fmla="*/ 184802 h 2657592"/>
                <a:gd name="connsiteX15" fmla="*/ 2450525 w 7322820"/>
                <a:gd name="connsiteY15" fmla="*/ 76267 h 2657592"/>
                <a:gd name="connsiteX16" fmla="*/ 2725373 w 7322820"/>
                <a:gd name="connsiteY16" fmla="*/ 55195 h 2657592"/>
                <a:gd name="connsiteX17" fmla="*/ 3050254 w 7322820"/>
                <a:gd name="connsiteY17" fmla="*/ 0 h 2657592"/>
                <a:gd name="connsiteX18" fmla="*/ 3349685 w 7322820"/>
                <a:gd name="connsiteY18" fmla="*/ 102905 h 2657592"/>
                <a:gd name="connsiteX19" fmla="*/ 3695700 w 7322820"/>
                <a:gd name="connsiteY19" fmla="*/ 72425 h 2657592"/>
                <a:gd name="connsiteX20" fmla="*/ 3977640 w 7322820"/>
                <a:gd name="connsiteY20" fmla="*/ 85742 h 2657592"/>
                <a:gd name="connsiteX21" fmla="*/ 4268590 w 7322820"/>
                <a:gd name="connsiteY21" fmla="*/ 182881 h 2657592"/>
                <a:gd name="connsiteX22" fmla="*/ 4574253 w 7322820"/>
                <a:gd name="connsiteY22" fmla="*/ 270478 h 2657592"/>
                <a:gd name="connsiteX23" fmla="*/ 4851352 w 7322820"/>
                <a:gd name="connsiteY23" fmla="*/ 354297 h 2657592"/>
                <a:gd name="connsiteX24" fmla="*/ 5438428 w 7322820"/>
                <a:gd name="connsiteY24" fmla="*/ 443882 h 2657592"/>
                <a:gd name="connsiteX25" fmla="*/ 5919877 w 7322820"/>
                <a:gd name="connsiteY25" fmla="*/ 596216 h 2657592"/>
                <a:gd name="connsiteX26" fmla="*/ 6244759 w 7322820"/>
                <a:gd name="connsiteY26" fmla="*/ 695276 h 2657592"/>
                <a:gd name="connsiteX27" fmla="*/ 6715472 w 7322820"/>
                <a:gd name="connsiteY27" fmla="*/ 836279 h 2657592"/>
                <a:gd name="connsiteX28" fmla="*/ 7322820 w 7322820"/>
                <a:gd name="connsiteY28" fmla="*/ 958332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3977640 w 7258409"/>
                <a:gd name="connsiteY20" fmla="*/ 85742 h 2657592"/>
                <a:gd name="connsiteX21" fmla="*/ 4268590 w 7258409"/>
                <a:gd name="connsiteY21" fmla="*/ 182881 h 2657592"/>
                <a:gd name="connsiteX22" fmla="*/ 4574253 w 7258409"/>
                <a:gd name="connsiteY22" fmla="*/ 270478 h 2657592"/>
                <a:gd name="connsiteX23" fmla="*/ 4851352 w 7258409"/>
                <a:gd name="connsiteY23" fmla="*/ 354297 h 2657592"/>
                <a:gd name="connsiteX24" fmla="*/ 5438428 w 7258409"/>
                <a:gd name="connsiteY24" fmla="*/ 443882 h 2657592"/>
                <a:gd name="connsiteX25" fmla="*/ 5919877 w 7258409"/>
                <a:gd name="connsiteY25" fmla="*/ 596216 h 2657592"/>
                <a:gd name="connsiteX26" fmla="*/ 6244759 w 7258409"/>
                <a:gd name="connsiteY26" fmla="*/ 695276 h 2657592"/>
                <a:gd name="connsiteX27" fmla="*/ 6715472 w 7258409"/>
                <a:gd name="connsiteY27" fmla="*/ 836279 h 2657592"/>
                <a:gd name="connsiteX28" fmla="*/ 7258409 w 7258409"/>
                <a:gd name="connsiteY28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4268590 w 7258409"/>
                <a:gd name="connsiteY20" fmla="*/ 182881 h 2657592"/>
                <a:gd name="connsiteX21" fmla="*/ 4574253 w 7258409"/>
                <a:gd name="connsiteY21" fmla="*/ 270478 h 2657592"/>
                <a:gd name="connsiteX22" fmla="*/ 4851352 w 7258409"/>
                <a:gd name="connsiteY22" fmla="*/ 354297 h 2657592"/>
                <a:gd name="connsiteX23" fmla="*/ 5438428 w 7258409"/>
                <a:gd name="connsiteY23" fmla="*/ 443882 h 2657592"/>
                <a:gd name="connsiteX24" fmla="*/ 5919877 w 7258409"/>
                <a:gd name="connsiteY24" fmla="*/ 596216 h 2657592"/>
                <a:gd name="connsiteX25" fmla="*/ 6244759 w 7258409"/>
                <a:gd name="connsiteY25" fmla="*/ 695276 h 2657592"/>
                <a:gd name="connsiteX26" fmla="*/ 6715472 w 7258409"/>
                <a:gd name="connsiteY26" fmla="*/ 836279 h 2657592"/>
                <a:gd name="connsiteX27" fmla="*/ 7258409 w 7258409"/>
                <a:gd name="connsiteY27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4574253 w 7258409"/>
                <a:gd name="connsiteY20" fmla="*/ 270478 h 2657592"/>
                <a:gd name="connsiteX21" fmla="*/ 4851352 w 7258409"/>
                <a:gd name="connsiteY21" fmla="*/ 354297 h 2657592"/>
                <a:gd name="connsiteX22" fmla="*/ 5438428 w 7258409"/>
                <a:gd name="connsiteY22" fmla="*/ 443882 h 2657592"/>
                <a:gd name="connsiteX23" fmla="*/ 5919877 w 7258409"/>
                <a:gd name="connsiteY23" fmla="*/ 596216 h 2657592"/>
                <a:gd name="connsiteX24" fmla="*/ 6244759 w 7258409"/>
                <a:gd name="connsiteY24" fmla="*/ 695276 h 2657592"/>
                <a:gd name="connsiteX25" fmla="*/ 6715472 w 7258409"/>
                <a:gd name="connsiteY25" fmla="*/ 836279 h 2657592"/>
                <a:gd name="connsiteX26" fmla="*/ 7258409 w 7258409"/>
                <a:gd name="connsiteY26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4851352 w 7258409"/>
                <a:gd name="connsiteY20" fmla="*/ 354297 h 2657592"/>
                <a:gd name="connsiteX21" fmla="*/ 5438428 w 7258409"/>
                <a:gd name="connsiteY21" fmla="*/ 443882 h 2657592"/>
                <a:gd name="connsiteX22" fmla="*/ 5919877 w 7258409"/>
                <a:gd name="connsiteY22" fmla="*/ 596216 h 2657592"/>
                <a:gd name="connsiteX23" fmla="*/ 6244759 w 7258409"/>
                <a:gd name="connsiteY23" fmla="*/ 695276 h 2657592"/>
                <a:gd name="connsiteX24" fmla="*/ 6715472 w 7258409"/>
                <a:gd name="connsiteY24" fmla="*/ 836279 h 2657592"/>
                <a:gd name="connsiteX25" fmla="*/ 7258409 w 7258409"/>
                <a:gd name="connsiteY25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5438428 w 7258409"/>
                <a:gd name="connsiteY20" fmla="*/ 443882 h 2657592"/>
                <a:gd name="connsiteX21" fmla="*/ 5919877 w 7258409"/>
                <a:gd name="connsiteY21" fmla="*/ 596216 h 2657592"/>
                <a:gd name="connsiteX22" fmla="*/ 6244759 w 7258409"/>
                <a:gd name="connsiteY22" fmla="*/ 695276 h 2657592"/>
                <a:gd name="connsiteX23" fmla="*/ 6715472 w 7258409"/>
                <a:gd name="connsiteY23" fmla="*/ 836279 h 2657592"/>
                <a:gd name="connsiteX24" fmla="*/ 7258409 w 7258409"/>
                <a:gd name="connsiteY24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5919877 w 7258409"/>
                <a:gd name="connsiteY20" fmla="*/ 596216 h 2657592"/>
                <a:gd name="connsiteX21" fmla="*/ 6244759 w 7258409"/>
                <a:gd name="connsiteY21" fmla="*/ 695276 h 2657592"/>
                <a:gd name="connsiteX22" fmla="*/ 6715472 w 7258409"/>
                <a:gd name="connsiteY22" fmla="*/ 836279 h 2657592"/>
                <a:gd name="connsiteX23" fmla="*/ 7258409 w 7258409"/>
                <a:gd name="connsiteY23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6244759 w 7258409"/>
                <a:gd name="connsiteY20" fmla="*/ 695276 h 2657592"/>
                <a:gd name="connsiteX21" fmla="*/ 6715472 w 7258409"/>
                <a:gd name="connsiteY21" fmla="*/ 836279 h 2657592"/>
                <a:gd name="connsiteX22" fmla="*/ 7258409 w 7258409"/>
                <a:gd name="connsiteY22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6715472 w 7258409"/>
                <a:gd name="connsiteY20" fmla="*/ 836279 h 2657592"/>
                <a:gd name="connsiteX21" fmla="*/ 7258409 w 7258409"/>
                <a:gd name="connsiteY21" fmla="*/ 998220 h 2657592"/>
                <a:gd name="connsiteX0" fmla="*/ 0 w 7258409"/>
                <a:gd name="connsiteY0" fmla="*/ 2657592 h 2657592"/>
                <a:gd name="connsiteX1" fmla="*/ 144780 w 7258409"/>
                <a:gd name="connsiteY1" fmla="*/ 2627112 h 2657592"/>
                <a:gd name="connsiteX2" fmla="*/ 274320 w 7258409"/>
                <a:gd name="connsiteY2" fmla="*/ 2489952 h 2657592"/>
                <a:gd name="connsiteX3" fmla="*/ 396240 w 7258409"/>
                <a:gd name="connsiteY3" fmla="*/ 2185152 h 2657592"/>
                <a:gd name="connsiteX4" fmla="*/ 518160 w 7258409"/>
                <a:gd name="connsiteY4" fmla="*/ 2032752 h 2657592"/>
                <a:gd name="connsiteX5" fmla="*/ 640080 w 7258409"/>
                <a:gd name="connsiteY5" fmla="*/ 1788912 h 2657592"/>
                <a:gd name="connsiteX6" fmla="*/ 830580 w 7258409"/>
                <a:gd name="connsiteY6" fmla="*/ 1552692 h 2657592"/>
                <a:gd name="connsiteX7" fmla="*/ 929640 w 7258409"/>
                <a:gd name="connsiteY7" fmla="*/ 1438392 h 2657592"/>
                <a:gd name="connsiteX8" fmla="*/ 998220 w 7258409"/>
                <a:gd name="connsiteY8" fmla="*/ 1324092 h 2657592"/>
                <a:gd name="connsiteX9" fmla="*/ 1135380 w 7258409"/>
                <a:gd name="connsiteY9" fmla="*/ 1194552 h 2657592"/>
                <a:gd name="connsiteX10" fmla="*/ 1226820 w 7258409"/>
                <a:gd name="connsiteY10" fmla="*/ 1019292 h 2657592"/>
                <a:gd name="connsiteX11" fmla="*/ 1303020 w 7258409"/>
                <a:gd name="connsiteY11" fmla="*/ 965952 h 2657592"/>
                <a:gd name="connsiteX12" fmla="*/ 1546860 w 7258409"/>
                <a:gd name="connsiteY12" fmla="*/ 668772 h 2657592"/>
                <a:gd name="connsiteX13" fmla="*/ 1859280 w 7258409"/>
                <a:gd name="connsiteY13" fmla="*/ 379212 h 2657592"/>
                <a:gd name="connsiteX14" fmla="*/ 2145724 w 7258409"/>
                <a:gd name="connsiteY14" fmla="*/ 184802 h 2657592"/>
                <a:gd name="connsiteX15" fmla="*/ 2450525 w 7258409"/>
                <a:gd name="connsiteY15" fmla="*/ 76267 h 2657592"/>
                <a:gd name="connsiteX16" fmla="*/ 2725373 w 7258409"/>
                <a:gd name="connsiteY16" fmla="*/ 55195 h 2657592"/>
                <a:gd name="connsiteX17" fmla="*/ 3050254 w 7258409"/>
                <a:gd name="connsiteY17" fmla="*/ 0 h 2657592"/>
                <a:gd name="connsiteX18" fmla="*/ 3349685 w 7258409"/>
                <a:gd name="connsiteY18" fmla="*/ 102905 h 2657592"/>
                <a:gd name="connsiteX19" fmla="*/ 3695700 w 7258409"/>
                <a:gd name="connsiteY19" fmla="*/ 72425 h 2657592"/>
                <a:gd name="connsiteX20" fmla="*/ 7258409 w 7258409"/>
                <a:gd name="connsiteY20" fmla="*/ 998220 h 2657592"/>
                <a:gd name="connsiteX0" fmla="*/ 0 w 3695700"/>
                <a:gd name="connsiteY0" fmla="*/ 2657592 h 2657592"/>
                <a:gd name="connsiteX1" fmla="*/ 144780 w 3695700"/>
                <a:gd name="connsiteY1" fmla="*/ 2627112 h 2657592"/>
                <a:gd name="connsiteX2" fmla="*/ 274320 w 3695700"/>
                <a:gd name="connsiteY2" fmla="*/ 2489952 h 2657592"/>
                <a:gd name="connsiteX3" fmla="*/ 396240 w 3695700"/>
                <a:gd name="connsiteY3" fmla="*/ 2185152 h 2657592"/>
                <a:gd name="connsiteX4" fmla="*/ 518160 w 3695700"/>
                <a:gd name="connsiteY4" fmla="*/ 2032752 h 2657592"/>
                <a:gd name="connsiteX5" fmla="*/ 640080 w 3695700"/>
                <a:gd name="connsiteY5" fmla="*/ 1788912 h 2657592"/>
                <a:gd name="connsiteX6" fmla="*/ 830580 w 3695700"/>
                <a:gd name="connsiteY6" fmla="*/ 1552692 h 2657592"/>
                <a:gd name="connsiteX7" fmla="*/ 929640 w 3695700"/>
                <a:gd name="connsiteY7" fmla="*/ 1438392 h 2657592"/>
                <a:gd name="connsiteX8" fmla="*/ 998220 w 3695700"/>
                <a:gd name="connsiteY8" fmla="*/ 1324092 h 2657592"/>
                <a:gd name="connsiteX9" fmla="*/ 1135380 w 3695700"/>
                <a:gd name="connsiteY9" fmla="*/ 1194552 h 2657592"/>
                <a:gd name="connsiteX10" fmla="*/ 1226820 w 3695700"/>
                <a:gd name="connsiteY10" fmla="*/ 1019292 h 2657592"/>
                <a:gd name="connsiteX11" fmla="*/ 1303020 w 3695700"/>
                <a:gd name="connsiteY11" fmla="*/ 965952 h 2657592"/>
                <a:gd name="connsiteX12" fmla="*/ 1546860 w 3695700"/>
                <a:gd name="connsiteY12" fmla="*/ 668772 h 2657592"/>
                <a:gd name="connsiteX13" fmla="*/ 1859280 w 3695700"/>
                <a:gd name="connsiteY13" fmla="*/ 379212 h 2657592"/>
                <a:gd name="connsiteX14" fmla="*/ 2145724 w 3695700"/>
                <a:gd name="connsiteY14" fmla="*/ 184802 h 2657592"/>
                <a:gd name="connsiteX15" fmla="*/ 2450525 w 3695700"/>
                <a:gd name="connsiteY15" fmla="*/ 76267 h 2657592"/>
                <a:gd name="connsiteX16" fmla="*/ 2725373 w 3695700"/>
                <a:gd name="connsiteY16" fmla="*/ 55195 h 2657592"/>
                <a:gd name="connsiteX17" fmla="*/ 3050254 w 3695700"/>
                <a:gd name="connsiteY17" fmla="*/ 0 h 2657592"/>
                <a:gd name="connsiteX18" fmla="*/ 3349685 w 3695700"/>
                <a:gd name="connsiteY18" fmla="*/ 102905 h 2657592"/>
                <a:gd name="connsiteX19" fmla="*/ 3695700 w 3695700"/>
                <a:gd name="connsiteY19" fmla="*/ 72425 h 2657592"/>
                <a:gd name="connsiteX0" fmla="*/ 0 w 3695700"/>
                <a:gd name="connsiteY0" fmla="*/ 2657592 h 2657592"/>
                <a:gd name="connsiteX1" fmla="*/ 144780 w 3695700"/>
                <a:gd name="connsiteY1" fmla="*/ 2627112 h 2657592"/>
                <a:gd name="connsiteX2" fmla="*/ 274320 w 3695700"/>
                <a:gd name="connsiteY2" fmla="*/ 2489952 h 2657592"/>
                <a:gd name="connsiteX3" fmla="*/ 396240 w 3695700"/>
                <a:gd name="connsiteY3" fmla="*/ 2185152 h 2657592"/>
                <a:gd name="connsiteX4" fmla="*/ 518160 w 3695700"/>
                <a:gd name="connsiteY4" fmla="*/ 2032752 h 2657592"/>
                <a:gd name="connsiteX5" fmla="*/ 640080 w 3695700"/>
                <a:gd name="connsiteY5" fmla="*/ 1788912 h 2657592"/>
                <a:gd name="connsiteX6" fmla="*/ 830580 w 3695700"/>
                <a:gd name="connsiteY6" fmla="*/ 1552692 h 2657592"/>
                <a:gd name="connsiteX7" fmla="*/ 929640 w 3695700"/>
                <a:gd name="connsiteY7" fmla="*/ 1438392 h 2657592"/>
                <a:gd name="connsiteX8" fmla="*/ 998220 w 3695700"/>
                <a:gd name="connsiteY8" fmla="*/ 1324092 h 2657592"/>
                <a:gd name="connsiteX9" fmla="*/ 1135380 w 3695700"/>
                <a:gd name="connsiteY9" fmla="*/ 1194552 h 2657592"/>
                <a:gd name="connsiteX10" fmla="*/ 1226820 w 3695700"/>
                <a:gd name="connsiteY10" fmla="*/ 1019292 h 2657592"/>
                <a:gd name="connsiteX11" fmla="*/ 1303020 w 3695700"/>
                <a:gd name="connsiteY11" fmla="*/ 965952 h 2657592"/>
                <a:gd name="connsiteX12" fmla="*/ 1546860 w 3695700"/>
                <a:gd name="connsiteY12" fmla="*/ 668772 h 2657592"/>
                <a:gd name="connsiteX13" fmla="*/ 1859280 w 3695700"/>
                <a:gd name="connsiteY13" fmla="*/ 379212 h 2657592"/>
                <a:gd name="connsiteX14" fmla="*/ 2450525 w 3695700"/>
                <a:gd name="connsiteY14" fmla="*/ 76267 h 2657592"/>
                <a:gd name="connsiteX15" fmla="*/ 2725373 w 3695700"/>
                <a:gd name="connsiteY15" fmla="*/ 55195 h 2657592"/>
                <a:gd name="connsiteX16" fmla="*/ 3050254 w 3695700"/>
                <a:gd name="connsiteY16" fmla="*/ 0 h 2657592"/>
                <a:gd name="connsiteX17" fmla="*/ 3349685 w 3695700"/>
                <a:gd name="connsiteY17" fmla="*/ 102905 h 2657592"/>
                <a:gd name="connsiteX18" fmla="*/ 3695700 w 3695700"/>
                <a:gd name="connsiteY18" fmla="*/ 72425 h 2657592"/>
                <a:gd name="connsiteX0" fmla="*/ 0 w 3695700"/>
                <a:gd name="connsiteY0" fmla="*/ 2657592 h 2657592"/>
                <a:gd name="connsiteX1" fmla="*/ 144780 w 3695700"/>
                <a:gd name="connsiteY1" fmla="*/ 2627112 h 2657592"/>
                <a:gd name="connsiteX2" fmla="*/ 274320 w 3695700"/>
                <a:gd name="connsiteY2" fmla="*/ 2489952 h 2657592"/>
                <a:gd name="connsiteX3" fmla="*/ 396240 w 3695700"/>
                <a:gd name="connsiteY3" fmla="*/ 2185152 h 2657592"/>
                <a:gd name="connsiteX4" fmla="*/ 518160 w 3695700"/>
                <a:gd name="connsiteY4" fmla="*/ 2032752 h 2657592"/>
                <a:gd name="connsiteX5" fmla="*/ 640080 w 3695700"/>
                <a:gd name="connsiteY5" fmla="*/ 1788912 h 2657592"/>
                <a:gd name="connsiteX6" fmla="*/ 830580 w 3695700"/>
                <a:gd name="connsiteY6" fmla="*/ 1552692 h 2657592"/>
                <a:gd name="connsiteX7" fmla="*/ 929640 w 3695700"/>
                <a:gd name="connsiteY7" fmla="*/ 1438392 h 2657592"/>
                <a:gd name="connsiteX8" fmla="*/ 998220 w 3695700"/>
                <a:gd name="connsiteY8" fmla="*/ 1324092 h 2657592"/>
                <a:gd name="connsiteX9" fmla="*/ 1135380 w 3695700"/>
                <a:gd name="connsiteY9" fmla="*/ 1194552 h 2657592"/>
                <a:gd name="connsiteX10" fmla="*/ 1226820 w 3695700"/>
                <a:gd name="connsiteY10" fmla="*/ 1019292 h 2657592"/>
                <a:gd name="connsiteX11" fmla="*/ 1303020 w 3695700"/>
                <a:gd name="connsiteY11" fmla="*/ 965952 h 2657592"/>
                <a:gd name="connsiteX12" fmla="*/ 1546860 w 3695700"/>
                <a:gd name="connsiteY12" fmla="*/ 668772 h 2657592"/>
                <a:gd name="connsiteX13" fmla="*/ 1859280 w 3695700"/>
                <a:gd name="connsiteY13" fmla="*/ 379212 h 2657592"/>
                <a:gd name="connsiteX14" fmla="*/ 2725373 w 3695700"/>
                <a:gd name="connsiteY14" fmla="*/ 55195 h 2657592"/>
                <a:gd name="connsiteX15" fmla="*/ 3050254 w 3695700"/>
                <a:gd name="connsiteY15" fmla="*/ 0 h 2657592"/>
                <a:gd name="connsiteX16" fmla="*/ 3349685 w 3695700"/>
                <a:gd name="connsiteY16" fmla="*/ 102905 h 2657592"/>
                <a:gd name="connsiteX17" fmla="*/ 3695700 w 3695700"/>
                <a:gd name="connsiteY17" fmla="*/ 72425 h 2657592"/>
                <a:gd name="connsiteX0" fmla="*/ 0 w 3695700"/>
                <a:gd name="connsiteY0" fmla="*/ 2657592 h 2657592"/>
                <a:gd name="connsiteX1" fmla="*/ 144780 w 3695700"/>
                <a:gd name="connsiteY1" fmla="*/ 2627112 h 2657592"/>
                <a:gd name="connsiteX2" fmla="*/ 274320 w 3695700"/>
                <a:gd name="connsiteY2" fmla="*/ 2489952 h 2657592"/>
                <a:gd name="connsiteX3" fmla="*/ 396240 w 3695700"/>
                <a:gd name="connsiteY3" fmla="*/ 2185152 h 2657592"/>
                <a:gd name="connsiteX4" fmla="*/ 518160 w 3695700"/>
                <a:gd name="connsiteY4" fmla="*/ 2032752 h 2657592"/>
                <a:gd name="connsiteX5" fmla="*/ 640080 w 3695700"/>
                <a:gd name="connsiteY5" fmla="*/ 1788912 h 2657592"/>
                <a:gd name="connsiteX6" fmla="*/ 830580 w 3695700"/>
                <a:gd name="connsiteY6" fmla="*/ 1552692 h 2657592"/>
                <a:gd name="connsiteX7" fmla="*/ 929640 w 3695700"/>
                <a:gd name="connsiteY7" fmla="*/ 1438392 h 2657592"/>
                <a:gd name="connsiteX8" fmla="*/ 998220 w 3695700"/>
                <a:gd name="connsiteY8" fmla="*/ 1324092 h 2657592"/>
                <a:gd name="connsiteX9" fmla="*/ 1135380 w 3695700"/>
                <a:gd name="connsiteY9" fmla="*/ 1194552 h 2657592"/>
                <a:gd name="connsiteX10" fmla="*/ 1226820 w 3695700"/>
                <a:gd name="connsiteY10" fmla="*/ 1019292 h 2657592"/>
                <a:gd name="connsiteX11" fmla="*/ 1303020 w 3695700"/>
                <a:gd name="connsiteY11" fmla="*/ 965952 h 2657592"/>
                <a:gd name="connsiteX12" fmla="*/ 1546860 w 3695700"/>
                <a:gd name="connsiteY12" fmla="*/ 668772 h 2657592"/>
                <a:gd name="connsiteX13" fmla="*/ 1859280 w 3695700"/>
                <a:gd name="connsiteY13" fmla="*/ 379212 h 2657592"/>
                <a:gd name="connsiteX14" fmla="*/ 3050254 w 3695700"/>
                <a:gd name="connsiteY14" fmla="*/ 0 h 2657592"/>
                <a:gd name="connsiteX15" fmla="*/ 3349685 w 3695700"/>
                <a:gd name="connsiteY15" fmla="*/ 102905 h 2657592"/>
                <a:gd name="connsiteX16" fmla="*/ 3695700 w 3695700"/>
                <a:gd name="connsiteY16" fmla="*/ 72425 h 2657592"/>
                <a:gd name="connsiteX0" fmla="*/ 0 w 3695700"/>
                <a:gd name="connsiteY0" fmla="*/ 2585167 h 2585167"/>
                <a:gd name="connsiteX1" fmla="*/ 144780 w 3695700"/>
                <a:gd name="connsiteY1" fmla="*/ 2554687 h 2585167"/>
                <a:gd name="connsiteX2" fmla="*/ 274320 w 3695700"/>
                <a:gd name="connsiteY2" fmla="*/ 2417527 h 2585167"/>
                <a:gd name="connsiteX3" fmla="*/ 396240 w 3695700"/>
                <a:gd name="connsiteY3" fmla="*/ 2112727 h 2585167"/>
                <a:gd name="connsiteX4" fmla="*/ 518160 w 3695700"/>
                <a:gd name="connsiteY4" fmla="*/ 1960327 h 2585167"/>
                <a:gd name="connsiteX5" fmla="*/ 640080 w 3695700"/>
                <a:gd name="connsiteY5" fmla="*/ 1716487 h 2585167"/>
                <a:gd name="connsiteX6" fmla="*/ 830580 w 3695700"/>
                <a:gd name="connsiteY6" fmla="*/ 1480267 h 2585167"/>
                <a:gd name="connsiteX7" fmla="*/ 929640 w 3695700"/>
                <a:gd name="connsiteY7" fmla="*/ 1365967 h 2585167"/>
                <a:gd name="connsiteX8" fmla="*/ 998220 w 3695700"/>
                <a:gd name="connsiteY8" fmla="*/ 1251667 h 2585167"/>
                <a:gd name="connsiteX9" fmla="*/ 1135380 w 3695700"/>
                <a:gd name="connsiteY9" fmla="*/ 1122127 h 2585167"/>
                <a:gd name="connsiteX10" fmla="*/ 1226820 w 3695700"/>
                <a:gd name="connsiteY10" fmla="*/ 946867 h 2585167"/>
                <a:gd name="connsiteX11" fmla="*/ 1303020 w 3695700"/>
                <a:gd name="connsiteY11" fmla="*/ 893527 h 2585167"/>
                <a:gd name="connsiteX12" fmla="*/ 1546860 w 3695700"/>
                <a:gd name="connsiteY12" fmla="*/ 596347 h 2585167"/>
                <a:gd name="connsiteX13" fmla="*/ 1859280 w 3695700"/>
                <a:gd name="connsiteY13" fmla="*/ 306787 h 2585167"/>
                <a:gd name="connsiteX14" fmla="*/ 3349685 w 3695700"/>
                <a:gd name="connsiteY14" fmla="*/ 30480 h 2585167"/>
                <a:gd name="connsiteX15" fmla="*/ 3695700 w 3695700"/>
                <a:gd name="connsiteY15" fmla="*/ 0 h 2585167"/>
                <a:gd name="connsiteX0" fmla="*/ 0 w 3695700"/>
                <a:gd name="connsiteY0" fmla="*/ 2585167 h 2585167"/>
                <a:gd name="connsiteX1" fmla="*/ 144780 w 3695700"/>
                <a:gd name="connsiteY1" fmla="*/ 2554687 h 2585167"/>
                <a:gd name="connsiteX2" fmla="*/ 274320 w 3695700"/>
                <a:gd name="connsiteY2" fmla="*/ 2417527 h 2585167"/>
                <a:gd name="connsiteX3" fmla="*/ 396240 w 3695700"/>
                <a:gd name="connsiteY3" fmla="*/ 2112727 h 2585167"/>
                <a:gd name="connsiteX4" fmla="*/ 518160 w 3695700"/>
                <a:gd name="connsiteY4" fmla="*/ 1960327 h 2585167"/>
                <a:gd name="connsiteX5" fmla="*/ 640080 w 3695700"/>
                <a:gd name="connsiteY5" fmla="*/ 1716487 h 2585167"/>
                <a:gd name="connsiteX6" fmla="*/ 830580 w 3695700"/>
                <a:gd name="connsiteY6" fmla="*/ 1480267 h 2585167"/>
                <a:gd name="connsiteX7" fmla="*/ 929640 w 3695700"/>
                <a:gd name="connsiteY7" fmla="*/ 1365967 h 2585167"/>
                <a:gd name="connsiteX8" fmla="*/ 998220 w 3695700"/>
                <a:gd name="connsiteY8" fmla="*/ 1251667 h 2585167"/>
                <a:gd name="connsiteX9" fmla="*/ 1135380 w 3695700"/>
                <a:gd name="connsiteY9" fmla="*/ 1122127 h 2585167"/>
                <a:gd name="connsiteX10" fmla="*/ 1226820 w 3695700"/>
                <a:gd name="connsiteY10" fmla="*/ 946867 h 2585167"/>
                <a:gd name="connsiteX11" fmla="*/ 1303020 w 3695700"/>
                <a:gd name="connsiteY11" fmla="*/ 893527 h 2585167"/>
                <a:gd name="connsiteX12" fmla="*/ 1546860 w 3695700"/>
                <a:gd name="connsiteY12" fmla="*/ 596347 h 2585167"/>
                <a:gd name="connsiteX13" fmla="*/ 1859280 w 3695700"/>
                <a:gd name="connsiteY13" fmla="*/ 306787 h 2585167"/>
                <a:gd name="connsiteX14" fmla="*/ 1868240 w 3695700"/>
                <a:gd name="connsiteY14" fmla="*/ 797865 h 2585167"/>
                <a:gd name="connsiteX15" fmla="*/ 3695700 w 3695700"/>
                <a:gd name="connsiteY15" fmla="*/ 0 h 2585167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231840 w 1868240"/>
                <a:gd name="connsiteY15" fmla="*/ 2268892 h 2278380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772063 w 1868240"/>
                <a:gd name="connsiteY15" fmla="*/ 1925937 h 2278380"/>
                <a:gd name="connsiteX16" fmla="*/ 231840 w 1868240"/>
                <a:gd name="connsiteY16" fmla="*/ 2268892 h 2278380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1058332 w 1868240"/>
                <a:gd name="connsiteY15" fmla="*/ 1546043 h 2278380"/>
                <a:gd name="connsiteX16" fmla="*/ 772063 w 1868240"/>
                <a:gd name="connsiteY16" fmla="*/ 1925937 h 2278380"/>
                <a:gd name="connsiteX17" fmla="*/ 231840 w 1868240"/>
                <a:gd name="connsiteY17" fmla="*/ 2268892 h 2278380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1058332 w 1868240"/>
                <a:gd name="connsiteY15" fmla="*/ 1546043 h 2278380"/>
                <a:gd name="connsiteX16" fmla="*/ 772063 w 1868240"/>
                <a:gd name="connsiteY16" fmla="*/ 1925937 h 2278380"/>
                <a:gd name="connsiteX17" fmla="*/ 231840 w 1868240"/>
                <a:gd name="connsiteY17" fmla="*/ 2268892 h 2278380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1058332 w 1868240"/>
                <a:gd name="connsiteY15" fmla="*/ 1546043 h 2278380"/>
                <a:gd name="connsiteX16" fmla="*/ 772063 w 1868240"/>
                <a:gd name="connsiteY16" fmla="*/ 1925937 h 2278380"/>
                <a:gd name="connsiteX17" fmla="*/ 231840 w 1868240"/>
                <a:gd name="connsiteY17" fmla="*/ 2268892 h 2278380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1058332 w 1868240"/>
                <a:gd name="connsiteY15" fmla="*/ 1546043 h 2278380"/>
                <a:gd name="connsiteX16" fmla="*/ 772063 w 1868240"/>
                <a:gd name="connsiteY16" fmla="*/ 1925937 h 2278380"/>
                <a:gd name="connsiteX17" fmla="*/ 442853 w 1868240"/>
                <a:gd name="connsiteY17" fmla="*/ 2176667 h 2278380"/>
                <a:gd name="connsiteX18" fmla="*/ 231840 w 1868240"/>
                <a:gd name="connsiteY18" fmla="*/ 2268892 h 2278380"/>
                <a:gd name="connsiteX0" fmla="*/ 0 w 1868240"/>
                <a:gd name="connsiteY0" fmla="*/ 2278380 h 2278380"/>
                <a:gd name="connsiteX1" fmla="*/ 144780 w 1868240"/>
                <a:gd name="connsiteY1" fmla="*/ 2247900 h 2278380"/>
                <a:gd name="connsiteX2" fmla="*/ 274320 w 1868240"/>
                <a:gd name="connsiteY2" fmla="*/ 2110740 h 2278380"/>
                <a:gd name="connsiteX3" fmla="*/ 396240 w 1868240"/>
                <a:gd name="connsiteY3" fmla="*/ 1805940 h 2278380"/>
                <a:gd name="connsiteX4" fmla="*/ 518160 w 1868240"/>
                <a:gd name="connsiteY4" fmla="*/ 1653540 h 2278380"/>
                <a:gd name="connsiteX5" fmla="*/ 640080 w 1868240"/>
                <a:gd name="connsiteY5" fmla="*/ 1409700 h 2278380"/>
                <a:gd name="connsiteX6" fmla="*/ 830580 w 1868240"/>
                <a:gd name="connsiteY6" fmla="*/ 1173480 h 2278380"/>
                <a:gd name="connsiteX7" fmla="*/ 929640 w 1868240"/>
                <a:gd name="connsiteY7" fmla="*/ 1059180 h 2278380"/>
                <a:gd name="connsiteX8" fmla="*/ 998220 w 1868240"/>
                <a:gd name="connsiteY8" fmla="*/ 944880 h 2278380"/>
                <a:gd name="connsiteX9" fmla="*/ 1135380 w 1868240"/>
                <a:gd name="connsiteY9" fmla="*/ 815340 h 2278380"/>
                <a:gd name="connsiteX10" fmla="*/ 1226820 w 1868240"/>
                <a:gd name="connsiteY10" fmla="*/ 640080 h 2278380"/>
                <a:gd name="connsiteX11" fmla="*/ 1303020 w 1868240"/>
                <a:gd name="connsiteY11" fmla="*/ 586740 h 2278380"/>
                <a:gd name="connsiteX12" fmla="*/ 1546860 w 1868240"/>
                <a:gd name="connsiteY12" fmla="*/ 289560 h 2278380"/>
                <a:gd name="connsiteX13" fmla="*/ 1859280 w 1868240"/>
                <a:gd name="connsiteY13" fmla="*/ 0 h 2278380"/>
                <a:gd name="connsiteX14" fmla="*/ 1868240 w 1868240"/>
                <a:gd name="connsiteY14" fmla="*/ 491078 h 2278380"/>
                <a:gd name="connsiteX15" fmla="*/ 1058332 w 1868240"/>
                <a:gd name="connsiteY15" fmla="*/ 1546043 h 2278380"/>
                <a:gd name="connsiteX16" fmla="*/ 772063 w 1868240"/>
                <a:gd name="connsiteY16" fmla="*/ 1925937 h 2278380"/>
                <a:gd name="connsiteX17" fmla="*/ 442853 w 1868240"/>
                <a:gd name="connsiteY17" fmla="*/ 2176667 h 2278380"/>
                <a:gd name="connsiteX18" fmla="*/ 231840 w 1868240"/>
                <a:gd name="connsiteY18" fmla="*/ 2268892 h 2278380"/>
                <a:gd name="connsiteX19" fmla="*/ 0 w 1868240"/>
                <a:gd name="connsiteY19" fmla="*/ 2278380 h 2278380"/>
                <a:gd name="connsiteX0" fmla="*/ 0 w 1875397"/>
                <a:gd name="connsiteY0" fmla="*/ 2278380 h 2278380"/>
                <a:gd name="connsiteX1" fmla="*/ 144780 w 1875397"/>
                <a:gd name="connsiteY1" fmla="*/ 2247900 h 2278380"/>
                <a:gd name="connsiteX2" fmla="*/ 274320 w 1875397"/>
                <a:gd name="connsiteY2" fmla="*/ 2110740 h 2278380"/>
                <a:gd name="connsiteX3" fmla="*/ 396240 w 1875397"/>
                <a:gd name="connsiteY3" fmla="*/ 1805940 h 2278380"/>
                <a:gd name="connsiteX4" fmla="*/ 518160 w 1875397"/>
                <a:gd name="connsiteY4" fmla="*/ 1653540 h 2278380"/>
                <a:gd name="connsiteX5" fmla="*/ 640080 w 1875397"/>
                <a:gd name="connsiteY5" fmla="*/ 1409700 h 2278380"/>
                <a:gd name="connsiteX6" fmla="*/ 830580 w 1875397"/>
                <a:gd name="connsiteY6" fmla="*/ 1173480 h 2278380"/>
                <a:gd name="connsiteX7" fmla="*/ 929640 w 1875397"/>
                <a:gd name="connsiteY7" fmla="*/ 1059180 h 2278380"/>
                <a:gd name="connsiteX8" fmla="*/ 998220 w 1875397"/>
                <a:gd name="connsiteY8" fmla="*/ 944880 h 2278380"/>
                <a:gd name="connsiteX9" fmla="*/ 1135380 w 1875397"/>
                <a:gd name="connsiteY9" fmla="*/ 815340 h 2278380"/>
                <a:gd name="connsiteX10" fmla="*/ 1226820 w 1875397"/>
                <a:gd name="connsiteY10" fmla="*/ 640080 h 2278380"/>
                <a:gd name="connsiteX11" fmla="*/ 1303020 w 1875397"/>
                <a:gd name="connsiteY11" fmla="*/ 586740 h 2278380"/>
                <a:gd name="connsiteX12" fmla="*/ 1546860 w 1875397"/>
                <a:gd name="connsiteY12" fmla="*/ 289560 h 2278380"/>
                <a:gd name="connsiteX13" fmla="*/ 1859280 w 1875397"/>
                <a:gd name="connsiteY13" fmla="*/ 0 h 2278380"/>
                <a:gd name="connsiteX14" fmla="*/ 1875397 w 1875397"/>
                <a:gd name="connsiteY14" fmla="*/ 430296 h 2278380"/>
                <a:gd name="connsiteX15" fmla="*/ 1058332 w 1875397"/>
                <a:gd name="connsiteY15" fmla="*/ 1546043 h 2278380"/>
                <a:gd name="connsiteX16" fmla="*/ 772063 w 1875397"/>
                <a:gd name="connsiteY16" fmla="*/ 1925937 h 2278380"/>
                <a:gd name="connsiteX17" fmla="*/ 442853 w 1875397"/>
                <a:gd name="connsiteY17" fmla="*/ 2176667 h 2278380"/>
                <a:gd name="connsiteX18" fmla="*/ 231840 w 1875397"/>
                <a:gd name="connsiteY18" fmla="*/ 2268892 h 2278380"/>
                <a:gd name="connsiteX19" fmla="*/ 0 w 1875397"/>
                <a:gd name="connsiteY19" fmla="*/ 2278380 h 2278380"/>
                <a:gd name="connsiteX0" fmla="*/ 0 w 1875397"/>
                <a:gd name="connsiteY0" fmla="*/ 2278380 h 2278380"/>
                <a:gd name="connsiteX1" fmla="*/ 144780 w 1875397"/>
                <a:gd name="connsiteY1" fmla="*/ 2247900 h 2278380"/>
                <a:gd name="connsiteX2" fmla="*/ 274320 w 1875397"/>
                <a:gd name="connsiteY2" fmla="*/ 2110740 h 2278380"/>
                <a:gd name="connsiteX3" fmla="*/ 396240 w 1875397"/>
                <a:gd name="connsiteY3" fmla="*/ 1805940 h 2278380"/>
                <a:gd name="connsiteX4" fmla="*/ 518160 w 1875397"/>
                <a:gd name="connsiteY4" fmla="*/ 1653540 h 2278380"/>
                <a:gd name="connsiteX5" fmla="*/ 640080 w 1875397"/>
                <a:gd name="connsiteY5" fmla="*/ 1409700 h 2278380"/>
                <a:gd name="connsiteX6" fmla="*/ 830580 w 1875397"/>
                <a:gd name="connsiteY6" fmla="*/ 1173480 h 2278380"/>
                <a:gd name="connsiteX7" fmla="*/ 929640 w 1875397"/>
                <a:gd name="connsiteY7" fmla="*/ 1059180 h 2278380"/>
                <a:gd name="connsiteX8" fmla="*/ 998220 w 1875397"/>
                <a:gd name="connsiteY8" fmla="*/ 944880 h 2278380"/>
                <a:gd name="connsiteX9" fmla="*/ 1135380 w 1875397"/>
                <a:gd name="connsiteY9" fmla="*/ 815340 h 2278380"/>
                <a:gd name="connsiteX10" fmla="*/ 1226820 w 1875397"/>
                <a:gd name="connsiteY10" fmla="*/ 640080 h 2278380"/>
                <a:gd name="connsiteX11" fmla="*/ 1303020 w 1875397"/>
                <a:gd name="connsiteY11" fmla="*/ 586740 h 2278380"/>
                <a:gd name="connsiteX12" fmla="*/ 1546860 w 1875397"/>
                <a:gd name="connsiteY12" fmla="*/ 289560 h 2278380"/>
                <a:gd name="connsiteX13" fmla="*/ 1859280 w 1875397"/>
                <a:gd name="connsiteY13" fmla="*/ 0 h 2278380"/>
                <a:gd name="connsiteX14" fmla="*/ 1875397 w 1875397"/>
                <a:gd name="connsiteY14" fmla="*/ 430296 h 2278380"/>
                <a:gd name="connsiteX15" fmla="*/ 1065489 w 1875397"/>
                <a:gd name="connsiteY15" fmla="*/ 1492858 h 2278380"/>
                <a:gd name="connsiteX16" fmla="*/ 772063 w 1875397"/>
                <a:gd name="connsiteY16" fmla="*/ 1925937 h 2278380"/>
                <a:gd name="connsiteX17" fmla="*/ 442853 w 1875397"/>
                <a:gd name="connsiteY17" fmla="*/ 2176667 h 2278380"/>
                <a:gd name="connsiteX18" fmla="*/ 231840 w 1875397"/>
                <a:gd name="connsiteY18" fmla="*/ 2268892 h 2278380"/>
                <a:gd name="connsiteX19" fmla="*/ 0 w 1875397"/>
                <a:gd name="connsiteY19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065489 w 1882554"/>
                <a:gd name="connsiteY15" fmla="*/ 1492858 h 2278380"/>
                <a:gd name="connsiteX16" fmla="*/ 772063 w 1882554"/>
                <a:gd name="connsiteY16" fmla="*/ 1925937 h 2278380"/>
                <a:gd name="connsiteX17" fmla="*/ 442853 w 1882554"/>
                <a:gd name="connsiteY17" fmla="*/ 2176667 h 2278380"/>
                <a:gd name="connsiteX18" fmla="*/ 231840 w 1882554"/>
                <a:gd name="connsiteY18" fmla="*/ 2268892 h 2278380"/>
                <a:gd name="connsiteX19" fmla="*/ 0 w 1882554"/>
                <a:gd name="connsiteY19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772063 w 1882554"/>
                <a:gd name="connsiteY16" fmla="*/ 1925937 h 2278380"/>
                <a:gd name="connsiteX17" fmla="*/ 442853 w 1882554"/>
                <a:gd name="connsiteY17" fmla="*/ 2176667 h 2278380"/>
                <a:gd name="connsiteX18" fmla="*/ 231840 w 1882554"/>
                <a:gd name="connsiteY18" fmla="*/ 2268892 h 2278380"/>
                <a:gd name="connsiteX19" fmla="*/ 0 w 1882554"/>
                <a:gd name="connsiteY19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786376 w 1882554"/>
                <a:gd name="connsiteY16" fmla="*/ 1857556 h 2278380"/>
                <a:gd name="connsiteX17" fmla="*/ 442853 w 1882554"/>
                <a:gd name="connsiteY17" fmla="*/ 2176667 h 2278380"/>
                <a:gd name="connsiteX18" fmla="*/ 231840 w 1882554"/>
                <a:gd name="connsiteY18" fmla="*/ 2268892 h 2278380"/>
                <a:gd name="connsiteX19" fmla="*/ 0 w 1882554"/>
                <a:gd name="connsiteY19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786376 w 1882554"/>
                <a:gd name="connsiteY16" fmla="*/ 1781577 h 2278380"/>
                <a:gd name="connsiteX17" fmla="*/ 442853 w 1882554"/>
                <a:gd name="connsiteY17" fmla="*/ 2176667 h 2278380"/>
                <a:gd name="connsiteX18" fmla="*/ 231840 w 1882554"/>
                <a:gd name="connsiteY18" fmla="*/ 2268892 h 2278380"/>
                <a:gd name="connsiteX19" fmla="*/ 0 w 1882554"/>
                <a:gd name="connsiteY19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743436 w 1882554"/>
                <a:gd name="connsiteY16" fmla="*/ 1842360 h 2278380"/>
                <a:gd name="connsiteX17" fmla="*/ 442853 w 1882554"/>
                <a:gd name="connsiteY17" fmla="*/ 2176667 h 2278380"/>
                <a:gd name="connsiteX18" fmla="*/ 231840 w 1882554"/>
                <a:gd name="connsiteY18" fmla="*/ 2268892 h 2278380"/>
                <a:gd name="connsiteX19" fmla="*/ 0 w 1882554"/>
                <a:gd name="connsiteY19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879414 w 1882554"/>
                <a:gd name="connsiteY16" fmla="*/ 1629620 h 2278380"/>
                <a:gd name="connsiteX17" fmla="*/ 743436 w 1882554"/>
                <a:gd name="connsiteY17" fmla="*/ 1842360 h 2278380"/>
                <a:gd name="connsiteX18" fmla="*/ 442853 w 1882554"/>
                <a:gd name="connsiteY18" fmla="*/ 2176667 h 2278380"/>
                <a:gd name="connsiteX19" fmla="*/ 231840 w 1882554"/>
                <a:gd name="connsiteY19" fmla="*/ 2268892 h 2278380"/>
                <a:gd name="connsiteX20" fmla="*/ 0 w 1882554"/>
                <a:gd name="connsiteY20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893728 w 1882554"/>
                <a:gd name="connsiteY16" fmla="*/ 1675207 h 2278380"/>
                <a:gd name="connsiteX17" fmla="*/ 743436 w 1882554"/>
                <a:gd name="connsiteY17" fmla="*/ 1842360 h 2278380"/>
                <a:gd name="connsiteX18" fmla="*/ 442853 w 1882554"/>
                <a:gd name="connsiteY18" fmla="*/ 2176667 h 2278380"/>
                <a:gd name="connsiteX19" fmla="*/ 231840 w 1882554"/>
                <a:gd name="connsiteY19" fmla="*/ 2268892 h 2278380"/>
                <a:gd name="connsiteX20" fmla="*/ 0 w 1882554"/>
                <a:gd name="connsiteY20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108430 w 1882554"/>
                <a:gd name="connsiteY15" fmla="*/ 1371292 h 2278380"/>
                <a:gd name="connsiteX16" fmla="*/ 879414 w 1882554"/>
                <a:gd name="connsiteY16" fmla="*/ 1652414 h 2278380"/>
                <a:gd name="connsiteX17" fmla="*/ 743436 w 1882554"/>
                <a:gd name="connsiteY17" fmla="*/ 1842360 h 2278380"/>
                <a:gd name="connsiteX18" fmla="*/ 442853 w 1882554"/>
                <a:gd name="connsiteY18" fmla="*/ 2176667 h 2278380"/>
                <a:gd name="connsiteX19" fmla="*/ 231840 w 1882554"/>
                <a:gd name="connsiteY19" fmla="*/ 2268892 h 2278380"/>
                <a:gd name="connsiteX20" fmla="*/ 0 w 1882554"/>
                <a:gd name="connsiteY20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08430 w 1882554"/>
                <a:gd name="connsiteY16" fmla="*/ 1371292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442853 w 1882554"/>
                <a:gd name="connsiteY19" fmla="*/ 2176667 h 2278380"/>
                <a:gd name="connsiteX20" fmla="*/ 231840 w 1882554"/>
                <a:gd name="connsiteY20" fmla="*/ 2268892 h 2278380"/>
                <a:gd name="connsiteX21" fmla="*/ 0 w 1882554"/>
                <a:gd name="connsiteY21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29900 w 1882554"/>
                <a:gd name="connsiteY16" fmla="*/ 1325705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442853 w 1882554"/>
                <a:gd name="connsiteY19" fmla="*/ 2176667 h 2278380"/>
                <a:gd name="connsiteX20" fmla="*/ 231840 w 1882554"/>
                <a:gd name="connsiteY20" fmla="*/ 2268892 h 2278380"/>
                <a:gd name="connsiteX21" fmla="*/ 0 w 1882554"/>
                <a:gd name="connsiteY21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37057 w 1882554"/>
                <a:gd name="connsiteY16" fmla="*/ 134849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442853 w 1882554"/>
                <a:gd name="connsiteY19" fmla="*/ 2176667 h 2278380"/>
                <a:gd name="connsiteX20" fmla="*/ 231840 w 1882554"/>
                <a:gd name="connsiteY20" fmla="*/ 2268892 h 2278380"/>
                <a:gd name="connsiteX21" fmla="*/ 0 w 1882554"/>
                <a:gd name="connsiteY21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442853 w 1882554"/>
                <a:gd name="connsiteY19" fmla="*/ 2176667 h 2278380"/>
                <a:gd name="connsiteX20" fmla="*/ 231840 w 1882554"/>
                <a:gd name="connsiteY20" fmla="*/ 2268892 h 2278380"/>
                <a:gd name="connsiteX21" fmla="*/ 0 w 1882554"/>
                <a:gd name="connsiteY21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442853 w 1882554"/>
                <a:gd name="connsiteY19" fmla="*/ 2176667 h 2278380"/>
                <a:gd name="connsiteX20" fmla="*/ 231840 w 1882554"/>
                <a:gd name="connsiteY20" fmla="*/ 2268892 h 2278380"/>
                <a:gd name="connsiteX21" fmla="*/ 0 w 1882554"/>
                <a:gd name="connsiteY21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442853 w 1882554"/>
                <a:gd name="connsiteY20" fmla="*/ 2176667 h 2278380"/>
                <a:gd name="connsiteX21" fmla="*/ 231840 w 1882554"/>
                <a:gd name="connsiteY21" fmla="*/ 2268892 h 2278380"/>
                <a:gd name="connsiteX22" fmla="*/ 0 w 1882554"/>
                <a:gd name="connsiteY22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421383 w 1882554"/>
                <a:gd name="connsiteY20" fmla="*/ 2153873 h 2278380"/>
                <a:gd name="connsiteX21" fmla="*/ 231840 w 1882554"/>
                <a:gd name="connsiteY21" fmla="*/ 2268892 h 2278380"/>
                <a:gd name="connsiteX22" fmla="*/ 0 w 1882554"/>
                <a:gd name="connsiteY22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392756 w 1882554"/>
                <a:gd name="connsiteY20" fmla="*/ 2153873 h 2278380"/>
                <a:gd name="connsiteX21" fmla="*/ 231840 w 1882554"/>
                <a:gd name="connsiteY21" fmla="*/ 2268892 h 2278380"/>
                <a:gd name="connsiteX22" fmla="*/ 0 w 1882554"/>
                <a:gd name="connsiteY22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392756 w 1882554"/>
                <a:gd name="connsiteY20" fmla="*/ 2131079 h 2278380"/>
                <a:gd name="connsiteX21" fmla="*/ 231840 w 1882554"/>
                <a:gd name="connsiteY21" fmla="*/ 2268892 h 2278380"/>
                <a:gd name="connsiteX22" fmla="*/ 0 w 1882554"/>
                <a:gd name="connsiteY22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392756 w 1882554"/>
                <a:gd name="connsiteY20" fmla="*/ 2131079 h 2278380"/>
                <a:gd name="connsiteX21" fmla="*/ 246153 w 1882554"/>
                <a:gd name="connsiteY21" fmla="*/ 2223304 h 2278380"/>
                <a:gd name="connsiteX22" fmla="*/ 0 w 1882554"/>
                <a:gd name="connsiteY22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392756 w 1882554"/>
                <a:gd name="connsiteY20" fmla="*/ 2131079 h 2278380"/>
                <a:gd name="connsiteX21" fmla="*/ 253310 w 1882554"/>
                <a:gd name="connsiteY21" fmla="*/ 2185315 h 2278380"/>
                <a:gd name="connsiteX22" fmla="*/ 0 w 1882554"/>
                <a:gd name="connsiteY22" fmla="*/ 2278380 h 2278380"/>
                <a:gd name="connsiteX0" fmla="*/ 0 w 1882554"/>
                <a:gd name="connsiteY0" fmla="*/ 2278380 h 2278380"/>
                <a:gd name="connsiteX1" fmla="*/ 144780 w 1882554"/>
                <a:gd name="connsiteY1" fmla="*/ 2247900 h 2278380"/>
                <a:gd name="connsiteX2" fmla="*/ 274320 w 1882554"/>
                <a:gd name="connsiteY2" fmla="*/ 2110740 h 2278380"/>
                <a:gd name="connsiteX3" fmla="*/ 396240 w 1882554"/>
                <a:gd name="connsiteY3" fmla="*/ 1805940 h 2278380"/>
                <a:gd name="connsiteX4" fmla="*/ 518160 w 1882554"/>
                <a:gd name="connsiteY4" fmla="*/ 1653540 h 2278380"/>
                <a:gd name="connsiteX5" fmla="*/ 640080 w 1882554"/>
                <a:gd name="connsiteY5" fmla="*/ 1409700 h 2278380"/>
                <a:gd name="connsiteX6" fmla="*/ 830580 w 1882554"/>
                <a:gd name="connsiteY6" fmla="*/ 1173480 h 2278380"/>
                <a:gd name="connsiteX7" fmla="*/ 929640 w 1882554"/>
                <a:gd name="connsiteY7" fmla="*/ 1059180 h 2278380"/>
                <a:gd name="connsiteX8" fmla="*/ 998220 w 1882554"/>
                <a:gd name="connsiteY8" fmla="*/ 944880 h 2278380"/>
                <a:gd name="connsiteX9" fmla="*/ 1135380 w 1882554"/>
                <a:gd name="connsiteY9" fmla="*/ 815340 h 2278380"/>
                <a:gd name="connsiteX10" fmla="*/ 1226820 w 1882554"/>
                <a:gd name="connsiteY10" fmla="*/ 640080 h 2278380"/>
                <a:gd name="connsiteX11" fmla="*/ 1303020 w 1882554"/>
                <a:gd name="connsiteY11" fmla="*/ 586740 h 2278380"/>
                <a:gd name="connsiteX12" fmla="*/ 1546860 w 1882554"/>
                <a:gd name="connsiteY12" fmla="*/ 289560 h 2278380"/>
                <a:gd name="connsiteX13" fmla="*/ 1859280 w 1882554"/>
                <a:gd name="connsiteY13" fmla="*/ 0 h 2278380"/>
                <a:gd name="connsiteX14" fmla="*/ 1882554 w 1882554"/>
                <a:gd name="connsiteY14" fmla="*/ 361915 h 2278380"/>
                <a:gd name="connsiteX15" fmla="*/ 1695282 w 1882554"/>
                <a:gd name="connsiteY15" fmla="*/ 588712 h 2278380"/>
                <a:gd name="connsiteX16" fmla="*/ 1144213 w 1882554"/>
                <a:gd name="connsiteY16" fmla="*/ 1310509 h 2278380"/>
                <a:gd name="connsiteX17" fmla="*/ 879414 w 1882554"/>
                <a:gd name="connsiteY17" fmla="*/ 1652414 h 2278380"/>
                <a:gd name="connsiteX18" fmla="*/ 743436 w 1882554"/>
                <a:gd name="connsiteY18" fmla="*/ 1842360 h 2278380"/>
                <a:gd name="connsiteX19" fmla="*/ 507264 w 1882554"/>
                <a:gd name="connsiteY19" fmla="*/ 2055101 h 2278380"/>
                <a:gd name="connsiteX20" fmla="*/ 392756 w 1882554"/>
                <a:gd name="connsiteY20" fmla="*/ 2131079 h 2278380"/>
                <a:gd name="connsiteX21" fmla="*/ 231840 w 1882554"/>
                <a:gd name="connsiteY21" fmla="*/ 2208109 h 2278380"/>
                <a:gd name="connsiteX22" fmla="*/ 0 w 1882554"/>
                <a:gd name="connsiteY22" fmla="*/ 2278380 h 2278380"/>
                <a:gd name="connsiteX0" fmla="*/ 87060 w 1737774"/>
                <a:gd name="connsiteY0" fmla="*/ 2208109 h 2247900"/>
                <a:gd name="connsiteX1" fmla="*/ 0 w 1737774"/>
                <a:gd name="connsiteY1" fmla="*/ 2247900 h 2247900"/>
                <a:gd name="connsiteX2" fmla="*/ 129540 w 1737774"/>
                <a:gd name="connsiteY2" fmla="*/ 2110740 h 2247900"/>
                <a:gd name="connsiteX3" fmla="*/ 251460 w 1737774"/>
                <a:gd name="connsiteY3" fmla="*/ 1805940 h 2247900"/>
                <a:gd name="connsiteX4" fmla="*/ 373380 w 1737774"/>
                <a:gd name="connsiteY4" fmla="*/ 1653540 h 2247900"/>
                <a:gd name="connsiteX5" fmla="*/ 495300 w 1737774"/>
                <a:gd name="connsiteY5" fmla="*/ 1409700 h 2247900"/>
                <a:gd name="connsiteX6" fmla="*/ 685800 w 1737774"/>
                <a:gd name="connsiteY6" fmla="*/ 1173480 h 2247900"/>
                <a:gd name="connsiteX7" fmla="*/ 784860 w 1737774"/>
                <a:gd name="connsiteY7" fmla="*/ 1059180 h 2247900"/>
                <a:gd name="connsiteX8" fmla="*/ 853440 w 1737774"/>
                <a:gd name="connsiteY8" fmla="*/ 944880 h 2247900"/>
                <a:gd name="connsiteX9" fmla="*/ 990600 w 1737774"/>
                <a:gd name="connsiteY9" fmla="*/ 815340 h 2247900"/>
                <a:gd name="connsiteX10" fmla="*/ 1082040 w 1737774"/>
                <a:gd name="connsiteY10" fmla="*/ 640080 h 2247900"/>
                <a:gd name="connsiteX11" fmla="*/ 1158240 w 1737774"/>
                <a:gd name="connsiteY11" fmla="*/ 586740 h 2247900"/>
                <a:gd name="connsiteX12" fmla="*/ 1402080 w 1737774"/>
                <a:gd name="connsiteY12" fmla="*/ 289560 h 2247900"/>
                <a:gd name="connsiteX13" fmla="*/ 1714500 w 1737774"/>
                <a:gd name="connsiteY13" fmla="*/ 0 h 2247900"/>
                <a:gd name="connsiteX14" fmla="*/ 1737774 w 1737774"/>
                <a:gd name="connsiteY14" fmla="*/ 361915 h 2247900"/>
                <a:gd name="connsiteX15" fmla="*/ 1550502 w 1737774"/>
                <a:gd name="connsiteY15" fmla="*/ 588712 h 2247900"/>
                <a:gd name="connsiteX16" fmla="*/ 999433 w 1737774"/>
                <a:gd name="connsiteY16" fmla="*/ 1310509 h 2247900"/>
                <a:gd name="connsiteX17" fmla="*/ 734634 w 1737774"/>
                <a:gd name="connsiteY17" fmla="*/ 1652414 h 2247900"/>
                <a:gd name="connsiteX18" fmla="*/ 598656 w 1737774"/>
                <a:gd name="connsiteY18" fmla="*/ 1842360 h 2247900"/>
                <a:gd name="connsiteX19" fmla="*/ 362484 w 1737774"/>
                <a:gd name="connsiteY19" fmla="*/ 2055101 h 2247900"/>
                <a:gd name="connsiteX20" fmla="*/ 247976 w 1737774"/>
                <a:gd name="connsiteY20" fmla="*/ 2131079 h 2247900"/>
                <a:gd name="connsiteX21" fmla="*/ 87060 w 1737774"/>
                <a:gd name="connsiteY21" fmla="*/ 2208109 h 2247900"/>
                <a:gd name="connsiteX0" fmla="*/ 87060 w 1737774"/>
                <a:gd name="connsiteY0" fmla="*/ 2208109 h 2247900"/>
                <a:gd name="connsiteX1" fmla="*/ 0 w 1737774"/>
                <a:gd name="connsiteY1" fmla="*/ 2247900 h 2247900"/>
                <a:gd name="connsiteX2" fmla="*/ 129540 w 1737774"/>
                <a:gd name="connsiteY2" fmla="*/ 2110740 h 2247900"/>
                <a:gd name="connsiteX3" fmla="*/ 251460 w 1737774"/>
                <a:gd name="connsiteY3" fmla="*/ 1805940 h 2247900"/>
                <a:gd name="connsiteX4" fmla="*/ 373380 w 1737774"/>
                <a:gd name="connsiteY4" fmla="*/ 1653540 h 2247900"/>
                <a:gd name="connsiteX5" fmla="*/ 495300 w 1737774"/>
                <a:gd name="connsiteY5" fmla="*/ 1409700 h 2247900"/>
                <a:gd name="connsiteX6" fmla="*/ 685800 w 1737774"/>
                <a:gd name="connsiteY6" fmla="*/ 1173480 h 2247900"/>
                <a:gd name="connsiteX7" fmla="*/ 784860 w 1737774"/>
                <a:gd name="connsiteY7" fmla="*/ 1059180 h 2247900"/>
                <a:gd name="connsiteX8" fmla="*/ 853440 w 1737774"/>
                <a:gd name="connsiteY8" fmla="*/ 944880 h 2247900"/>
                <a:gd name="connsiteX9" fmla="*/ 990600 w 1737774"/>
                <a:gd name="connsiteY9" fmla="*/ 815340 h 2247900"/>
                <a:gd name="connsiteX10" fmla="*/ 1082040 w 1737774"/>
                <a:gd name="connsiteY10" fmla="*/ 640080 h 2247900"/>
                <a:gd name="connsiteX11" fmla="*/ 1158240 w 1737774"/>
                <a:gd name="connsiteY11" fmla="*/ 586740 h 2247900"/>
                <a:gd name="connsiteX12" fmla="*/ 1402080 w 1737774"/>
                <a:gd name="connsiteY12" fmla="*/ 289560 h 2247900"/>
                <a:gd name="connsiteX13" fmla="*/ 1714500 w 1737774"/>
                <a:gd name="connsiteY13" fmla="*/ 0 h 2247900"/>
                <a:gd name="connsiteX14" fmla="*/ 1737774 w 1737774"/>
                <a:gd name="connsiteY14" fmla="*/ 384708 h 2247900"/>
                <a:gd name="connsiteX15" fmla="*/ 1550502 w 1737774"/>
                <a:gd name="connsiteY15" fmla="*/ 588712 h 2247900"/>
                <a:gd name="connsiteX16" fmla="*/ 999433 w 1737774"/>
                <a:gd name="connsiteY16" fmla="*/ 1310509 h 2247900"/>
                <a:gd name="connsiteX17" fmla="*/ 734634 w 1737774"/>
                <a:gd name="connsiteY17" fmla="*/ 1652414 h 2247900"/>
                <a:gd name="connsiteX18" fmla="*/ 598656 w 1737774"/>
                <a:gd name="connsiteY18" fmla="*/ 1842360 h 2247900"/>
                <a:gd name="connsiteX19" fmla="*/ 362484 w 1737774"/>
                <a:gd name="connsiteY19" fmla="*/ 2055101 h 2247900"/>
                <a:gd name="connsiteX20" fmla="*/ 247976 w 1737774"/>
                <a:gd name="connsiteY20" fmla="*/ 2131079 h 2247900"/>
                <a:gd name="connsiteX21" fmla="*/ 87060 w 1737774"/>
                <a:gd name="connsiteY21" fmla="*/ 2208109 h 2247900"/>
                <a:gd name="connsiteX0" fmla="*/ 87060 w 1737774"/>
                <a:gd name="connsiteY0" fmla="*/ 2208109 h 2247900"/>
                <a:gd name="connsiteX1" fmla="*/ 0 w 1737774"/>
                <a:gd name="connsiteY1" fmla="*/ 2247900 h 2247900"/>
                <a:gd name="connsiteX2" fmla="*/ 129540 w 1737774"/>
                <a:gd name="connsiteY2" fmla="*/ 2110740 h 2247900"/>
                <a:gd name="connsiteX3" fmla="*/ 251460 w 1737774"/>
                <a:gd name="connsiteY3" fmla="*/ 1805940 h 2247900"/>
                <a:gd name="connsiteX4" fmla="*/ 373380 w 1737774"/>
                <a:gd name="connsiteY4" fmla="*/ 1653540 h 2247900"/>
                <a:gd name="connsiteX5" fmla="*/ 495300 w 1737774"/>
                <a:gd name="connsiteY5" fmla="*/ 1409700 h 2247900"/>
                <a:gd name="connsiteX6" fmla="*/ 685800 w 1737774"/>
                <a:gd name="connsiteY6" fmla="*/ 1173480 h 2247900"/>
                <a:gd name="connsiteX7" fmla="*/ 784860 w 1737774"/>
                <a:gd name="connsiteY7" fmla="*/ 1059180 h 2247900"/>
                <a:gd name="connsiteX8" fmla="*/ 853440 w 1737774"/>
                <a:gd name="connsiteY8" fmla="*/ 944880 h 2247900"/>
                <a:gd name="connsiteX9" fmla="*/ 990600 w 1737774"/>
                <a:gd name="connsiteY9" fmla="*/ 815340 h 2247900"/>
                <a:gd name="connsiteX10" fmla="*/ 1082040 w 1737774"/>
                <a:gd name="connsiteY10" fmla="*/ 640080 h 2247900"/>
                <a:gd name="connsiteX11" fmla="*/ 1158240 w 1737774"/>
                <a:gd name="connsiteY11" fmla="*/ 586740 h 2247900"/>
                <a:gd name="connsiteX12" fmla="*/ 1402080 w 1737774"/>
                <a:gd name="connsiteY12" fmla="*/ 289560 h 2247900"/>
                <a:gd name="connsiteX13" fmla="*/ 1714500 w 1737774"/>
                <a:gd name="connsiteY13" fmla="*/ 0 h 2247900"/>
                <a:gd name="connsiteX14" fmla="*/ 1737774 w 1737774"/>
                <a:gd name="connsiteY14" fmla="*/ 384708 h 2247900"/>
                <a:gd name="connsiteX15" fmla="*/ 1550502 w 1737774"/>
                <a:gd name="connsiteY15" fmla="*/ 611505 h 2247900"/>
                <a:gd name="connsiteX16" fmla="*/ 999433 w 1737774"/>
                <a:gd name="connsiteY16" fmla="*/ 1310509 h 2247900"/>
                <a:gd name="connsiteX17" fmla="*/ 734634 w 1737774"/>
                <a:gd name="connsiteY17" fmla="*/ 1652414 h 2247900"/>
                <a:gd name="connsiteX18" fmla="*/ 598656 w 1737774"/>
                <a:gd name="connsiteY18" fmla="*/ 1842360 h 2247900"/>
                <a:gd name="connsiteX19" fmla="*/ 362484 w 1737774"/>
                <a:gd name="connsiteY19" fmla="*/ 2055101 h 2247900"/>
                <a:gd name="connsiteX20" fmla="*/ 247976 w 1737774"/>
                <a:gd name="connsiteY20" fmla="*/ 2131079 h 2247900"/>
                <a:gd name="connsiteX21" fmla="*/ 87060 w 1737774"/>
                <a:gd name="connsiteY21" fmla="*/ 2208109 h 2247900"/>
                <a:gd name="connsiteX0" fmla="*/ 87060 w 1737774"/>
                <a:gd name="connsiteY0" fmla="*/ 2208109 h 2247900"/>
                <a:gd name="connsiteX1" fmla="*/ 0 w 1737774"/>
                <a:gd name="connsiteY1" fmla="*/ 2247900 h 2247900"/>
                <a:gd name="connsiteX2" fmla="*/ 129540 w 1737774"/>
                <a:gd name="connsiteY2" fmla="*/ 2110740 h 2247900"/>
                <a:gd name="connsiteX3" fmla="*/ 251460 w 1737774"/>
                <a:gd name="connsiteY3" fmla="*/ 1805940 h 2247900"/>
                <a:gd name="connsiteX4" fmla="*/ 373380 w 1737774"/>
                <a:gd name="connsiteY4" fmla="*/ 1653540 h 2247900"/>
                <a:gd name="connsiteX5" fmla="*/ 495300 w 1737774"/>
                <a:gd name="connsiteY5" fmla="*/ 1409700 h 2247900"/>
                <a:gd name="connsiteX6" fmla="*/ 685800 w 1737774"/>
                <a:gd name="connsiteY6" fmla="*/ 1173480 h 2247900"/>
                <a:gd name="connsiteX7" fmla="*/ 784860 w 1737774"/>
                <a:gd name="connsiteY7" fmla="*/ 1059180 h 2247900"/>
                <a:gd name="connsiteX8" fmla="*/ 853440 w 1737774"/>
                <a:gd name="connsiteY8" fmla="*/ 944880 h 2247900"/>
                <a:gd name="connsiteX9" fmla="*/ 990600 w 1737774"/>
                <a:gd name="connsiteY9" fmla="*/ 815340 h 2247900"/>
                <a:gd name="connsiteX10" fmla="*/ 1082040 w 1737774"/>
                <a:gd name="connsiteY10" fmla="*/ 640080 h 2247900"/>
                <a:gd name="connsiteX11" fmla="*/ 1158240 w 1737774"/>
                <a:gd name="connsiteY11" fmla="*/ 586740 h 2247900"/>
                <a:gd name="connsiteX12" fmla="*/ 1402080 w 1737774"/>
                <a:gd name="connsiteY12" fmla="*/ 289560 h 2247900"/>
                <a:gd name="connsiteX13" fmla="*/ 1714500 w 1737774"/>
                <a:gd name="connsiteY13" fmla="*/ 0 h 2247900"/>
                <a:gd name="connsiteX14" fmla="*/ 1737774 w 1737774"/>
                <a:gd name="connsiteY14" fmla="*/ 384708 h 2247900"/>
                <a:gd name="connsiteX15" fmla="*/ 1550502 w 1737774"/>
                <a:gd name="connsiteY15" fmla="*/ 611505 h 2247900"/>
                <a:gd name="connsiteX16" fmla="*/ 1035217 w 1737774"/>
                <a:gd name="connsiteY16" fmla="*/ 1310509 h 2247900"/>
                <a:gd name="connsiteX17" fmla="*/ 734634 w 1737774"/>
                <a:gd name="connsiteY17" fmla="*/ 1652414 h 2247900"/>
                <a:gd name="connsiteX18" fmla="*/ 598656 w 1737774"/>
                <a:gd name="connsiteY18" fmla="*/ 1842360 h 2247900"/>
                <a:gd name="connsiteX19" fmla="*/ 362484 w 1737774"/>
                <a:gd name="connsiteY19" fmla="*/ 2055101 h 2247900"/>
                <a:gd name="connsiteX20" fmla="*/ 247976 w 1737774"/>
                <a:gd name="connsiteY20" fmla="*/ 2131079 h 2247900"/>
                <a:gd name="connsiteX21" fmla="*/ 87060 w 1737774"/>
                <a:gd name="connsiteY21" fmla="*/ 2208109 h 2247900"/>
                <a:gd name="connsiteX0" fmla="*/ 87060 w 1737774"/>
                <a:gd name="connsiteY0" fmla="*/ 2208109 h 2247900"/>
                <a:gd name="connsiteX1" fmla="*/ 0 w 1737774"/>
                <a:gd name="connsiteY1" fmla="*/ 2247900 h 2247900"/>
                <a:gd name="connsiteX2" fmla="*/ 129540 w 1737774"/>
                <a:gd name="connsiteY2" fmla="*/ 2110740 h 2247900"/>
                <a:gd name="connsiteX3" fmla="*/ 251460 w 1737774"/>
                <a:gd name="connsiteY3" fmla="*/ 1805940 h 2247900"/>
                <a:gd name="connsiteX4" fmla="*/ 373380 w 1737774"/>
                <a:gd name="connsiteY4" fmla="*/ 1653540 h 2247900"/>
                <a:gd name="connsiteX5" fmla="*/ 495300 w 1737774"/>
                <a:gd name="connsiteY5" fmla="*/ 1409700 h 2247900"/>
                <a:gd name="connsiteX6" fmla="*/ 685800 w 1737774"/>
                <a:gd name="connsiteY6" fmla="*/ 1173480 h 2247900"/>
                <a:gd name="connsiteX7" fmla="*/ 784860 w 1737774"/>
                <a:gd name="connsiteY7" fmla="*/ 1059180 h 2247900"/>
                <a:gd name="connsiteX8" fmla="*/ 853440 w 1737774"/>
                <a:gd name="connsiteY8" fmla="*/ 944880 h 2247900"/>
                <a:gd name="connsiteX9" fmla="*/ 990600 w 1737774"/>
                <a:gd name="connsiteY9" fmla="*/ 815340 h 2247900"/>
                <a:gd name="connsiteX10" fmla="*/ 1082040 w 1737774"/>
                <a:gd name="connsiteY10" fmla="*/ 640080 h 2247900"/>
                <a:gd name="connsiteX11" fmla="*/ 1158240 w 1737774"/>
                <a:gd name="connsiteY11" fmla="*/ 586740 h 2247900"/>
                <a:gd name="connsiteX12" fmla="*/ 1402080 w 1737774"/>
                <a:gd name="connsiteY12" fmla="*/ 289560 h 2247900"/>
                <a:gd name="connsiteX13" fmla="*/ 1714500 w 1737774"/>
                <a:gd name="connsiteY13" fmla="*/ 0 h 2247900"/>
                <a:gd name="connsiteX14" fmla="*/ 1737774 w 1737774"/>
                <a:gd name="connsiteY14" fmla="*/ 384708 h 2247900"/>
                <a:gd name="connsiteX15" fmla="*/ 1571972 w 1737774"/>
                <a:gd name="connsiteY15" fmla="*/ 603907 h 2247900"/>
                <a:gd name="connsiteX16" fmla="*/ 1035217 w 1737774"/>
                <a:gd name="connsiteY16" fmla="*/ 1310509 h 2247900"/>
                <a:gd name="connsiteX17" fmla="*/ 734634 w 1737774"/>
                <a:gd name="connsiteY17" fmla="*/ 1652414 h 2247900"/>
                <a:gd name="connsiteX18" fmla="*/ 598656 w 1737774"/>
                <a:gd name="connsiteY18" fmla="*/ 1842360 h 2247900"/>
                <a:gd name="connsiteX19" fmla="*/ 362484 w 1737774"/>
                <a:gd name="connsiteY19" fmla="*/ 2055101 h 2247900"/>
                <a:gd name="connsiteX20" fmla="*/ 247976 w 1737774"/>
                <a:gd name="connsiteY20" fmla="*/ 2131079 h 2247900"/>
                <a:gd name="connsiteX21" fmla="*/ 87060 w 1737774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29540 w 1723461"/>
                <a:gd name="connsiteY2" fmla="*/ 2110740 h 2247900"/>
                <a:gd name="connsiteX3" fmla="*/ 251460 w 1723461"/>
                <a:gd name="connsiteY3" fmla="*/ 1805940 h 2247900"/>
                <a:gd name="connsiteX4" fmla="*/ 37338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34634 w 1723461"/>
                <a:gd name="connsiteY17" fmla="*/ 1652414 h 2247900"/>
                <a:gd name="connsiteX18" fmla="*/ 598656 w 1723461"/>
                <a:gd name="connsiteY18" fmla="*/ 1842360 h 2247900"/>
                <a:gd name="connsiteX19" fmla="*/ 362484 w 1723461"/>
                <a:gd name="connsiteY19" fmla="*/ 2055101 h 2247900"/>
                <a:gd name="connsiteX20" fmla="*/ 247976 w 1723461"/>
                <a:gd name="connsiteY20" fmla="*/ 2131079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29540 w 1723461"/>
                <a:gd name="connsiteY2" fmla="*/ 2110740 h 2247900"/>
                <a:gd name="connsiteX3" fmla="*/ 251460 w 1723461"/>
                <a:gd name="connsiteY3" fmla="*/ 1805940 h 2247900"/>
                <a:gd name="connsiteX4" fmla="*/ 37338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598656 w 1723461"/>
                <a:gd name="connsiteY18" fmla="*/ 1842360 h 2247900"/>
                <a:gd name="connsiteX19" fmla="*/ 362484 w 1723461"/>
                <a:gd name="connsiteY19" fmla="*/ 2055101 h 2247900"/>
                <a:gd name="connsiteX20" fmla="*/ 247976 w 1723461"/>
                <a:gd name="connsiteY20" fmla="*/ 2131079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29540 w 1723461"/>
                <a:gd name="connsiteY2" fmla="*/ 2110740 h 2247900"/>
                <a:gd name="connsiteX3" fmla="*/ 251460 w 1723461"/>
                <a:gd name="connsiteY3" fmla="*/ 1805940 h 2247900"/>
                <a:gd name="connsiteX4" fmla="*/ 37338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362484 w 1723461"/>
                <a:gd name="connsiteY19" fmla="*/ 2055101 h 2247900"/>
                <a:gd name="connsiteX20" fmla="*/ 247976 w 1723461"/>
                <a:gd name="connsiteY20" fmla="*/ 2131079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29540 w 1723461"/>
                <a:gd name="connsiteY2" fmla="*/ 2110740 h 2247900"/>
                <a:gd name="connsiteX3" fmla="*/ 251460 w 1723461"/>
                <a:gd name="connsiteY3" fmla="*/ 1805940 h 2247900"/>
                <a:gd name="connsiteX4" fmla="*/ 37338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7976 w 1723461"/>
                <a:gd name="connsiteY20" fmla="*/ 2131079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29540 w 1723461"/>
                <a:gd name="connsiteY2" fmla="*/ 2110740 h 2247900"/>
                <a:gd name="connsiteX3" fmla="*/ 251460 w 1723461"/>
                <a:gd name="connsiteY3" fmla="*/ 1805940 h 2247900"/>
                <a:gd name="connsiteX4" fmla="*/ 37338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7338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51910 w 1723461"/>
                <a:gd name="connsiteY4" fmla="*/ 1653540 h 2247900"/>
                <a:gd name="connsiteX5" fmla="*/ 495300 w 1723461"/>
                <a:gd name="connsiteY5" fmla="*/ 1409700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51910 w 1723461"/>
                <a:gd name="connsiteY4" fmla="*/ 1653540 h 2247900"/>
                <a:gd name="connsiteX5" fmla="*/ 488144 w 1723461"/>
                <a:gd name="connsiteY5" fmla="*/ 1379309 h 2247900"/>
                <a:gd name="connsiteX6" fmla="*/ 685800 w 1723461"/>
                <a:gd name="connsiteY6" fmla="*/ 1173480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51910 w 1723461"/>
                <a:gd name="connsiteY4" fmla="*/ 1653540 h 2247900"/>
                <a:gd name="connsiteX5" fmla="*/ 488144 w 1723461"/>
                <a:gd name="connsiteY5" fmla="*/ 1379309 h 2247900"/>
                <a:gd name="connsiteX6" fmla="*/ 685800 w 1723461"/>
                <a:gd name="connsiteY6" fmla="*/ 1150686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90600 w 1723461"/>
                <a:gd name="connsiteY9" fmla="*/ 815340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51910 w 1723461"/>
                <a:gd name="connsiteY4" fmla="*/ 1653540 h 2247900"/>
                <a:gd name="connsiteX5" fmla="*/ 488144 w 1723461"/>
                <a:gd name="connsiteY5" fmla="*/ 1379309 h 2247900"/>
                <a:gd name="connsiteX6" fmla="*/ 685800 w 1723461"/>
                <a:gd name="connsiteY6" fmla="*/ 1150686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76286 w 1723461"/>
                <a:gd name="connsiteY9" fmla="*/ 784949 h 2247900"/>
                <a:gd name="connsiteX10" fmla="*/ 1082040 w 1723461"/>
                <a:gd name="connsiteY10" fmla="*/ 640080 h 2247900"/>
                <a:gd name="connsiteX11" fmla="*/ 1158240 w 1723461"/>
                <a:gd name="connsiteY11" fmla="*/ 586740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51910 w 1723461"/>
                <a:gd name="connsiteY4" fmla="*/ 1653540 h 2247900"/>
                <a:gd name="connsiteX5" fmla="*/ 488144 w 1723461"/>
                <a:gd name="connsiteY5" fmla="*/ 1379309 h 2247900"/>
                <a:gd name="connsiteX6" fmla="*/ 685800 w 1723461"/>
                <a:gd name="connsiteY6" fmla="*/ 1150686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76286 w 1723461"/>
                <a:gd name="connsiteY9" fmla="*/ 784949 h 2247900"/>
                <a:gd name="connsiteX10" fmla="*/ 1082040 w 1723461"/>
                <a:gd name="connsiteY10" fmla="*/ 640080 h 2247900"/>
                <a:gd name="connsiteX11" fmla="*/ 1179710 w 1723461"/>
                <a:gd name="connsiteY11" fmla="*/ 556348 h 2247900"/>
                <a:gd name="connsiteX12" fmla="*/ 1402080 w 1723461"/>
                <a:gd name="connsiteY12" fmla="*/ 289560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51460 w 1723461"/>
                <a:gd name="connsiteY3" fmla="*/ 1805940 h 2247900"/>
                <a:gd name="connsiteX4" fmla="*/ 351910 w 1723461"/>
                <a:gd name="connsiteY4" fmla="*/ 1653540 h 2247900"/>
                <a:gd name="connsiteX5" fmla="*/ 488144 w 1723461"/>
                <a:gd name="connsiteY5" fmla="*/ 1379309 h 2247900"/>
                <a:gd name="connsiteX6" fmla="*/ 685800 w 1723461"/>
                <a:gd name="connsiteY6" fmla="*/ 1150686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76286 w 1723461"/>
                <a:gd name="connsiteY9" fmla="*/ 784949 h 2247900"/>
                <a:gd name="connsiteX10" fmla="*/ 1082040 w 1723461"/>
                <a:gd name="connsiteY10" fmla="*/ 640080 h 2247900"/>
                <a:gd name="connsiteX11" fmla="*/ 1179710 w 1723461"/>
                <a:gd name="connsiteY11" fmla="*/ 556348 h 2247900"/>
                <a:gd name="connsiteX12" fmla="*/ 1351982 w 1723461"/>
                <a:gd name="connsiteY12" fmla="*/ 297158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208109 h 2247900"/>
                <a:gd name="connsiteX1" fmla="*/ 0 w 1723461"/>
                <a:gd name="connsiteY1" fmla="*/ 2247900 h 2247900"/>
                <a:gd name="connsiteX2" fmla="*/ 115227 w 1723461"/>
                <a:gd name="connsiteY2" fmla="*/ 2087946 h 2247900"/>
                <a:gd name="connsiteX3" fmla="*/ 208519 w 1723461"/>
                <a:gd name="connsiteY3" fmla="*/ 1828733 h 2247900"/>
                <a:gd name="connsiteX4" fmla="*/ 351910 w 1723461"/>
                <a:gd name="connsiteY4" fmla="*/ 1653540 h 2247900"/>
                <a:gd name="connsiteX5" fmla="*/ 488144 w 1723461"/>
                <a:gd name="connsiteY5" fmla="*/ 1379309 h 2247900"/>
                <a:gd name="connsiteX6" fmla="*/ 685800 w 1723461"/>
                <a:gd name="connsiteY6" fmla="*/ 1150686 h 2247900"/>
                <a:gd name="connsiteX7" fmla="*/ 784860 w 1723461"/>
                <a:gd name="connsiteY7" fmla="*/ 1059180 h 2247900"/>
                <a:gd name="connsiteX8" fmla="*/ 853440 w 1723461"/>
                <a:gd name="connsiteY8" fmla="*/ 944880 h 2247900"/>
                <a:gd name="connsiteX9" fmla="*/ 976286 w 1723461"/>
                <a:gd name="connsiteY9" fmla="*/ 784949 h 2247900"/>
                <a:gd name="connsiteX10" fmla="*/ 1082040 w 1723461"/>
                <a:gd name="connsiteY10" fmla="*/ 640080 h 2247900"/>
                <a:gd name="connsiteX11" fmla="*/ 1179710 w 1723461"/>
                <a:gd name="connsiteY11" fmla="*/ 556348 h 2247900"/>
                <a:gd name="connsiteX12" fmla="*/ 1351982 w 1723461"/>
                <a:gd name="connsiteY12" fmla="*/ 297158 h 2247900"/>
                <a:gd name="connsiteX13" fmla="*/ 1714500 w 1723461"/>
                <a:gd name="connsiteY13" fmla="*/ 0 h 2247900"/>
                <a:gd name="connsiteX14" fmla="*/ 1723461 w 1723461"/>
                <a:gd name="connsiteY14" fmla="*/ 437893 h 2247900"/>
                <a:gd name="connsiteX15" fmla="*/ 1571972 w 1723461"/>
                <a:gd name="connsiteY15" fmla="*/ 603907 h 2247900"/>
                <a:gd name="connsiteX16" fmla="*/ 1035217 w 1723461"/>
                <a:gd name="connsiteY16" fmla="*/ 1310509 h 2247900"/>
                <a:gd name="connsiteX17" fmla="*/ 770418 w 1723461"/>
                <a:gd name="connsiteY17" fmla="*/ 1660011 h 2247900"/>
                <a:gd name="connsiteX18" fmla="*/ 620126 w 1723461"/>
                <a:gd name="connsiteY18" fmla="*/ 1865154 h 2247900"/>
                <a:gd name="connsiteX19" fmla="*/ 419738 w 1723461"/>
                <a:gd name="connsiteY19" fmla="*/ 2024709 h 2247900"/>
                <a:gd name="connsiteX20" fmla="*/ 240819 w 1723461"/>
                <a:gd name="connsiteY20" fmla="*/ 2161471 h 2247900"/>
                <a:gd name="connsiteX21" fmla="*/ 87060 w 1723461"/>
                <a:gd name="connsiteY21" fmla="*/ 2208109 h 2247900"/>
                <a:gd name="connsiteX0" fmla="*/ 87060 w 1723461"/>
                <a:gd name="connsiteY0" fmla="*/ 2185315 h 2225106"/>
                <a:gd name="connsiteX1" fmla="*/ 0 w 1723461"/>
                <a:gd name="connsiteY1" fmla="*/ 2225106 h 2225106"/>
                <a:gd name="connsiteX2" fmla="*/ 115227 w 1723461"/>
                <a:gd name="connsiteY2" fmla="*/ 2065152 h 2225106"/>
                <a:gd name="connsiteX3" fmla="*/ 208519 w 1723461"/>
                <a:gd name="connsiteY3" fmla="*/ 1805939 h 2225106"/>
                <a:gd name="connsiteX4" fmla="*/ 351910 w 1723461"/>
                <a:gd name="connsiteY4" fmla="*/ 1630746 h 2225106"/>
                <a:gd name="connsiteX5" fmla="*/ 488144 w 1723461"/>
                <a:gd name="connsiteY5" fmla="*/ 1356515 h 2225106"/>
                <a:gd name="connsiteX6" fmla="*/ 685800 w 1723461"/>
                <a:gd name="connsiteY6" fmla="*/ 1127892 h 2225106"/>
                <a:gd name="connsiteX7" fmla="*/ 784860 w 1723461"/>
                <a:gd name="connsiteY7" fmla="*/ 1036386 h 2225106"/>
                <a:gd name="connsiteX8" fmla="*/ 853440 w 1723461"/>
                <a:gd name="connsiteY8" fmla="*/ 922086 h 2225106"/>
                <a:gd name="connsiteX9" fmla="*/ 976286 w 1723461"/>
                <a:gd name="connsiteY9" fmla="*/ 762155 h 2225106"/>
                <a:gd name="connsiteX10" fmla="*/ 1082040 w 1723461"/>
                <a:gd name="connsiteY10" fmla="*/ 617286 h 2225106"/>
                <a:gd name="connsiteX11" fmla="*/ 1179710 w 1723461"/>
                <a:gd name="connsiteY11" fmla="*/ 533554 h 2225106"/>
                <a:gd name="connsiteX12" fmla="*/ 1351982 w 1723461"/>
                <a:gd name="connsiteY12" fmla="*/ 274364 h 2225106"/>
                <a:gd name="connsiteX13" fmla="*/ 1639354 w 1723461"/>
                <a:gd name="connsiteY13" fmla="*/ 0 h 2225106"/>
                <a:gd name="connsiteX14" fmla="*/ 1723461 w 1723461"/>
                <a:gd name="connsiteY14" fmla="*/ 415099 h 2225106"/>
                <a:gd name="connsiteX15" fmla="*/ 1571972 w 1723461"/>
                <a:gd name="connsiteY15" fmla="*/ 581113 h 2225106"/>
                <a:gd name="connsiteX16" fmla="*/ 1035217 w 1723461"/>
                <a:gd name="connsiteY16" fmla="*/ 1287715 h 2225106"/>
                <a:gd name="connsiteX17" fmla="*/ 770418 w 1723461"/>
                <a:gd name="connsiteY17" fmla="*/ 1637217 h 2225106"/>
                <a:gd name="connsiteX18" fmla="*/ 620126 w 1723461"/>
                <a:gd name="connsiteY18" fmla="*/ 1842360 h 2225106"/>
                <a:gd name="connsiteX19" fmla="*/ 419738 w 1723461"/>
                <a:gd name="connsiteY19" fmla="*/ 2001915 h 2225106"/>
                <a:gd name="connsiteX20" fmla="*/ 240819 w 1723461"/>
                <a:gd name="connsiteY20" fmla="*/ 2138677 h 2225106"/>
                <a:gd name="connsiteX21" fmla="*/ 87060 w 1723461"/>
                <a:gd name="connsiteY21" fmla="*/ 2185315 h 2225106"/>
                <a:gd name="connsiteX0" fmla="*/ 87060 w 1653682"/>
                <a:gd name="connsiteY0" fmla="*/ 2185315 h 2225106"/>
                <a:gd name="connsiteX1" fmla="*/ 0 w 1653682"/>
                <a:gd name="connsiteY1" fmla="*/ 2225106 h 2225106"/>
                <a:gd name="connsiteX2" fmla="*/ 115227 w 1653682"/>
                <a:gd name="connsiteY2" fmla="*/ 2065152 h 2225106"/>
                <a:gd name="connsiteX3" fmla="*/ 208519 w 1653682"/>
                <a:gd name="connsiteY3" fmla="*/ 1805939 h 2225106"/>
                <a:gd name="connsiteX4" fmla="*/ 351910 w 1653682"/>
                <a:gd name="connsiteY4" fmla="*/ 1630746 h 2225106"/>
                <a:gd name="connsiteX5" fmla="*/ 488144 w 1653682"/>
                <a:gd name="connsiteY5" fmla="*/ 1356515 h 2225106"/>
                <a:gd name="connsiteX6" fmla="*/ 685800 w 1653682"/>
                <a:gd name="connsiteY6" fmla="*/ 1127892 h 2225106"/>
                <a:gd name="connsiteX7" fmla="*/ 784860 w 1653682"/>
                <a:gd name="connsiteY7" fmla="*/ 1036386 h 2225106"/>
                <a:gd name="connsiteX8" fmla="*/ 853440 w 1653682"/>
                <a:gd name="connsiteY8" fmla="*/ 922086 h 2225106"/>
                <a:gd name="connsiteX9" fmla="*/ 976286 w 1653682"/>
                <a:gd name="connsiteY9" fmla="*/ 762155 h 2225106"/>
                <a:gd name="connsiteX10" fmla="*/ 1082040 w 1653682"/>
                <a:gd name="connsiteY10" fmla="*/ 617286 h 2225106"/>
                <a:gd name="connsiteX11" fmla="*/ 1179710 w 1653682"/>
                <a:gd name="connsiteY11" fmla="*/ 533554 h 2225106"/>
                <a:gd name="connsiteX12" fmla="*/ 1351982 w 1653682"/>
                <a:gd name="connsiteY12" fmla="*/ 274364 h 2225106"/>
                <a:gd name="connsiteX13" fmla="*/ 1639354 w 1653682"/>
                <a:gd name="connsiteY13" fmla="*/ 0 h 2225106"/>
                <a:gd name="connsiteX14" fmla="*/ 1653682 w 1653682"/>
                <a:gd name="connsiteY14" fmla="*/ 472083 h 2225106"/>
                <a:gd name="connsiteX15" fmla="*/ 1571972 w 1653682"/>
                <a:gd name="connsiteY15" fmla="*/ 581113 h 2225106"/>
                <a:gd name="connsiteX16" fmla="*/ 1035217 w 1653682"/>
                <a:gd name="connsiteY16" fmla="*/ 1287715 h 2225106"/>
                <a:gd name="connsiteX17" fmla="*/ 770418 w 1653682"/>
                <a:gd name="connsiteY17" fmla="*/ 1637217 h 2225106"/>
                <a:gd name="connsiteX18" fmla="*/ 620126 w 1653682"/>
                <a:gd name="connsiteY18" fmla="*/ 1842360 h 2225106"/>
                <a:gd name="connsiteX19" fmla="*/ 419738 w 1653682"/>
                <a:gd name="connsiteY19" fmla="*/ 2001915 h 2225106"/>
                <a:gd name="connsiteX20" fmla="*/ 240819 w 1653682"/>
                <a:gd name="connsiteY20" fmla="*/ 2138677 h 2225106"/>
                <a:gd name="connsiteX21" fmla="*/ 87060 w 1653682"/>
                <a:gd name="connsiteY21" fmla="*/ 2185315 h 2225106"/>
                <a:gd name="connsiteX0" fmla="*/ 87060 w 1653682"/>
                <a:gd name="connsiteY0" fmla="*/ 2185315 h 2225106"/>
                <a:gd name="connsiteX1" fmla="*/ 0 w 1653682"/>
                <a:gd name="connsiteY1" fmla="*/ 2225106 h 2225106"/>
                <a:gd name="connsiteX2" fmla="*/ 115227 w 1653682"/>
                <a:gd name="connsiteY2" fmla="*/ 2065152 h 2225106"/>
                <a:gd name="connsiteX3" fmla="*/ 208519 w 1653682"/>
                <a:gd name="connsiteY3" fmla="*/ 1805939 h 2225106"/>
                <a:gd name="connsiteX4" fmla="*/ 351910 w 1653682"/>
                <a:gd name="connsiteY4" fmla="*/ 1630746 h 2225106"/>
                <a:gd name="connsiteX5" fmla="*/ 488144 w 1653682"/>
                <a:gd name="connsiteY5" fmla="*/ 1356515 h 2225106"/>
                <a:gd name="connsiteX6" fmla="*/ 685800 w 1653682"/>
                <a:gd name="connsiteY6" fmla="*/ 1127892 h 2225106"/>
                <a:gd name="connsiteX7" fmla="*/ 784860 w 1653682"/>
                <a:gd name="connsiteY7" fmla="*/ 1036386 h 2225106"/>
                <a:gd name="connsiteX8" fmla="*/ 853440 w 1653682"/>
                <a:gd name="connsiteY8" fmla="*/ 922086 h 2225106"/>
                <a:gd name="connsiteX9" fmla="*/ 976286 w 1653682"/>
                <a:gd name="connsiteY9" fmla="*/ 762155 h 2225106"/>
                <a:gd name="connsiteX10" fmla="*/ 1082040 w 1653682"/>
                <a:gd name="connsiteY10" fmla="*/ 617286 h 2225106"/>
                <a:gd name="connsiteX11" fmla="*/ 1179710 w 1653682"/>
                <a:gd name="connsiteY11" fmla="*/ 533554 h 2225106"/>
                <a:gd name="connsiteX12" fmla="*/ 1351982 w 1653682"/>
                <a:gd name="connsiteY12" fmla="*/ 274364 h 2225106"/>
                <a:gd name="connsiteX13" fmla="*/ 1639354 w 1653682"/>
                <a:gd name="connsiteY13" fmla="*/ 0 h 2225106"/>
                <a:gd name="connsiteX14" fmla="*/ 1653682 w 1653682"/>
                <a:gd name="connsiteY14" fmla="*/ 483479 h 2225106"/>
                <a:gd name="connsiteX15" fmla="*/ 1571972 w 1653682"/>
                <a:gd name="connsiteY15" fmla="*/ 581113 h 2225106"/>
                <a:gd name="connsiteX16" fmla="*/ 1035217 w 1653682"/>
                <a:gd name="connsiteY16" fmla="*/ 1287715 h 2225106"/>
                <a:gd name="connsiteX17" fmla="*/ 770418 w 1653682"/>
                <a:gd name="connsiteY17" fmla="*/ 1637217 h 2225106"/>
                <a:gd name="connsiteX18" fmla="*/ 620126 w 1653682"/>
                <a:gd name="connsiteY18" fmla="*/ 1842360 h 2225106"/>
                <a:gd name="connsiteX19" fmla="*/ 419738 w 1653682"/>
                <a:gd name="connsiteY19" fmla="*/ 2001915 h 2225106"/>
                <a:gd name="connsiteX20" fmla="*/ 240819 w 1653682"/>
                <a:gd name="connsiteY20" fmla="*/ 2138677 h 2225106"/>
                <a:gd name="connsiteX21" fmla="*/ 87060 w 1653682"/>
                <a:gd name="connsiteY21" fmla="*/ 2185315 h 2225106"/>
                <a:gd name="connsiteX0" fmla="*/ 87060 w 1653682"/>
                <a:gd name="connsiteY0" fmla="*/ 2191014 h 2230805"/>
                <a:gd name="connsiteX1" fmla="*/ 0 w 1653682"/>
                <a:gd name="connsiteY1" fmla="*/ 2230805 h 2230805"/>
                <a:gd name="connsiteX2" fmla="*/ 115227 w 1653682"/>
                <a:gd name="connsiteY2" fmla="*/ 2070851 h 2230805"/>
                <a:gd name="connsiteX3" fmla="*/ 208519 w 1653682"/>
                <a:gd name="connsiteY3" fmla="*/ 1811638 h 2230805"/>
                <a:gd name="connsiteX4" fmla="*/ 351910 w 1653682"/>
                <a:gd name="connsiteY4" fmla="*/ 1636445 h 2230805"/>
                <a:gd name="connsiteX5" fmla="*/ 488144 w 1653682"/>
                <a:gd name="connsiteY5" fmla="*/ 1362214 h 2230805"/>
                <a:gd name="connsiteX6" fmla="*/ 685800 w 1653682"/>
                <a:gd name="connsiteY6" fmla="*/ 1133591 h 2230805"/>
                <a:gd name="connsiteX7" fmla="*/ 784860 w 1653682"/>
                <a:gd name="connsiteY7" fmla="*/ 1042085 h 2230805"/>
                <a:gd name="connsiteX8" fmla="*/ 853440 w 1653682"/>
                <a:gd name="connsiteY8" fmla="*/ 927785 h 2230805"/>
                <a:gd name="connsiteX9" fmla="*/ 976286 w 1653682"/>
                <a:gd name="connsiteY9" fmla="*/ 767854 h 2230805"/>
                <a:gd name="connsiteX10" fmla="*/ 1082040 w 1653682"/>
                <a:gd name="connsiteY10" fmla="*/ 622985 h 2230805"/>
                <a:gd name="connsiteX11" fmla="*/ 1179710 w 1653682"/>
                <a:gd name="connsiteY11" fmla="*/ 539253 h 2230805"/>
                <a:gd name="connsiteX12" fmla="*/ 1351982 w 1653682"/>
                <a:gd name="connsiteY12" fmla="*/ 280063 h 2230805"/>
                <a:gd name="connsiteX13" fmla="*/ 1650089 w 1653682"/>
                <a:gd name="connsiteY13" fmla="*/ 0 h 2230805"/>
                <a:gd name="connsiteX14" fmla="*/ 1653682 w 1653682"/>
                <a:gd name="connsiteY14" fmla="*/ 489178 h 2230805"/>
                <a:gd name="connsiteX15" fmla="*/ 1571972 w 1653682"/>
                <a:gd name="connsiteY15" fmla="*/ 586812 h 2230805"/>
                <a:gd name="connsiteX16" fmla="*/ 1035217 w 1653682"/>
                <a:gd name="connsiteY16" fmla="*/ 1293414 h 2230805"/>
                <a:gd name="connsiteX17" fmla="*/ 770418 w 1653682"/>
                <a:gd name="connsiteY17" fmla="*/ 1642916 h 2230805"/>
                <a:gd name="connsiteX18" fmla="*/ 620126 w 1653682"/>
                <a:gd name="connsiteY18" fmla="*/ 1848059 h 2230805"/>
                <a:gd name="connsiteX19" fmla="*/ 419738 w 1653682"/>
                <a:gd name="connsiteY19" fmla="*/ 2007614 h 2230805"/>
                <a:gd name="connsiteX20" fmla="*/ 240819 w 1653682"/>
                <a:gd name="connsiteY20" fmla="*/ 2144376 h 2230805"/>
                <a:gd name="connsiteX21" fmla="*/ 87060 w 1653682"/>
                <a:gd name="connsiteY21" fmla="*/ 2191014 h 2230805"/>
                <a:gd name="connsiteX0" fmla="*/ 87060 w 1653682"/>
                <a:gd name="connsiteY0" fmla="*/ 2191014 h 2230805"/>
                <a:gd name="connsiteX1" fmla="*/ 0 w 1653682"/>
                <a:gd name="connsiteY1" fmla="*/ 2230805 h 2230805"/>
                <a:gd name="connsiteX2" fmla="*/ 115227 w 1653682"/>
                <a:gd name="connsiteY2" fmla="*/ 2070851 h 2230805"/>
                <a:gd name="connsiteX3" fmla="*/ 208519 w 1653682"/>
                <a:gd name="connsiteY3" fmla="*/ 1811638 h 2230805"/>
                <a:gd name="connsiteX4" fmla="*/ 351910 w 1653682"/>
                <a:gd name="connsiteY4" fmla="*/ 1636445 h 2230805"/>
                <a:gd name="connsiteX5" fmla="*/ 488144 w 1653682"/>
                <a:gd name="connsiteY5" fmla="*/ 1362214 h 2230805"/>
                <a:gd name="connsiteX6" fmla="*/ 685800 w 1653682"/>
                <a:gd name="connsiteY6" fmla="*/ 1133591 h 2230805"/>
                <a:gd name="connsiteX7" fmla="*/ 784860 w 1653682"/>
                <a:gd name="connsiteY7" fmla="*/ 1042085 h 2230805"/>
                <a:gd name="connsiteX8" fmla="*/ 853440 w 1653682"/>
                <a:gd name="connsiteY8" fmla="*/ 927785 h 2230805"/>
                <a:gd name="connsiteX9" fmla="*/ 976286 w 1653682"/>
                <a:gd name="connsiteY9" fmla="*/ 767854 h 2230805"/>
                <a:gd name="connsiteX10" fmla="*/ 1064148 w 1653682"/>
                <a:gd name="connsiteY10" fmla="*/ 622985 h 2230805"/>
                <a:gd name="connsiteX11" fmla="*/ 1179710 w 1653682"/>
                <a:gd name="connsiteY11" fmla="*/ 539253 h 2230805"/>
                <a:gd name="connsiteX12" fmla="*/ 1351982 w 1653682"/>
                <a:gd name="connsiteY12" fmla="*/ 280063 h 2230805"/>
                <a:gd name="connsiteX13" fmla="*/ 1650089 w 1653682"/>
                <a:gd name="connsiteY13" fmla="*/ 0 h 2230805"/>
                <a:gd name="connsiteX14" fmla="*/ 1653682 w 1653682"/>
                <a:gd name="connsiteY14" fmla="*/ 489178 h 2230805"/>
                <a:gd name="connsiteX15" fmla="*/ 1571972 w 1653682"/>
                <a:gd name="connsiteY15" fmla="*/ 586812 h 2230805"/>
                <a:gd name="connsiteX16" fmla="*/ 1035217 w 1653682"/>
                <a:gd name="connsiteY16" fmla="*/ 1293414 h 2230805"/>
                <a:gd name="connsiteX17" fmla="*/ 770418 w 1653682"/>
                <a:gd name="connsiteY17" fmla="*/ 1642916 h 2230805"/>
                <a:gd name="connsiteX18" fmla="*/ 620126 w 1653682"/>
                <a:gd name="connsiteY18" fmla="*/ 1848059 h 2230805"/>
                <a:gd name="connsiteX19" fmla="*/ 419738 w 1653682"/>
                <a:gd name="connsiteY19" fmla="*/ 2007614 h 2230805"/>
                <a:gd name="connsiteX20" fmla="*/ 240819 w 1653682"/>
                <a:gd name="connsiteY20" fmla="*/ 2144376 h 2230805"/>
                <a:gd name="connsiteX21" fmla="*/ 87060 w 1653682"/>
                <a:gd name="connsiteY21" fmla="*/ 2191014 h 2230805"/>
                <a:gd name="connsiteX0" fmla="*/ 87060 w 1653682"/>
                <a:gd name="connsiteY0" fmla="*/ 2191014 h 2230805"/>
                <a:gd name="connsiteX1" fmla="*/ 0 w 1653682"/>
                <a:gd name="connsiteY1" fmla="*/ 2230805 h 2230805"/>
                <a:gd name="connsiteX2" fmla="*/ 115227 w 1653682"/>
                <a:gd name="connsiteY2" fmla="*/ 2070851 h 2230805"/>
                <a:gd name="connsiteX3" fmla="*/ 208519 w 1653682"/>
                <a:gd name="connsiteY3" fmla="*/ 1811638 h 2230805"/>
                <a:gd name="connsiteX4" fmla="*/ 351910 w 1653682"/>
                <a:gd name="connsiteY4" fmla="*/ 1636445 h 2230805"/>
                <a:gd name="connsiteX5" fmla="*/ 488144 w 1653682"/>
                <a:gd name="connsiteY5" fmla="*/ 1362214 h 2230805"/>
                <a:gd name="connsiteX6" fmla="*/ 685800 w 1653682"/>
                <a:gd name="connsiteY6" fmla="*/ 1133591 h 2230805"/>
                <a:gd name="connsiteX7" fmla="*/ 784860 w 1653682"/>
                <a:gd name="connsiteY7" fmla="*/ 1042085 h 2230805"/>
                <a:gd name="connsiteX8" fmla="*/ 853440 w 1653682"/>
                <a:gd name="connsiteY8" fmla="*/ 927785 h 2230805"/>
                <a:gd name="connsiteX9" fmla="*/ 976286 w 1653682"/>
                <a:gd name="connsiteY9" fmla="*/ 767854 h 2230805"/>
                <a:gd name="connsiteX10" fmla="*/ 1064148 w 1653682"/>
                <a:gd name="connsiteY10" fmla="*/ 622985 h 2230805"/>
                <a:gd name="connsiteX11" fmla="*/ 1143926 w 1653682"/>
                <a:gd name="connsiteY11" fmla="*/ 558247 h 2230805"/>
                <a:gd name="connsiteX12" fmla="*/ 1351982 w 1653682"/>
                <a:gd name="connsiteY12" fmla="*/ 280063 h 2230805"/>
                <a:gd name="connsiteX13" fmla="*/ 1650089 w 1653682"/>
                <a:gd name="connsiteY13" fmla="*/ 0 h 2230805"/>
                <a:gd name="connsiteX14" fmla="*/ 1653682 w 1653682"/>
                <a:gd name="connsiteY14" fmla="*/ 489178 h 2230805"/>
                <a:gd name="connsiteX15" fmla="*/ 1571972 w 1653682"/>
                <a:gd name="connsiteY15" fmla="*/ 586812 h 2230805"/>
                <a:gd name="connsiteX16" fmla="*/ 1035217 w 1653682"/>
                <a:gd name="connsiteY16" fmla="*/ 1293414 h 2230805"/>
                <a:gd name="connsiteX17" fmla="*/ 770418 w 1653682"/>
                <a:gd name="connsiteY17" fmla="*/ 1642916 h 2230805"/>
                <a:gd name="connsiteX18" fmla="*/ 620126 w 1653682"/>
                <a:gd name="connsiteY18" fmla="*/ 1848059 h 2230805"/>
                <a:gd name="connsiteX19" fmla="*/ 419738 w 1653682"/>
                <a:gd name="connsiteY19" fmla="*/ 2007614 h 2230805"/>
                <a:gd name="connsiteX20" fmla="*/ 240819 w 1653682"/>
                <a:gd name="connsiteY20" fmla="*/ 2144376 h 2230805"/>
                <a:gd name="connsiteX21" fmla="*/ 87060 w 1653682"/>
                <a:gd name="connsiteY21" fmla="*/ 2191014 h 2230805"/>
                <a:gd name="connsiteX0" fmla="*/ 87060 w 1653682"/>
                <a:gd name="connsiteY0" fmla="*/ 2191014 h 2230805"/>
                <a:gd name="connsiteX1" fmla="*/ 0 w 1653682"/>
                <a:gd name="connsiteY1" fmla="*/ 2230805 h 2230805"/>
                <a:gd name="connsiteX2" fmla="*/ 115227 w 1653682"/>
                <a:gd name="connsiteY2" fmla="*/ 2070851 h 2230805"/>
                <a:gd name="connsiteX3" fmla="*/ 208519 w 1653682"/>
                <a:gd name="connsiteY3" fmla="*/ 1811638 h 2230805"/>
                <a:gd name="connsiteX4" fmla="*/ 351910 w 1653682"/>
                <a:gd name="connsiteY4" fmla="*/ 1636445 h 2230805"/>
                <a:gd name="connsiteX5" fmla="*/ 488144 w 1653682"/>
                <a:gd name="connsiteY5" fmla="*/ 1362214 h 2230805"/>
                <a:gd name="connsiteX6" fmla="*/ 685800 w 1653682"/>
                <a:gd name="connsiteY6" fmla="*/ 1133591 h 2230805"/>
                <a:gd name="connsiteX7" fmla="*/ 784860 w 1653682"/>
                <a:gd name="connsiteY7" fmla="*/ 1042085 h 2230805"/>
                <a:gd name="connsiteX8" fmla="*/ 853440 w 1653682"/>
                <a:gd name="connsiteY8" fmla="*/ 927785 h 2230805"/>
                <a:gd name="connsiteX9" fmla="*/ 976286 w 1653682"/>
                <a:gd name="connsiteY9" fmla="*/ 767854 h 2230805"/>
                <a:gd name="connsiteX10" fmla="*/ 1064148 w 1653682"/>
                <a:gd name="connsiteY10" fmla="*/ 622985 h 2230805"/>
                <a:gd name="connsiteX11" fmla="*/ 1143926 w 1653682"/>
                <a:gd name="connsiteY11" fmla="*/ 558247 h 2230805"/>
                <a:gd name="connsiteX12" fmla="*/ 1391344 w 1653682"/>
                <a:gd name="connsiteY12" fmla="*/ 257270 h 2230805"/>
                <a:gd name="connsiteX13" fmla="*/ 1650089 w 1653682"/>
                <a:gd name="connsiteY13" fmla="*/ 0 h 2230805"/>
                <a:gd name="connsiteX14" fmla="*/ 1653682 w 1653682"/>
                <a:gd name="connsiteY14" fmla="*/ 489178 h 2230805"/>
                <a:gd name="connsiteX15" fmla="*/ 1571972 w 1653682"/>
                <a:gd name="connsiteY15" fmla="*/ 586812 h 2230805"/>
                <a:gd name="connsiteX16" fmla="*/ 1035217 w 1653682"/>
                <a:gd name="connsiteY16" fmla="*/ 1293414 h 2230805"/>
                <a:gd name="connsiteX17" fmla="*/ 770418 w 1653682"/>
                <a:gd name="connsiteY17" fmla="*/ 1642916 h 2230805"/>
                <a:gd name="connsiteX18" fmla="*/ 620126 w 1653682"/>
                <a:gd name="connsiteY18" fmla="*/ 1848059 h 2230805"/>
                <a:gd name="connsiteX19" fmla="*/ 419738 w 1653682"/>
                <a:gd name="connsiteY19" fmla="*/ 2007614 h 2230805"/>
                <a:gd name="connsiteX20" fmla="*/ 240819 w 1653682"/>
                <a:gd name="connsiteY20" fmla="*/ 2144376 h 2230805"/>
                <a:gd name="connsiteX21" fmla="*/ 87060 w 1653682"/>
                <a:gd name="connsiteY21" fmla="*/ 2191014 h 2230805"/>
                <a:gd name="connsiteX0" fmla="*/ 87060 w 1653682"/>
                <a:gd name="connsiteY0" fmla="*/ 2179617 h 2219408"/>
                <a:gd name="connsiteX1" fmla="*/ 0 w 1653682"/>
                <a:gd name="connsiteY1" fmla="*/ 2219408 h 2219408"/>
                <a:gd name="connsiteX2" fmla="*/ 115227 w 1653682"/>
                <a:gd name="connsiteY2" fmla="*/ 2059454 h 2219408"/>
                <a:gd name="connsiteX3" fmla="*/ 208519 w 1653682"/>
                <a:gd name="connsiteY3" fmla="*/ 1800241 h 2219408"/>
                <a:gd name="connsiteX4" fmla="*/ 351910 w 1653682"/>
                <a:gd name="connsiteY4" fmla="*/ 1625048 h 2219408"/>
                <a:gd name="connsiteX5" fmla="*/ 488144 w 1653682"/>
                <a:gd name="connsiteY5" fmla="*/ 1350817 h 2219408"/>
                <a:gd name="connsiteX6" fmla="*/ 685800 w 1653682"/>
                <a:gd name="connsiteY6" fmla="*/ 1122194 h 2219408"/>
                <a:gd name="connsiteX7" fmla="*/ 784860 w 1653682"/>
                <a:gd name="connsiteY7" fmla="*/ 1030688 h 2219408"/>
                <a:gd name="connsiteX8" fmla="*/ 853440 w 1653682"/>
                <a:gd name="connsiteY8" fmla="*/ 916388 h 2219408"/>
                <a:gd name="connsiteX9" fmla="*/ 976286 w 1653682"/>
                <a:gd name="connsiteY9" fmla="*/ 756457 h 2219408"/>
                <a:gd name="connsiteX10" fmla="*/ 1064148 w 1653682"/>
                <a:gd name="connsiteY10" fmla="*/ 611588 h 2219408"/>
                <a:gd name="connsiteX11" fmla="*/ 1143926 w 1653682"/>
                <a:gd name="connsiteY11" fmla="*/ 546850 h 2219408"/>
                <a:gd name="connsiteX12" fmla="*/ 1391344 w 1653682"/>
                <a:gd name="connsiteY12" fmla="*/ 245873 h 2219408"/>
                <a:gd name="connsiteX13" fmla="*/ 1650089 w 1653682"/>
                <a:gd name="connsiteY13" fmla="*/ 0 h 2219408"/>
                <a:gd name="connsiteX14" fmla="*/ 1653682 w 1653682"/>
                <a:gd name="connsiteY14" fmla="*/ 477781 h 2219408"/>
                <a:gd name="connsiteX15" fmla="*/ 1571972 w 1653682"/>
                <a:gd name="connsiteY15" fmla="*/ 575415 h 2219408"/>
                <a:gd name="connsiteX16" fmla="*/ 1035217 w 1653682"/>
                <a:gd name="connsiteY16" fmla="*/ 1282017 h 2219408"/>
                <a:gd name="connsiteX17" fmla="*/ 770418 w 1653682"/>
                <a:gd name="connsiteY17" fmla="*/ 1631519 h 2219408"/>
                <a:gd name="connsiteX18" fmla="*/ 620126 w 1653682"/>
                <a:gd name="connsiteY18" fmla="*/ 1836662 h 2219408"/>
                <a:gd name="connsiteX19" fmla="*/ 419738 w 1653682"/>
                <a:gd name="connsiteY19" fmla="*/ 1996217 h 2219408"/>
                <a:gd name="connsiteX20" fmla="*/ 240819 w 1653682"/>
                <a:gd name="connsiteY20" fmla="*/ 2132979 h 2219408"/>
                <a:gd name="connsiteX21" fmla="*/ 87060 w 1653682"/>
                <a:gd name="connsiteY21" fmla="*/ 2179617 h 2219408"/>
                <a:gd name="connsiteX0" fmla="*/ 87060 w 1653682"/>
                <a:gd name="connsiteY0" fmla="*/ 2179617 h 2219408"/>
                <a:gd name="connsiteX1" fmla="*/ 0 w 1653682"/>
                <a:gd name="connsiteY1" fmla="*/ 2219408 h 2219408"/>
                <a:gd name="connsiteX2" fmla="*/ 115227 w 1653682"/>
                <a:gd name="connsiteY2" fmla="*/ 2059454 h 2219408"/>
                <a:gd name="connsiteX3" fmla="*/ 208519 w 1653682"/>
                <a:gd name="connsiteY3" fmla="*/ 1800241 h 2219408"/>
                <a:gd name="connsiteX4" fmla="*/ 351910 w 1653682"/>
                <a:gd name="connsiteY4" fmla="*/ 1625048 h 2219408"/>
                <a:gd name="connsiteX5" fmla="*/ 488144 w 1653682"/>
                <a:gd name="connsiteY5" fmla="*/ 1350817 h 2219408"/>
                <a:gd name="connsiteX6" fmla="*/ 685800 w 1653682"/>
                <a:gd name="connsiteY6" fmla="*/ 1122194 h 2219408"/>
                <a:gd name="connsiteX7" fmla="*/ 784860 w 1653682"/>
                <a:gd name="connsiteY7" fmla="*/ 1030688 h 2219408"/>
                <a:gd name="connsiteX8" fmla="*/ 853440 w 1653682"/>
                <a:gd name="connsiteY8" fmla="*/ 916388 h 2219408"/>
                <a:gd name="connsiteX9" fmla="*/ 969129 w 1653682"/>
                <a:gd name="connsiteY9" fmla="*/ 783049 h 2219408"/>
                <a:gd name="connsiteX10" fmla="*/ 1064148 w 1653682"/>
                <a:gd name="connsiteY10" fmla="*/ 611588 h 2219408"/>
                <a:gd name="connsiteX11" fmla="*/ 1143926 w 1653682"/>
                <a:gd name="connsiteY11" fmla="*/ 546850 h 2219408"/>
                <a:gd name="connsiteX12" fmla="*/ 1391344 w 1653682"/>
                <a:gd name="connsiteY12" fmla="*/ 245873 h 2219408"/>
                <a:gd name="connsiteX13" fmla="*/ 1650089 w 1653682"/>
                <a:gd name="connsiteY13" fmla="*/ 0 h 2219408"/>
                <a:gd name="connsiteX14" fmla="*/ 1653682 w 1653682"/>
                <a:gd name="connsiteY14" fmla="*/ 477781 h 2219408"/>
                <a:gd name="connsiteX15" fmla="*/ 1571972 w 1653682"/>
                <a:gd name="connsiteY15" fmla="*/ 575415 h 2219408"/>
                <a:gd name="connsiteX16" fmla="*/ 1035217 w 1653682"/>
                <a:gd name="connsiteY16" fmla="*/ 1282017 h 2219408"/>
                <a:gd name="connsiteX17" fmla="*/ 770418 w 1653682"/>
                <a:gd name="connsiteY17" fmla="*/ 1631519 h 2219408"/>
                <a:gd name="connsiteX18" fmla="*/ 620126 w 1653682"/>
                <a:gd name="connsiteY18" fmla="*/ 1836662 h 2219408"/>
                <a:gd name="connsiteX19" fmla="*/ 419738 w 1653682"/>
                <a:gd name="connsiteY19" fmla="*/ 1996217 h 2219408"/>
                <a:gd name="connsiteX20" fmla="*/ 240819 w 1653682"/>
                <a:gd name="connsiteY20" fmla="*/ 2132979 h 2219408"/>
                <a:gd name="connsiteX21" fmla="*/ 87060 w 1653682"/>
                <a:gd name="connsiteY21" fmla="*/ 2179617 h 2219408"/>
                <a:gd name="connsiteX0" fmla="*/ 87060 w 1653682"/>
                <a:gd name="connsiteY0" fmla="*/ 2179617 h 2219408"/>
                <a:gd name="connsiteX1" fmla="*/ 0 w 1653682"/>
                <a:gd name="connsiteY1" fmla="*/ 2219408 h 2219408"/>
                <a:gd name="connsiteX2" fmla="*/ 115227 w 1653682"/>
                <a:gd name="connsiteY2" fmla="*/ 2059454 h 2219408"/>
                <a:gd name="connsiteX3" fmla="*/ 208519 w 1653682"/>
                <a:gd name="connsiteY3" fmla="*/ 1800241 h 2219408"/>
                <a:gd name="connsiteX4" fmla="*/ 351910 w 1653682"/>
                <a:gd name="connsiteY4" fmla="*/ 1625048 h 2219408"/>
                <a:gd name="connsiteX5" fmla="*/ 488144 w 1653682"/>
                <a:gd name="connsiteY5" fmla="*/ 1350817 h 2219408"/>
                <a:gd name="connsiteX6" fmla="*/ 685800 w 1653682"/>
                <a:gd name="connsiteY6" fmla="*/ 1122194 h 2219408"/>
                <a:gd name="connsiteX7" fmla="*/ 784860 w 1653682"/>
                <a:gd name="connsiteY7" fmla="*/ 1030688 h 2219408"/>
                <a:gd name="connsiteX8" fmla="*/ 835549 w 1653682"/>
                <a:gd name="connsiteY8" fmla="*/ 916388 h 2219408"/>
                <a:gd name="connsiteX9" fmla="*/ 969129 w 1653682"/>
                <a:gd name="connsiteY9" fmla="*/ 783049 h 2219408"/>
                <a:gd name="connsiteX10" fmla="*/ 1064148 w 1653682"/>
                <a:gd name="connsiteY10" fmla="*/ 611588 h 2219408"/>
                <a:gd name="connsiteX11" fmla="*/ 1143926 w 1653682"/>
                <a:gd name="connsiteY11" fmla="*/ 546850 h 2219408"/>
                <a:gd name="connsiteX12" fmla="*/ 1391344 w 1653682"/>
                <a:gd name="connsiteY12" fmla="*/ 245873 h 2219408"/>
                <a:gd name="connsiteX13" fmla="*/ 1650089 w 1653682"/>
                <a:gd name="connsiteY13" fmla="*/ 0 h 2219408"/>
                <a:gd name="connsiteX14" fmla="*/ 1653682 w 1653682"/>
                <a:gd name="connsiteY14" fmla="*/ 477781 h 2219408"/>
                <a:gd name="connsiteX15" fmla="*/ 1571972 w 1653682"/>
                <a:gd name="connsiteY15" fmla="*/ 575415 h 2219408"/>
                <a:gd name="connsiteX16" fmla="*/ 1035217 w 1653682"/>
                <a:gd name="connsiteY16" fmla="*/ 1282017 h 2219408"/>
                <a:gd name="connsiteX17" fmla="*/ 770418 w 1653682"/>
                <a:gd name="connsiteY17" fmla="*/ 1631519 h 2219408"/>
                <a:gd name="connsiteX18" fmla="*/ 620126 w 1653682"/>
                <a:gd name="connsiteY18" fmla="*/ 1836662 h 2219408"/>
                <a:gd name="connsiteX19" fmla="*/ 419738 w 1653682"/>
                <a:gd name="connsiteY19" fmla="*/ 1996217 h 2219408"/>
                <a:gd name="connsiteX20" fmla="*/ 240819 w 1653682"/>
                <a:gd name="connsiteY20" fmla="*/ 2132979 h 2219408"/>
                <a:gd name="connsiteX21" fmla="*/ 87060 w 1653682"/>
                <a:gd name="connsiteY21" fmla="*/ 2179617 h 2219408"/>
                <a:gd name="connsiteX0" fmla="*/ 87060 w 1653682"/>
                <a:gd name="connsiteY0" fmla="*/ 2179617 h 2219408"/>
                <a:gd name="connsiteX1" fmla="*/ 0 w 1653682"/>
                <a:gd name="connsiteY1" fmla="*/ 2219408 h 2219408"/>
                <a:gd name="connsiteX2" fmla="*/ 115227 w 1653682"/>
                <a:gd name="connsiteY2" fmla="*/ 2059454 h 2219408"/>
                <a:gd name="connsiteX3" fmla="*/ 208519 w 1653682"/>
                <a:gd name="connsiteY3" fmla="*/ 1800241 h 2219408"/>
                <a:gd name="connsiteX4" fmla="*/ 351910 w 1653682"/>
                <a:gd name="connsiteY4" fmla="*/ 1625048 h 2219408"/>
                <a:gd name="connsiteX5" fmla="*/ 488144 w 1653682"/>
                <a:gd name="connsiteY5" fmla="*/ 1350817 h 2219408"/>
                <a:gd name="connsiteX6" fmla="*/ 685800 w 1653682"/>
                <a:gd name="connsiteY6" fmla="*/ 1122194 h 2219408"/>
                <a:gd name="connsiteX7" fmla="*/ 756233 w 1653682"/>
                <a:gd name="connsiteY7" fmla="*/ 1030689 h 2219408"/>
                <a:gd name="connsiteX8" fmla="*/ 835549 w 1653682"/>
                <a:gd name="connsiteY8" fmla="*/ 916388 h 2219408"/>
                <a:gd name="connsiteX9" fmla="*/ 969129 w 1653682"/>
                <a:gd name="connsiteY9" fmla="*/ 783049 h 2219408"/>
                <a:gd name="connsiteX10" fmla="*/ 1064148 w 1653682"/>
                <a:gd name="connsiteY10" fmla="*/ 611588 h 2219408"/>
                <a:gd name="connsiteX11" fmla="*/ 1143926 w 1653682"/>
                <a:gd name="connsiteY11" fmla="*/ 546850 h 2219408"/>
                <a:gd name="connsiteX12" fmla="*/ 1391344 w 1653682"/>
                <a:gd name="connsiteY12" fmla="*/ 245873 h 2219408"/>
                <a:gd name="connsiteX13" fmla="*/ 1650089 w 1653682"/>
                <a:gd name="connsiteY13" fmla="*/ 0 h 2219408"/>
                <a:gd name="connsiteX14" fmla="*/ 1653682 w 1653682"/>
                <a:gd name="connsiteY14" fmla="*/ 477781 h 2219408"/>
                <a:gd name="connsiteX15" fmla="*/ 1571972 w 1653682"/>
                <a:gd name="connsiteY15" fmla="*/ 575415 h 2219408"/>
                <a:gd name="connsiteX16" fmla="*/ 1035217 w 1653682"/>
                <a:gd name="connsiteY16" fmla="*/ 1282017 h 2219408"/>
                <a:gd name="connsiteX17" fmla="*/ 770418 w 1653682"/>
                <a:gd name="connsiteY17" fmla="*/ 1631519 h 2219408"/>
                <a:gd name="connsiteX18" fmla="*/ 620126 w 1653682"/>
                <a:gd name="connsiteY18" fmla="*/ 1836662 h 2219408"/>
                <a:gd name="connsiteX19" fmla="*/ 419738 w 1653682"/>
                <a:gd name="connsiteY19" fmla="*/ 1996217 h 2219408"/>
                <a:gd name="connsiteX20" fmla="*/ 240819 w 1653682"/>
                <a:gd name="connsiteY20" fmla="*/ 2132979 h 2219408"/>
                <a:gd name="connsiteX21" fmla="*/ 87060 w 1653682"/>
                <a:gd name="connsiteY21" fmla="*/ 2179617 h 2219408"/>
                <a:gd name="connsiteX0" fmla="*/ 87060 w 1653682"/>
                <a:gd name="connsiteY0" fmla="*/ 2179617 h 2219408"/>
                <a:gd name="connsiteX1" fmla="*/ 0 w 1653682"/>
                <a:gd name="connsiteY1" fmla="*/ 2219408 h 2219408"/>
                <a:gd name="connsiteX2" fmla="*/ 115227 w 1653682"/>
                <a:gd name="connsiteY2" fmla="*/ 2059454 h 2219408"/>
                <a:gd name="connsiteX3" fmla="*/ 208519 w 1653682"/>
                <a:gd name="connsiteY3" fmla="*/ 1800241 h 2219408"/>
                <a:gd name="connsiteX4" fmla="*/ 351910 w 1653682"/>
                <a:gd name="connsiteY4" fmla="*/ 1625048 h 2219408"/>
                <a:gd name="connsiteX5" fmla="*/ 488144 w 1653682"/>
                <a:gd name="connsiteY5" fmla="*/ 1350817 h 2219408"/>
                <a:gd name="connsiteX6" fmla="*/ 685800 w 1653682"/>
                <a:gd name="connsiteY6" fmla="*/ 1122194 h 2219408"/>
                <a:gd name="connsiteX7" fmla="*/ 756233 w 1653682"/>
                <a:gd name="connsiteY7" fmla="*/ 1030689 h 2219408"/>
                <a:gd name="connsiteX8" fmla="*/ 835549 w 1653682"/>
                <a:gd name="connsiteY8" fmla="*/ 916388 h 2219408"/>
                <a:gd name="connsiteX9" fmla="*/ 969129 w 1653682"/>
                <a:gd name="connsiteY9" fmla="*/ 783049 h 2219408"/>
                <a:gd name="connsiteX10" fmla="*/ 1064148 w 1653682"/>
                <a:gd name="connsiteY10" fmla="*/ 611588 h 2219408"/>
                <a:gd name="connsiteX11" fmla="*/ 1143926 w 1653682"/>
                <a:gd name="connsiteY11" fmla="*/ 546850 h 2219408"/>
                <a:gd name="connsiteX12" fmla="*/ 1391344 w 1653682"/>
                <a:gd name="connsiteY12" fmla="*/ 245873 h 2219408"/>
                <a:gd name="connsiteX13" fmla="*/ 1650089 w 1653682"/>
                <a:gd name="connsiteY13" fmla="*/ 0 h 2219408"/>
                <a:gd name="connsiteX14" fmla="*/ 1653682 w 1653682"/>
                <a:gd name="connsiteY14" fmla="*/ 477781 h 2219408"/>
                <a:gd name="connsiteX15" fmla="*/ 1571972 w 1653682"/>
                <a:gd name="connsiteY15" fmla="*/ 575415 h 2219408"/>
                <a:gd name="connsiteX16" fmla="*/ 1035217 w 1653682"/>
                <a:gd name="connsiteY16" fmla="*/ 1282017 h 2219408"/>
                <a:gd name="connsiteX17" fmla="*/ 763261 w 1653682"/>
                <a:gd name="connsiteY17" fmla="*/ 1616324 h 2219408"/>
                <a:gd name="connsiteX18" fmla="*/ 620126 w 1653682"/>
                <a:gd name="connsiteY18" fmla="*/ 1836662 h 2219408"/>
                <a:gd name="connsiteX19" fmla="*/ 419738 w 1653682"/>
                <a:gd name="connsiteY19" fmla="*/ 1996217 h 2219408"/>
                <a:gd name="connsiteX20" fmla="*/ 240819 w 1653682"/>
                <a:gd name="connsiteY20" fmla="*/ 2132979 h 2219408"/>
                <a:gd name="connsiteX21" fmla="*/ 87060 w 1653682"/>
                <a:gd name="connsiteY21" fmla="*/ 2179617 h 2219408"/>
                <a:gd name="connsiteX0" fmla="*/ 87060 w 1653682"/>
                <a:gd name="connsiteY0" fmla="*/ 2179617 h 2219408"/>
                <a:gd name="connsiteX1" fmla="*/ 0 w 1653682"/>
                <a:gd name="connsiteY1" fmla="*/ 2219408 h 2219408"/>
                <a:gd name="connsiteX2" fmla="*/ 115227 w 1653682"/>
                <a:gd name="connsiteY2" fmla="*/ 2059454 h 2219408"/>
                <a:gd name="connsiteX3" fmla="*/ 208519 w 1653682"/>
                <a:gd name="connsiteY3" fmla="*/ 1800241 h 2219408"/>
                <a:gd name="connsiteX4" fmla="*/ 351910 w 1653682"/>
                <a:gd name="connsiteY4" fmla="*/ 1625048 h 2219408"/>
                <a:gd name="connsiteX5" fmla="*/ 488144 w 1653682"/>
                <a:gd name="connsiteY5" fmla="*/ 1350817 h 2219408"/>
                <a:gd name="connsiteX6" fmla="*/ 685800 w 1653682"/>
                <a:gd name="connsiteY6" fmla="*/ 1122194 h 2219408"/>
                <a:gd name="connsiteX7" fmla="*/ 756233 w 1653682"/>
                <a:gd name="connsiteY7" fmla="*/ 1030689 h 2219408"/>
                <a:gd name="connsiteX8" fmla="*/ 835549 w 1653682"/>
                <a:gd name="connsiteY8" fmla="*/ 916388 h 2219408"/>
                <a:gd name="connsiteX9" fmla="*/ 969129 w 1653682"/>
                <a:gd name="connsiteY9" fmla="*/ 783049 h 2219408"/>
                <a:gd name="connsiteX10" fmla="*/ 1064148 w 1653682"/>
                <a:gd name="connsiteY10" fmla="*/ 611588 h 2219408"/>
                <a:gd name="connsiteX11" fmla="*/ 1143926 w 1653682"/>
                <a:gd name="connsiteY11" fmla="*/ 546850 h 2219408"/>
                <a:gd name="connsiteX12" fmla="*/ 1391344 w 1653682"/>
                <a:gd name="connsiteY12" fmla="*/ 245873 h 2219408"/>
                <a:gd name="connsiteX13" fmla="*/ 1650089 w 1653682"/>
                <a:gd name="connsiteY13" fmla="*/ 0 h 2219408"/>
                <a:gd name="connsiteX14" fmla="*/ 1653682 w 1653682"/>
                <a:gd name="connsiteY14" fmla="*/ 477781 h 2219408"/>
                <a:gd name="connsiteX15" fmla="*/ 1571972 w 1653682"/>
                <a:gd name="connsiteY15" fmla="*/ 575415 h 2219408"/>
                <a:gd name="connsiteX16" fmla="*/ 1035217 w 1653682"/>
                <a:gd name="connsiteY16" fmla="*/ 1282017 h 2219408"/>
                <a:gd name="connsiteX17" fmla="*/ 763261 w 1653682"/>
                <a:gd name="connsiteY17" fmla="*/ 1616324 h 2219408"/>
                <a:gd name="connsiteX18" fmla="*/ 605813 w 1653682"/>
                <a:gd name="connsiteY18" fmla="*/ 1836662 h 2219408"/>
                <a:gd name="connsiteX19" fmla="*/ 419738 w 1653682"/>
                <a:gd name="connsiteY19" fmla="*/ 1996217 h 2219408"/>
                <a:gd name="connsiteX20" fmla="*/ 240819 w 1653682"/>
                <a:gd name="connsiteY20" fmla="*/ 2132979 h 2219408"/>
                <a:gd name="connsiteX21" fmla="*/ 87060 w 1653682"/>
                <a:gd name="connsiteY21" fmla="*/ 2179617 h 2219408"/>
                <a:gd name="connsiteX0" fmla="*/ 112109 w 1678731"/>
                <a:gd name="connsiteY0" fmla="*/ 2179617 h 2215609"/>
                <a:gd name="connsiteX1" fmla="*/ 0 w 1678731"/>
                <a:gd name="connsiteY1" fmla="*/ 2215609 h 2215609"/>
                <a:gd name="connsiteX2" fmla="*/ 140276 w 1678731"/>
                <a:gd name="connsiteY2" fmla="*/ 2059454 h 2215609"/>
                <a:gd name="connsiteX3" fmla="*/ 233568 w 1678731"/>
                <a:gd name="connsiteY3" fmla="*/ 1800241 h 2215609"/>
                <a:gd name="connsiteX4" fmla="*/ 376959 w 1678731"/>
                <a:gd name="connsiteY4" fmla="*/ 1625048 h 2215609"/>
                <a:gd name="connsiteX5" fmla="*/ 513193 w 1678731"/>
                <a:gd name="connsiteY5" fmla="*/ 1350817 h 2215609"/>
                <a:gd name="connsiteX6" fmla="*/ 710849 w 1678731"/>
                <a:gd name="connsiteY6" fmla="*/ 1122194 h 2215609"/>
                <a:gd name="connsiteX7" fmla="*/ 781282 w 1678731"/>
                <a:gd name="connsiteY7" fmla="*/ 1030689 h 2215609"/>
                <a:gd name="connsiteX8" fmla="*/ 860598 w 1678731"/>
                <a:gd name="connsiteY8" fmla="*/ 916388 h 2215609"/>
                <a:gd name="connsiteX9" fmla="*/ 994178 w 1678731"/>
                <a:gd name="connsiteY9" fmla="*/ 783049 h 2215609"/>
                <a:gd name="connsiteX10" fmla="*/ 1089197 w 1678731"/>
                <a:gd name="connsiteY10" fmla="*/ 611588 h 2215609"/>
                <a:gd name="connsiteX11" fmla="*/ 1168975 w 1678731"/>
                <a:gd name="connsiteY11" fmla="*/ 546850 h 2215609"/>
                <a:gd name="connsiteX12" fmla="*/ 1416393 w 1678731"/>
                <a:gd name="connsiteY12" fmla="*/ 245873 h 2215609"/>
                <a:gd name="connsiteX13" fmla="*/ 1675138 w 1678731"/>
                <a:gd name="connsiteY13" fmla="*/ 0 h 2215609"/>
                <a:gd name="connsiteX14" fmla="*/ 1678731 w 1678731"/>
                <a:gd name="connsiteY14" fmla="*/ 477781 h 2215609"/>
                <a:gd name="connsiteX15" fmla="*/ 1597021 w 1678731"/>
                <a:gd name="connsiteY15" fmla="*/ 575415 h 2215609"/>
                <a:gd name="connsiteX16" fmla="*/ 1060266 w 1678731"/>
                <a:gd name="connsiteY16" fmla="*/ 1282017 h 2215609"/>
                <a:gd name="connsiteX17" fmla="*/ 788310 w 1678731"/>
                <a:gd name="connsiteY17" fmla="*/ 1616324 h 2215609"/>
                <a:gd name="connsiteX18" fmla="*/ 630862 w 1678731"/>
                <a:gd name="connsiteY18" fmla="*/ 1836662 h 2215609"/>
                <a:gd name="connsiteX19" fmla="*/ 444787 w 1678731"/>
                <a:gd name="connsiteY19" fmla="*/ 1996217 h 2215609"/>
                <a:gd name="connsiteX20" fmla="*/ 265868 w 1678731"/>
                <a:gd name="connsiteY20" fmla="*/ 2132979 h 2215609"/>
                <a:gd name="connsiteX21" fmla="*/ 112109 w 1678731"/>
                <a:gd name="connsiteY21" fmla="*/ 2179617 h 2215609"/>
                <a:gd name="connsiteX0" fmla="*/ 72747 w 1678731"/>
                <a:gd name="connsiteY0" fmla="*/ 2206209 h 2215609"/>
                <a:gd name="connsiteX1" fmla="*/ 0 w 1678731"/>
                <a:gd name="connsiteY1" fmla="*/ 2215609 h 2215609"/>
                <a:gd name="connsiteX2" fmla="*/ 140276 w 1678731"/>
                <a:gd name="connsiteY2" fmla="*/ 2059454 h 2215609"/>
                <a:gd name="connsiteX3" fmla="*/ 233568 w 1678731"/>
                <a:gd name="connsiteY3" fmla="*/ 1800241 h 2215609"/>
                <a:gd name="connsiteX4" fmla="*/ 376959 w 1678731"/>
                <a:gd name="connsiteY4" fmla="*/ 1625048 h 2215609"/>
                <a:gd name="connsiteX5" fmla="*/ 513193 w 1678731"/>
                <a:gd name="connsiteY5" fmla="*/ 1350817 h 2215609"/>
                <a:gd name="connsiteX6" fmla="*/ 710849 w 1678731"/>
                <a:gd name="connsiteY6" fmla="*/ 1122194 h 2215609"/>
                <a:gd name="connsiteX7" fmla="*/ 781282 w 1678731"/>
                <a:gd name="connsiteY7" fmla="*/ 1030689 h 2215609"/>
                <a:gd name="connsiteX8" fmla="*/ 860598 w 1678731"/>
                <a:gd name="connsiteY8" fmla="*/ 916388 h 2215609"/>
                <a:gd name="connsiteX9" fmla="*/ 994178 w 1678731"/>
                <a:gd name="connsiteY9" fmla="*/ 783049 h 2215609"/>
                <a:gd name="connsiteX10" fmla="*/ 1089197 w 1678731"/>
                <a:gd name="connsiteY10" fmla="*/ 611588 h 2215609"/>
                <a:gd name="connsiteX11" fmla="*/ 1168975 w 1678731"/>
                <a:gd name="connsiteY11" fmla="*/ 546850 h 2215609"/>
                <a:gd name="connsiteX12" fmla="*/ 1416393 w 1678731"/>
                <a:gd name="connsiteY12" fmla="*/ 245873 h 2215609"/>
                <a:gd name="connsiteX13" fmla="*/ 1675138 w 1678731"/>
                <a:gd name="connsiteY13" fmla="*/ 0 h 2215609"/>
                <a:gd name="connsiteX14" fmla="*/ 1678731 w 1678731"/>
                <a:gd name="connsiteY14" fmla="*/ 477781 h 2215609"/>
                <a:gd name="connsiteX15" fmla="*/ 1597021 w 1678731"/>
                <a:gd name="connsiteY15" fmla="*/ 575415 h 2215609"/>
                <a:gd name="connsiteX16" fmla="*/ 1060266 w 1678731"/>
                <a:gd name="connsiteY16" fmla="*/ 1282017 h 2215609"/>
                <a:gd name="connsiteX17" fmla="*/ 788310 w 1678731"/>
                <a:gd name="connsiteY17" fmla="*/ 1616324 h 2215609"/>
                <a:gd name="connsiteX18" fmla="*/ 630862 w 1678731"/>
                <a:gd name="connsiteY18" fmla="*/ 1836662 h 2215609"/>
                <a:gd name="connsiteX19" fmla="*/ 444787 w 1678731"/>
                <a:gd name="connsiteY19" fmla="*/ 1996217 h 2215609"/>
                <a:gd name="connsiteX20" fmla="*/ 265868 w 1678731"/>
                <a:gd name="connsiteY20" fmla="*/ 2132979 h 2215609"/>
                <a:gd name="connsiteX21" fmla="*/ 72747 w 1678731"/>
                <a:gd name="connsiteY21" fmla="*/ 2206209 h 2215609"/>
                <a:gd name="connsiteX0" fmla="*/ 72747 w 1678731"/>
                <a:gd name="connsiteY0" fmla="*/ 2206209 h 2215609"/>
                <a:gd name="connsiteX1" fmla="*/ 0 w 1678731"/>
                <a:gd name="connsiteY1" fmla="*/ 2215609 h 2215609"/>
                <a:gd name="connsiteX2" fmla="*/ 140276 w 1678731"/>
                <a:gd name="connsiteY2" fmla="*/ 2059454 h 2215609"/>
                <a:gd name="connsiteX3" fmla="*/ 255038 w 1678731"/>
                <a:gd name="connsiteY3" fmla="*/ 1777448 h 2215609"/>
                <a:gd name="connsiteX4" fmla="*/ 376959 w 1678731"/>
                <a:gd name="connsiteY4" fmla="*/ 1625048 h 2215609"/>
                <a:gd name="connsiteX5" fmla="*/ 513193 w 1678731"/>
                <a:gd name="connsiteY5" fmla="*/ 1350817 h 2215609"/>
                <a:gd name="connsiteX6" fmla="*/ 710849 w 1678731"/>
                <a:gd name="connsiteY6" fmla="*/ 1122194 h 2215609"/>
                <a:gd name="connsiteX7" fmla="*/ 781282 w 1678731"/>
                <a:gd name="connsiteY7" fmla="*/ 1030689 h 2215609"/>
                <a:gd name="connsiteX8" fmla="*/ 860598 w 1678731"/>
                <a:gd name="connsiteY8" fmla="*/ 916388 h 2215609"/>
                <a:gd name="connsiteX9" fmla="*/ 994178 w 1678731"/>
                <a:gd name="connsiteY9" fmla="*/ 783049 h 2215609"/>
                <a:gd name="connsiteX10" fmla="*/ 1089197 w 1678731"/>
                <a:gd name="connsiteY10" fmla="*/ 611588 h 2215609"/>
                <a:gd name="connsiteX11" fmla="*/ 1168975 w 1678731"/>
                <a:gd name="connsiteY11" fmla="*/ 546850 h 2215609"/>
                <a:gd name="connsiteX12" fmla="*/ 1416393 w 1678731"/>
                <a:gd name="connsiteY12" fmla="*/ 245873 h 2215609"/>
                <a:gd name="connsiteX13" fmla="*/ 1675138 w 1678731"/>
                <a:gd name="connsiteY13" fmla="*/ 0 h 2215609"/>
                <a:gd name="connsiteX14" fmla="*/ 1678731 w 1678731"/>
                <a:gd name="connsiteY14" fmla="*/ 477781 h 2215609"/>
                <a:gd name="connsiteX15" fmla="*/ 1597021 w 1678731"/>
                <a:gd name="connsiteY15" fmla="*/ 575415 h 2215609"/>
                <a:gd name="connsiteX16" fmla="*/ 1060266 w 1678731"/>
                <a:gd name="connsiteY16" fmla="*/ 1282017 h 2215609"/>
                <a:gd name="connsiteX17" fmla="*/ 788310 w 1678731"/>
                <a:gd name="connsiteY17" fmla="*/ 1616324 h 2215609"/>
                <a:gd name="connsiteX18" fmla="*/ 630862 w 1678731"/>
                <a:gd name="connsiteY18" fmla="*/ 1836662 h 2215609"/>
                <a:gd name="connsiteX19" fmla="*/ 444787 w 1678731"/>
                <a:gd name="connsiteY19" fmla="*/ 1996217 h 2215609"/>
                <a:gd name="connsiteX20" fmla="*/ 265868 w 1678731"/>
                <a:gd name="connsiteY20" fmla="*/ 2132979 h 2215609"/>
                <a:gd name="connsiteX21" fmla="*/ 72747 w 1678731"/>
                <a:gd name="connsiteY21" fmla="*/ 2206209 h 2215609"/>
                <a:gd name="connsiteX0" fmla="*/ 72747 w 1678731"/>
                <a:gd name="connsiteY0" fmla="*/ 2206209 h 2215609"/>
                <a:gd name="connsiteX1" fmla="*/ 0 w 1678731"/>
                <a:gd name="connsiteY1" fmla="*/ 2215609 h 2215609"/>
                <a:gd name="connsiteX2" fmla="*/ 140276 w 1678731"/>
                <a:gd name="connsiteY2" fmla="*/ 2059454 h 2215609"/>
                <a:gd name="connsiteX3" fmla="*/ 255038 w 1678731"/>
                <a:gd name="connsiteY3" fmla="*/ 1777448 h 2215609"/>
                <a:gd name="connsiteX4" fmla="*/ 376959 w 1678731"/>
                <a:gd name="connsiteY4" fmla="*/ 1625048 h 2215609"/>
                <a:gd name="connsiteX5" fmla="*/ 513193 w 1678731"/>
                <a:gd name="connsiteY5" fmla="*/ 1350817 h 2215609"/>
                <a:gd name="connsiteX6" fmla="*/ 710849 w 1678731"/>
                <a:gd name="connsiteY6" fmla="*/ 1122194 h 2215609"/>
                <a:gd name="connsiteX7" fmla="*/ 781282 w 1678731"/>
                <a:gd name="connsiteY7" fmla="*/ 1030689 h 2215609"/>
                <a:gd name="connsiteX8" fmla="*/ 860598 w 1678731"/>
                <a:gd name="connsiteY8" fmla="*/ 916388 h 2215609"/>
                <a:gd name="connsiteX9" fmla="*/ 994178 w 1678731"/>
                <a:gd name="connsiteY9" fmla="*/ 783049 h 2215609"/>
                <a:gd name="connsiteX10" fmla="*/ 1089197 w 1678731"/>
                <a:gd name="connsiteY10" fmla="*/ 611588 h 2215609"/>
                <a:gd name="connsiteX11" fmla="*/ 1168975 w 1678731"/>
                <a:gd name="connsiteY11" fmla="*/ 546850 h 2215609"/>
                <a:gd name="connsiteX12" fmla="*/ 1416393 w 1678731"/>
                <a:gd name="connsiteY12" fmla="*/ 245873 h 2215609"/>
                <a:gd name="connsiteX13" fmla="*/ 1675138 w 1678731"/>
                <a:gd name="connsiteY13" fmla="*/ 0 h 2215609"/>
                <a:gd name="connsiteX14" fmla="*/ 1678731 w 1678731"/>
                <a:gd name="connsiteY14" fmla="*/ 477781 h 2215609"/>
                <a:gd name="connsiteX15" fmla="*/ 1597021 w 1678731"/>
                <a:gd name="connsiteY15" fmla="*/ 575415 h 2215609"/>
                <a:gd name="connsiteX16" fmla="*/ 1060266 w 1678731"/>
                <a:gd name="connsiteY16" fmla="*/ 1282017 h 2215609"/>
                <a:gd name="connsiteX17" fmla="*/ 788310 w 1678731"/>
                <a:gd name="connsiteY17" fmla="*/ 1616324 h 2215609"/>
                <a:gd name="connsiteX18" fmla="*/ 630862 w 1678731"/>
                <a:gd name="connsiteY18" fmla="*/ 1836662 h 2215609"/>
                <a:gd name="connsiteX19" fmla="*/ 444787 w 1678731"/>
                <a:gd name="connsiteY19" fmla="*/ 1996217 h 2215609"/>
                <a:gd name="connsiteX20" fmla="*/ 265868 w 1678731"/>
                <a:gd name="connsiteY20" fmla="*/ 2132979 h 2215609"/>
                <a:gd name="connsiteX21" fmla="*/ 72747 w 1678731"/>
                <a:gd name="connsiteY21" fmla="*/ 2206209 h 2215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78731" h="2215609">
                  <a:moveTo>
                    <a:pt x="72747" y="2206209"/>
                  </a:moveTo>
                  <a:lnTo>
                    <a:pt x="0" y="2215609"/>
                  </a:lnTo>
                  <a:lnTo>
                    <a:pt x="140276" y="2059454"/>
                  </a:lnTo>
                  <a:lnTo>
                    <a:pt x="255038" y="1777448"/>
                  </a:lnTo>
                  <a:lnTo>
                    <a:pt x="376959" y="1625048"/>
                  </a:lnTo>
                  <a:lnTo>
                    <a:pt x="513193" y="1350817"/>
                  </a:lnTo>
                  <a:lnTo>
                    <a:pt x="710849" y="1122194"/>
                  </a:lnTo>
                  <a:lnTo>
                    <a:pt x="781282" y="1030689"/>
                  </a:lnTo>
                  <a:lnTo>
                    <a:pt x="860598" y="916388"/>
                  </a:lnTo>
                  <a:lnTo>
                    <a:pt x="994178" y="783049"/>
                  </a:lnTo>
                  <a:lnTo>
                    <a:pt x="1089197" y="611588"/>
                  </a:lnTo>
                  <a:lnTo>
                    <a:pt x="1168975" y="546850"/>
                  </a:lnTo>
                  <a:lnTo>
                    <a:pt x="1416393" y="245873"/>
                  </a:lnTo>
                  <a:lnTo>
                    <a:pt x="1675138" y="0"/>
                  </a:lnTo>
                  <a:cubicBezTo>
                    <a:pt x="1676336" y="163059"/>
                    <a:pt x="1677533" y="314722"/>
                    <a:pt x="1678731" y="477781"/>
                  </a:cubicBezTo>
                  <a:lnTo>
                    <a:pt x="1597021" y="575415"/>
                  </a:lnTo>
                  <a:lnTo>
                    <a:pt x="1060266" y="1282017"/>
                  </a:lnTo>
                  <a:lnTo>
                    <a:pt x="788310" y="1616324"/>
                  </a:lnTo>
                  <a:lnTo>
                    <a:pt x="630862" y="1836662"/>
                  </a:lnTo>
                  <a:cubicBezTo>
                    <a:pt x="561680" y="1915173"/>
                    <a:pt x="513969" y="1917706"/>
                    <a:pt x="444787" y="1996217"/>
                  </a:cubicBezTo>
                  <a:lnTo>
                    <a:pt x="265868" y="2132979"/>
                  </a:lnTo>
                  <a:lnTo>
                    <a:pt x="72747" y="2206209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CA">
                <a:solidFill>
                  <a:srgbClr val="001965"/>
                </a:solidFill>
              </a:endParaRPr>
            </a:p>
          </p:txBody>
        </p:sp>
        <p:grpSp>
          <p:nvGrpSpPr>
            <p:cNvPr id="82" name="Group 81"/>
            <p:cNvGrpSpPr/>
            <p:nvPr/>
          </p:nvGrpSpPr>
          <p:grpSpPr>
            <a:xfrm>
              <a:off x="4388772" y="1027943"/>
              <a:ext cx="3845485" cy="2888881"/>
              <a:chOff x="479803" y="1508803"/>
              <a:chExt cx="3845485" cy="2888881"/>
            </a:xfrm>
          </p:grpSpPr>
          <p:grpSp>
            <p:nvGrpSpPr>
              <p:cNvPr id="83" name="Group 82"/>
              <p:cNvGrpSpPr/>
              <p:nvPr/>
            </p:nvGrpSpPr>
            <p:grpSpPr>
              <a:xfrm>
                <a:off x="1356667" y="1508803"/>
                <a:ext cx="883850" cy="316336"/>
                <a:chOff x="1775835" y="1935547"/>
                <a:chExt cx="883850" cy="316336"/>
              </a:xfrm>
            </p:grpSpPr>
            <p:sp>
              <p:nvSpPr>
                <p:cNvPr id="188" name="Rectangle 89"/>
                <p:cNvSpPr>
                  <a:spLocks noChangeArrowheads="1"/>
                </p:cNvSpPr>
                <p:nvPr/>
              </p:nvSpPr>
              <p:spPr bwMode="auto">
                <a:xfrm>
                  <a:off x="2066574" y="1935547"/>
                  <a:ext cx="569067" cy="128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GB" sz="1000" dirty="0">
                      <a:solidFill>
                        <a:srgbClr val="001965"/>
                      </a:solidFill>
                      <a:latin typeface="Verdana"/>
                      <a:cs typeface="Arial" pitchFamily="34" charset="0"/>
                    </a:rPr>
                    <a:t>Faster aspart</a:t>
                  </a:r>
                  <a:endParaRPr lang="en-GB" sz="1100" dirty="0">
                    <a:solidFill>
                      <a:srgbClr val="001965"/>
                    </a:solidFill>
                    <a:latin typeface="Verdana"/>
                    <a:cs typeface="Arial" pitchFamily="34" charset="0"/>
                  </a:endParaRPr>
                </a:p>
              </p:txBody>
            </p:sp>
            <p:sp>
              <p:nvSpPr>
                <p:cNvPr id="189" name="Rectangle 92"/>
                <p:cNvSpPr>
                  <a:spLocks noChangeArrowheads="1"/>
                </p:cNvSpPr>
                <p:nvPr/>
              </p:nvSpPr>
              <p:spPr bwMode="auto">
                <a:xfrm>
                  <a:off x="2066574" y="2123218"/>
                  <a:ext cx="593111" cy="128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GB" sz="1000" dirty="0">
                      <a:solidFill>
                        <a:srgbClr val="001965"/>
                      </a:solidFill>
                      <a:latin typeface="Verdana"/>
                      <a:cs typeface="Arial" pitchFamily="34" charset="0"/>
                    </a:rPr>
                    <a:t>Insulin aspart</a:t>
                  </a:r>
                  <a:endParaRPr lang="en-GB" sz="1100" dirty="0">
                    <a:solidFill>
                      <a:srgbClr val="001965"/>
                    </a:solidFill>
                    <a:latin typeface="Verdana"/>
                    <a:cs typeface="Arial" pitchFamily="34" charset="0"/>
                  </a:endParaRPr>
                </a:p>
              </p:txBody>
            </p:sp>
            <p:cxnSp>
              <p:nvCxnSpPr>
                <p:cNvPr id="190" name="Straight Connector 189"/>
                <p:cNvCxnSpPr/>
                <p:nvPr/>
              </p:nvCxnSpPr>
              <p:spPr>
                <a:xfrm>
                  <a:off x="1775835" y="2023070"/>
                  <a:ext cx="184150" cy="0"/>
                </a:xfrm>
                <a:prstGeom prst="line">
                  <a:avLst/>
                </a:prstGeom>
                <a:ln w="28575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Straight Connector 190"/>
                <p:cNvCxnSpPr/>
                <p:nvPr/>
              </p:nvCxnSpPr>
              <p:spPr>
                <a:xfrm>
                  <a:off x="1775835" y="2210742"/>
                  <a:ext cx="184150" cy="0"/>
                </a:xfrm>
                <a:prstGeom prst="line">
                  <a:avLst/>
                </a:prstGeom>
                <a:ln w="28575">
                  <a:solidFill>
                    <a:schemeClr val="accent3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4" name="Freeform 83"/>
              <p:cNvSpPr/>
              <p:nvPr/>
            </p:nvSpPr>
            <p:spPr>
              <a:xfrm>
                <a:off x="1038449" y="1761533"/>
                <a:ext cx="3285867" cy="2178025"/>
              </a:xfrm>
              <a:custGeom>
                <a:avLst/>
                <a:gdLst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16380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68580 h 2606040"/>
                  <a:gd name="connsiteX18" fmla="*/ 3368040 w 7322820"/>
                  <a:gd name="connsiteY18" fmla="*/ 60960 h 2606040"/>
                  <a:gd name="connsiteX19" fmla="*/ 3703320 w 7322820"/>
                  <a:gd name="connsiteY19" fmla="*/ 0 h 2606040"/>
                  <a:gd name="connsiteX20" fmla="*/ 3992880 w 7322820"/>
                  <a:gd name="connsiteY20" fmla="*/ 0 h 2606040"/>
                  <a:gd name="connsiteX21" fmla="*/ 4297680 w 7322820"/>
                  <a:gd name="connsiteY21" fmla="*/ 45720 h 2606040"/>
                  <a:gd name="connsiteX22" fmla="*/ 4602480 w 7322820"/>
                  <a:gd name="connsiteY22" fmla="*/ 129540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68580 h 2606040"/>
                  <a:gd name="connsiteX18" fmla="*/ 3368040 w 7322820"/>
                  <a:gd name="connsiteY18" fmla="*/ 60960 h 2606040"/>
                  <a:gd name="connsiteX19" fmla="*/ 3703320 w 7322820"/>
                  <a:gd name="connsiteY19" fmla="*/ 0 h 2606040"/>
                  <a:gd name="connsiteX20" fmla="*/ 3992880 w 7322820"/>
                  <a:gd name="connsiteY20" fmla="*/ 0 h 2606040"/>
                  <a:gd name="connsiteX21" fmla="*/ 4297680 w 7322820"/>
                  <a:gd name="connsiteY21" fmla="*/ 45720 h 2606040"/>
                  <a:gd name="connsiteX22" fmla="*/ 4602480 w 7322820"/>
                  <a:gd name="connsiteY22" fmla="*/ 129540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68040 w 7322820"/>
                  <a:gd name="connsiteY18" fmla="*/ 60960 h 2606040"/>
                  <a:gd name="connsiteX19" fmla="*/ 3703320 w 7322820"/>
                  <a:gd name="connsiteY19" fmla="*/ 0 h 2606040"/>
                  <a:gd name="connsiteX20" fmla="*/ 3992880 w 7322820"/>
                  <a:gd name="connsiteY20" fmla="*/ 0 h 2606040"/>
                  <a:gd name="connsiteX21" fmla="*/ 4297680 w 7322820"/>
                  <a:gd name="connsiteY21" fmla="*/ 45720 h 2606040"/>
                  <a:gd name="connsiteX22" fmla="*/ 4602480 w 7322820"/>
                  <a:gd name="connsiteY22" fmla="*/ 129540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0 h 2606040"/>
                  <a:gd name="connsiteX21" fmla="*/ 4297680 w 7322820"/>
                  <a:gd name="connsiteY21" fmla="*/ 45720 h 2606040"/>
                  <a:gd name="connsiteX22" fmla="*/ 4602480 w 7322820"/>
                  <a:gd name="connsiteY22" fmla="*/ 129540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7680 w 7322820"/>
                  <a:gd name="connsiteY21" fmla="*/ 45720 h 2606040"/>
                  <a:gd name="connsiteX22" fmla="*/ 4602480 w 7322820"/>
                  <a:gd name="connsiteY22" fmla="*/ 129540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602480 w 7322820"/>
                  <a:gd name="connsiteY22" fmla="*/ 129540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953000 w 7322820"/>
                  <a:gd name="connsiteY23" fmla="*/ 167640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9680 w 7322820"/>
                  <a:gd name="connsiteY24" fmla="*/ 190500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4312 w 7322820"/>
                  <a:gd name="connsiteY24" fmla="*/ 218992 h 2606040"/>
                  <a:gd name="connsiteX25" fmla="*/ 5280660 w 7322820"/>
                  <a:gd name="connsiteY25" fmla="*/ 228600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4312 w 7322820"/>
                  <a:gd name="connsiteY24" fmla="*/ 218992 h 2606040"/>
                  <a:gd name="connsiteX25" fmla="*/ 5398746 w 7322820"/>
                  <a:gd name="connsiteY25" fmla="*/ 279886 h 2606040"/>
                  <a:gd name="connsiteX26" fmla="*/ 5593080 w 7322820"/>
                  <a:gd name="connsiteY26" fmla="*/ 274320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4312 w 7322820"/>
                  <a:gd name="connsiteY24" fmla="*/ 218992 h 2606040"/>
                  <a:gd name="connsiteX25" fmla="*/ 5398746 w 7322820"/>
                  <a:gd name="connsiteY25" fmla="*/ 279886 h 2606040"/>
                  <a:gd name="connsiteX26" fmla="*/ 5619917 w 7322820"/>
                  <a:gd name="connsiteY26" fmla="*/ 337002 h 2606040"/>
                  <a:gd name="connsiteX27" fmla="*/ 6027420 w 7322820"/>
                  <a:gd name="connsiteY27" fmla="*/ 388620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4312 w 7322820"/>
                  <a:gd name="connsiteY24" fmla="*/ 218992 h 2606040"/>
                  <a:gd name="connsiteX25" fmla="*/ 5398746 w 7322820"/>
                  <a:gd name="connsiteY25" fmla="*/ 279886 h 2606040"/>
                  <a:gd name="connsiteX26" fmla="*/ 5619917 w 7322820"/>
                  <a:gd name="connsiteY26" fmla="*/ 337002 h 2606040"/>
                  <a:gd name="connsiteX27" fmla="*/ 6070361 w 7322820"/>
                  <a:gd name="connsiteY27" fmla="*/ 428509 h 2606040"/>
                  <a:gd name="connsiteX28" fmla="*/ 6217920 w 7322820"/>
                  <a:gd name="connsiteY28" fmla="*/ 441960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4312 w 7322820"/>
                  <a:gd name="connsiteY24" fmla="*/ 218992 h 2606040"/>
                  <a:gd name="connsiteX25" fmla="*/ 5398746 w 7322820"/>
                  <a:gd name="connsiteY25" fmla="*/ 279886 h 2606040"/>
                  <a:gd name="connsiteX26" fmla="*/ 5619917 w 7322820"/>
                  <a:gd name="connsiteY26" fmla="*/ 337002 h 2606040"/>
                  <a:gd name="connsiteX27" fmla="*/ 6070361 w 7322820"/>
                  <a:gd name="connsiteY27" fmla="*/ 428509 h 2606040"/>
                  <a:gd name="connsiteX28" fmla="*/ 6287699 w 7322820"/>
                  <a:gd name="connsiteY28" fmla="*/ 498944 h 2606040"/>
                  <a:gd name="connsiteX29" fmla="*/ 6697980 w 7322820"/>
                  <a:gd name="connsiteY29" fmla="*/ 586740 h 2606040"/>
                  <a:gd name="connsiteX30" fmla="*/ 7322820 w 7322820"/>
                  <a:gd name="connsiteY30" fmla="*/ 800100 h 2606040"/>
                  <a:gd name="connsiteX0" fmla="*/ 0 w 7322820"/>
                  <a:gd name="connsiteY0" fmla="*/ 2606040 h 2606040"/>
                  <a:gd name="connsiteX1" fmla="*/ 205740 w 7322820"/>
                  <a:gd name="connsiteY1" fmla="*/ 2598420 h 2606040"/>
                  <a:gd name="connsiteX2" fmla="*/ 304800 w 7322820"/>
                  <a:gd name="connsiteY2" fmla="*/ 2560320 h 2606040"/>
                  <a:gd name="connsiteX3" fmla="*/ 396240 w 7322820"/>
                  <a:gd name="connsiteY3" fmla="*/ 2522220 h 2606040"/>
                  <a:gd name="connsiteX4" fmla="*/ 518160 w 7322820"/>
                  <a:gd name="connsiteY4" fmla="*/ 2446020 h 2606040"/>
                  <a:gd name="connsiteX5" fmla="*/ 647700 w 7322820"/>
                  <a:gd name="connsiteY5" fmla="*/ 2339340 h 2606040"/>
                  <a:gd name="connsiteX6" fmla="*/ 792480 w 7322820"/>
                  <a:gd name="connsiteY6" fmla="*/ 2217420 h 2606040"/>
                  <a:gd name="connsiteX7" fmla="*/ 929640 w 7322820"/>
                  <a:gd name="connsiteY7" fmla="*/ 2026920 h 2606040"/>
                  <a:gd name="connsiteX8" fmla="*/ 1082040 w 7322820"/>
                  <a:gd name="connsiteY8" fmla="*/ 1836420 h 2606040"/>
                  <a:gd name="connsiteX9" fmla="*/ 1242060 w 7322820"/>
                  <a:gd name="connsiteY9" fmla="*/ 1630680 h 2606040"/>
                  <a:gd name="connsiteX10" fmla="*/ 1500277 w 7322820"/>
                  <a:gd name="connsiteY10" fmla="*/ 1295400 h 2606040"/>
                  <a:gd name="connsiteX11" fmla="*/ 1744980 w 7322820"/>
                  <a:gd name="connsiteY11" fmla="*/ 967740 h 2606040"/>
                  <a:gd name="connsiteX12" fmla="*/ 1905000 w 7322820"/>
                  <a:gd name="connsiteY12" fmla="*/ 777240 h 2606040"/>
                  <a:gd name="connsiteX13" fmla="*/ 2125980 w 7322820"/>
                  <a:gd name="connsiteY13" fmla="*/ 525780 h 2606040"/>
                  <a:gd name="connsiteX14" fmla="*/ 2339340 w 7322820"/>
                  <a:gd name="connsiteY14" fmla="*/ 373380 h 2606040"/>
                  <a:gd name="connsiteX15" fmla="*/ 2537460 w 7322820"/>
                  <a:gd name="connsiteY15" fmla="*/ 228600 h 2606040"/>
                  <a:gd name="connsiteX16" fmla="*/ 2766060 w 7322820"/>
                  <a:gd name="connsiteY16" fmla="*/ 121920 h 2606040"/>
                  <a:gd name="connsiteX17" fmla="*/ 3078480 w 7322820"/>
                  <a:gd name="connsiteY17" fmla="*/ 85674 h 2606040"/>
                  <a:gd name="connsiteX18" fmla="*/ 3330466 w 7322820"/>
                  <a:gd name="connsiteY18" fmla="*/ 106547 h 2606040"/>
                  <a:gd name="connsiteX19" fmla="*/ 3703320 w 7322820"/>
                  <a:gd name="connsiteY19" fmla="*/ 0 h 2606040"/>
                  <a:gd name="connsiteX20" fmla="*/ 3992880 w 7322820"/>
                  <a:gd name="connsiteY20" fmla="*/ 22794 h 2606040"/>
                  <a:gd name="connsiteX21" fmla="*/ 4292312 w 7322820"/>
                  <a:gd name="connsiteY21" fmla="*/ 68514 h 2606040"/>
                  <a:gd name="connsiteX22" fmla="*/ 4543437 w 7322820"/>
                  <a:gd name="connsiteY22" fmla="*/ 152333 h 2606040"/>
                  <a:gd name="connsiteX23" fmla="*/ 4861753 w 7322820"/>
                  <a:gd name="connsiteY23" fmla="*/ 179037 h 2606040"/>
                  <a:gd name="connsiteX24" fmla="*/ 5054312 w 7322820"/>
                  <a:gd name="connsiteY24" fmla="*/ 218992 h 2606040"/>
                  <a:gd name="connsiteX25" fmla="*/ 5398746 w 7322820"/>
                  <a:gd name="connsiteY25" fmla="*/ 279886 h 2606040"/>
                  <a:gd name="connsiteX26" fmla="*/ 5619917 w 7322820"/>
                  <a:gd name="connsiteY26" fmla="*/ 337002 h 2606040"/>
                  <a:gd name="connsiteX27" fmla="*/ 6070361 w 7322820"/>
                  <a:gd name="connsiteY27" fmla="*/ 428509 h 2606040"/>
                  <a:gd name="connsiteX28" fmla="*/ 6287699 w 7322820"/>
                  <a:gd name="connsiteY28" fmla="*/ 498944 h 2606040"/>
                  <a:gd name="connsiteX29" fmla="*/ 6767759 w 7322820"/>
                  <a:gd name="connsiteY29" fmla="*/ 655121 h 2606040"/>
                  <a:gd name="connsiteX30" fmla="*/ 7322820 w 7322820"/>
                  <a:gd name="connsiteY30" fmla="*/ 800100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3992880 w 7236939"/>
                  <a:gd name="connsiteY20" fmla="*/ 22794 h 2606040"/>
                  <a:gd name="connsiteX21" fmla="*/ 4292312 w 7236939"/>
                  <a:gd name="connsiteY21" fmla="*/ 68514 h 2606040"/>
                  <a:gd name="connsiteX22" fmla="*/ 4543437 w 7236939"/>
                  <a:gd name="connsiteY22" fmla="*/ 152333 h 2606040"/>
                  <a:gd name="connsiteX23" fmla="*/ 4861753 w 7236939"/>
                  <a:gd name="connsiteY23" fmla="*/ 179037 h 2606040"/>
                  <a:gd name="connsiteX24" fmla="*/ 5054312 w 7236939"/>
                  <a:gd name="connsiteY24" fmla="*/ 218992 h 2606040"/>
                  <a:gd name="connsiteX25" fmla="*/ 5398746 w 7236939"/>
                  <a:gd name="connsiteY25" fmla="*/ 279886 h 2606040"/>
                  <a:gd name="connsiteX26" fmla="*/ 5619917 w 7236939"/>
                  <a:gd name="connsiteY26" fmla="*/ 337002 h 2606040"/>
                  <a:gd name="connsiteX27" fmla="*/ 6070361 w 7236939"/>
                  <a:gd name="connsiteY27" fmla="*/ 428509 h 2606040"/>
                  <a:gd name="connsiteX28" fmla="*/ 6287699 w 7236939"/>
                  <a:gd name="connsiteY28" fmla="*/ 498944 h 2606040"/>
                  <a:gd name="connsiteX29" fmla="*/ 6767759 w 7236939"/>
                  <a:gd name="connsiteY29" fmla="*/ 655121 h 2606040"/>
                  <a:gd name="connsiteX30" fmla="*/ 7236939 w 7236939"/>
                  <a:gd name="connsiteY30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4292312 w 7236939"/>
                  <a:gd name="connsiteY20" fmla="*/ 68514 h 2606040"/>
                  <a:gd name="connsiteX21" fmla="*/ 4543437 w 7236939"/>
                  <a:gd name="connsiteY21" fmla="*/ 152333 h 2606040"/>
                  <a:gd name="connsiteX22" fmla="*/ 4861753 w 7236939"/>
                  <a:gd name="connsiteY22" fmla="*/ 179037 h 2606040"/>
                  <a:gd name="connsiteX23" fmla="*/ 5054312 w 7236939"/>
                  <a:gd name="connsiteY23" fmla="*/ 218992 h 2606040"/>
                  <a:gd name="connsiteX24" fmla="*/ 5398746 w 7236939"/>
                  <a:gd name="connsiteY24" fmla="*/ 279886 h 2606040"/>
                  <a:gd name="connsiteX25" fmla="*/ 5619917 w 7236939"/>
                  <a:gd name="connsiteY25" fmla="*/ 337002 h 2606040"/>
                  <a:gd name="connsiteX26" fmla="*/ 6070361 w 7236939"/>
                  <a:gd name="connsiteY26" fmla="*/ 428509 h 2606040"/>
                  <a:gd name="connsiteX27" fmla="*/ 6287699 w 7236939"/>
                  <a:gd name="connsiteY27" fmla="*/ 498944 h 2606040"/>
                  <a:gd name="connsiteX28" fmla="*/ 6767759 w 7236939"/>
                  <a:gd name="connsiteY28" fmla="*/ 655121 h 2606040"/>
                  <a:gd name="connsiteX29" fmla="*/ 7236939 w 7236939"/>
                  <a:gd name="connsiteY29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4543437 w 7236939"/>
                  <a:gd name="connsiteY20" fmla="*/ 152333 h 2606040"/>
                  <a:gd name="connsiteX21" fmla="*/ 4861753 w 7236939"/>
                  <a:gd name="connsiteY21" fmla="*/ 179037 h 2606040"/>
                  <a:gd name="connsiteX22" fmla="*/ 5054312 w 7236939"/>
                  <a:gd name="connsiteY22" fmla="*/ 218992 h 2606040"/>
                  <a:gd name="connsiteX23" fmla="*/ 5398746 w 7236939"/>
                  <a:gd name="connsiteY23" fmla="*/ 279886 h 2606040"/>
                  <a:gd name="connsiteX24" fmla="*/ 5619917 w 7236939"/>
                  <a:gd name="connsiteY24" fmla="*/ 337002 h 2606040"/>
                  <a:gd name="connsiteX25" fmla="*/ 6070361 w 7236939"/>
                  <a:gd name="connsiteY25" fmla="*/ 428509 h 2606040"/>
                  <a:gd name="connsiteX26" fmla="*/ 6287699 w 7236939"/>
                  <a:gd name="connsiteY26" fmla="*/ 498944 h 2606040"/>
                  <a:gd name="connsiteX27" fmla="*/ 6767759 w 7236939"/>
                  <a:gd name="connsiteY27" fmla="*/ 655121 h 2606040"/>
                  <a:gd name="connsiteX28" fmla="*/ 7236939 w 7236939"/>
                  <a:gd name="connsiteY28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4543437 w 7236939"/>
                  <a:gd name="connsiteY20" fmla="*/ 152333 h 2606040"/>
                  <a:gd name="connsiteX21" fmla="*/ 5054312 w 7236939"/>
                  <a:gd name="connsiteY21" fmla="*/ 218992 h 2606040"/>
                  <a:gd name="connsiteX22" fmla="*/ 5398746 w 7236939"/>
                  <a:gd name="connsiteY22" fmla="*/ 279886 h 2606040"/>
                  <a:gd name="connsiteX23" fmla="*/ 5619917 w 7236939"/>
                  <a:gd name="connsiteY23" fmla="*/ 337002 h 2606040"/>
                  <a:gd name="connsiteX24" fmla="*/ 6070361 w 7236939"/>
                  <a:gd name="connsiteY24" fmla="*/ 428509 h 2606040"/>
                  <a:gd name="connsiteX25" fmla="*/ 6287699 w 7236939"/>
                  <a:gd name="connsiteY25" fmla="*/ 498944 h 2606040"/>
                  <a:gd name="connsiteX26" fmla="*/ 6767759 w 7236939"/>
                  <a:gd name="connsiteY26" fmla="*/ 655121 h 2606040"/>
                  <a:gd name="connsiteX27" fmla="*/ 7236939 w 7236939"/>
                  <a:gd name="connsiteY27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5054312 w 7236939"/>
                  <a:gd name="connsiteY20" fmla="*/ 218992 h 2606040"/>
                  <a:gd name="connsiteX21" fmla="*/ 5398746 w 7236939"/>
                  <a:gd name="connsiteY21" fmla="*/ 279886 h 2606040"/>
                  <a:gd name="connsiteX22" fmla="*/ 5619917 w 7236939"/>
                  <a:gd name="connsiteY22" fmla="*/ 337002 h 2606040"/>
                  <a:gd name="connsiteX23" fmla="*/ 6070361 w 7236939"/>
                  <a:gd name="connsiteY23" fmla="*/ 428509 h 2606040"/>
                  <a:gd name="connsiteX24" fmla="*/ 6287699 w 7236939"/>
                  <a:gd name="connsiteY24" fmla="*/ 498944 h 2606040"/>
                  <a:gd name="connsiteX25" fmla="*/ 6767759 w 7236939"/>
                  <a:gd name="connsiteY25" fmla="*/ 655121 h 2606040"/>
                  <a:gd name="connsiteX26" fmla="*/ 7236939 w 7236939"/>
                  <a:gd name="connsiteY26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5398746 w 7236939"/>
                  <a:gd name="connsiteY20" fmla="*/ 279886 h 2606040"/>
                  <a:gd name="connsiteX21" fmla="*/ 5619917 w 7236939"/>
                  <a:gd name="connsiteY21" fmla="*/ 337002 h 2606040"/>
                  <a:gd name="connsiteX22" fmla="*/ 6070361 w 7236939"/>
                  <a:gd name="connsiteY22" fmla="*/ 428509 h 2606040"/>
                  <a:gd name="connsiteX23" fmla="*/ 6287699 w 7236939"/>
                  <a:gd name="connsiteY23" fmla="*/ 498944 h 2606040"/>
                  <a:gd name="connsiteX24" fmla="*/ 6767759 w 7236939"/>
                  <a:gd name="connsiteY24" fmla="*/ 655121 h 2606040"/>
                  <a:gd name="connsiteX25" fmla="*/ 7236939 w 7236939"/>
                  <a:gd name="connsiteY25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5619917 w 7236939"/>
                  <a:gd name="connsiteY20" fmla="*/ 337002 h 2606040"/>
                  <a:gd name="connsiteX21" fmla="*/ 6070361 w 7236939"/>
                  <a:gd name="connsiteY21" fmla="*/ 428509 h 2606040"/>
                  <a:gd name="connsiteX22" fmla="*/ 6287699 w 7236939"/>
                  <a:gd name="connsiteY22" fmla="*/ 498944 h 2606040"/>
                  <a:gd name="connsiteX23" fmla="*/ 6767759 w 7236939"/>
                  <a:gd name="connsiteY23" fmla="*/ 655121 h 2606040"/>
                  <a:gd name="connsiteX24" fmla="*/ 7236939 w 7236939"/>
                  <a:gd name="connsiteY24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6070361 w 7236939"/>
                  <a:gd name="connsiteY20" fmla="*/ 428509 h 2606040"/>
                  <a:gd name="connsiteX21" fmla="*/ 6287699 w 7236939"/>
                  <a:gd name="connsiteY21" fmla="*/ 498944 h 2606040"/>
                  <a:gd name="connsiteX22" fmla="*/ 6767759 w 7236939"/>
                  <a:gd name="connsiteY22" fmla="*/ 655121 h 2606040"/>
                  <a:gd name="connsiteX23" fmla="*/ 7236939 w 7236939"/>
                  <a:gd name="connsiteY23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6287699 w 7236939"/>
                  <a:gd name="connsiteY20" fmla="*/ 498944 h 2606040"/>
                  <a:gd name="connsiteX21" fmla="*/ 6767759 w 7236939"/>
                  <a:gd name="connsiteY21" fmla="*/ 655121 h 2606040"/>
                  <a:gd name="connsiteX22" fmla="*/ 7236939 w 7236939"/>
                  <a:gd name="connsiteY22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6767759 w 7236939"/>
                  <a:gd name="connsiteY20" fmla="*/ 655121 h 2606040"/>
                  <a:gd name="connsiteX21" fmla="*/ 7236939 w 7236939"/>
                  <a:gd name="connsiteY21" fmla="*/ 805798 h 2606040"/>
                  <a:gd name="connsiteX0" fmla="*/ 0 w 7236939"/>
                  <a:gd name="connsiteY0" fmla="*/ 2606040 h 2606040"/>
                  <a:gd name="connsiteX1" fmla="*/ 205740 w 7236939"/>
                  <a:gd name="connsiteY1" fmla="*/ 2598420 h 2606040"/>
                  <a:gd name="connsiteX2" fmla="*/ 304800 w 7236939"/>
                  <a:gd name="connsiteY2" fmla="*/ 2560320 h 2606040"/>
                  <a:gd name="connsiteX3" fmla="*/ 396240 w 7236939"/>
                  <a:gd name="connsiteY3" fmla="*/ 2522220 h 2606040"/>
                  <a:gd name="connsiteX4" fmla="*/ 518160 w 7236939"/>
                  <a:gd name="connsiteY4" fmla="*/ 2446020 h 2606040"/>
                  <a:gd name="connsiteX5" fmla="*/ 647700 w 7236939"/>
                  <a:gd name="connsiteY5" fmla="*/ 2339340 h 2606040"/>
                  <a:gd name="connsiteX6" fmla="*/ 792480 w 7236939"/>
                  <a:gd name="connsiteY6" fmla="*/ 2217420 h 2606040"/>
                  <a:gd name="connsiteX7" fmla="*/ 929640 w 7236939"/>
                  <a:gd name="connsiteY7" fmla="*/ 2026920 h 2606040"/>
                  <a:gd name="connsiteX8" fmla="*/ 1082040 w 7236939"/>
                  <a:gd name="connsiteY8" fmla="*/ 1836420 h 2606040"/>
                  <a:gd name="connsiteX9" fmla="*/ 1242060 w 7236939"/>
                  <a:gd name="connsiteY9" fmla="*/ 1630680 h 2606040"/>
                  <a:gd name="connsiteX10" fmla="*/ 1500277 w 7236939"/>
                  <a:gd name="connsiteY10" fmla="*/ 1295400 h 2606040"/>
                  <a:gd name="connsiteX11" fmla="*/ 1744980 w 7236939"/>
                  <a:gd name="connsiteY11" fmla="*/ 967740 h 2606040"/>
                  <a:gd name="connsiteX12" fmla="*/ 1905000 w 7236939"/>
                  <a:gd name="connsiteY12" fmla="*/ 777240 h 2606040"/>
                  <a:gd name="connsiteX13" fmla="*/ 2125980 w 7236939"/>
                  <a:gd name="connsiteY13" fmla="*/ 525780 h 2606040"/>
                  <a:gd name="connsiteX14" fmla="*/ 2339340 w 7236939"/>
                  <a:gd name="connsiteY14" fmla="*/ 373380 h 2606040"/>
                  <a:gd name="connsiteX15" fmla="*/ 2537460 w 7236939"/>
                  <a:gd name="connsiteY15" fmla="*/ 228600 h 2606040"/>
                  <a:gd name="connsiteX16" fmla="*/ 2766060 w 7236939"/>
                  <a:gd name="connsiteY16" fmla="*/ 121920 h 2606040"/>
                  <a:gd name="connsiteX17" fmla="*/ 3078480 w 7236939"/>
                  <a:gd name="connsiteY17" fmla="*/ 85674 h 2606040"/>
                  <a:gd name="connsiteX18" fmla="*/ 3330466 w 7236939"/>
                  <a:gd name="connsiteY18" fmla="*/ 106547 h 2606040"/>
                  <a:gd name="connsiteX19" fmla="*/ 3703320 w 7236939"/>
                  <a:gd name="connsiteY19" fmla="*/ 0 h 2606040"/>
                  <a:gd name="connsiteX20" fmla="*/ 7236939 w 7236939"/>
                  <a:gd name="connsiteY20" fmla="*/ 805798 h 2606040"/>
                  <a:gd name="connsiteX0" fmla="*/ 0 w 3703320"/>
                  <a:gd name="connsiteY0" fmla="*/ 2606040 h 2606040"/>
                  <a:gd name="connsiteX1" fmla="*/ 205740 w 3703320"/>
                  <a:gd name="connsiteY1" fmla="*/ 2598420 h 2606040"/>
                  <a:gd name="connsiteX2" fmla="*/ 304800 w 3703320"/>
                  <a:gd name="connsiteY2" fmla="*/ 2560320 h 2606040"/>
                  <a:gd name="connsiteX3" fmla="*/ 396240 w 3703320"/>
                  <a:gd name="connsiteY3" fmla="*/ 2522220 h 2606040"/>
                  <a:gd name="connsiteX4" fmla="*/ 518160 w 3703320"/>
                  <a:gd name="connsiteY4" fmla="*/ 2446020 h 2606040"/>
                  <a:gd name="connsiteX5" fmla="*/ 647700 w 3703320"/>
                  <a:gd name="connsiteY5" fmla="*/ 2339340 h 2606040"/>
                  <a:gd name="connsiteX6" fmla="*/ 792480 w 3703320"/>
                  <a:gd name="connsiteY6" fmla="*/ 2217420 h 2606040"/>
                  <a:gd name="connsiteX7" fmla="*/ 929640 w 3703320"/>
                  <a:gd name="connsiteY7" fmla="*/ 2026920 h 2606040"/>
                  <a:gd name="connsiteX8" fmla="*/ 1082040 w 3703320"/>
                  <a:gd name="connsiteY8" fmla="*/ 1836420 h 2606040"/>
                  <a:gd name="connsiteX9" fmla="*/ 1242060 w 3703320"/>
                  <a:gd name="connsiteY9" fmla="*/ 1630680 h 2606040"/>
                  <a:gd name="connsiteX10" fmla="*/ 1500277 w 3703320"/>
                  <a:gd name="connsiteY10" fmla="*/ 1295400 h 2606040"/>
                  <a:gd name="connsiteX11" fmla="*/ 1744980 w 3703320"/>
                  <a:gd name="connsiteY11" fmla="*/ 967740 h 2606040"/>
                  <a:gd name="connsiteX12" fmla="*/ 1905000 w 3703320"/>
                  <a:gd name="connsiteY12" fmla="*/ 777240 h 2606040"/>
                  <a:gd name="connsiteX13" fmla="*/ 2125980 w 3703320"/>
                  <a:gd name="connsiteY13" fmla="*/ 525780 h 2606040"/>
                  <a:gd name="connsiteX14" fmla="*/ 2339340 w 3703320"/>
                  <a:gd name="connsiteY14" fmla="*/ 373380 h 2606040"/>
                  <a:gd name="connsiteX15" fmla="*/ 2537460 w 3703320"/>
                  <a:gd name="connsiteY15" fmla="*/ 228600 h 2606040"/>
                  <a:gd name="connsiteX16" fmla="*/ 2766060 w 3703320"/>
                  <a:gd name="connsiteY16" fmla="*/ 121920 h 2606040"/>
                  <a:gd name="connsiteX17" fmla="*/ 3078480 w 3703320"/>
                  <a:gd name="connsiteY17" fmla="*/ 85674 h 2606040"/>
                  <a:gd name="connsiteX18" fmla="*/ 3330466 w 3703320"/>
                  <a:gd name="connsiteY18" fmla="*/ 106547 h 2606040"/>
                  <a:gd name="connsiteX19" fmla="*/ 3703320 w 3703320"/>
                  <a:gd name="connsiteY19" fmla="*/ 0 h 260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703320" h="2606040">
                    <a:moveTo>
                      <a:pt x="0" y="2606040"/>
                    </a:moveTo>
                    <a:lnTo>
                      <a:pt x="205740" y="2598420"/>
                    </a:lnTo>
                    <a:lnTo>
                      <a:pt x="304800" y="2560320"/>
                    </a:lnTo>
                    <a:lnTo>
                      <a:pt x="396240" y="2522220"/>
                    </a:lnTo>
                    <a:lnTo>
                      <a:pt x="518160" y="2446020"/>
                    </a:lnTo>
                    <a:lnTo>
                      <a:pt x="647700" y="2339340"/>
                    </a:lnTo>
                    <a:lnTo>
                      <a:pt x="792480" y="2217420"/>
                    </a:lnTo>
                    <a:lnTo>
                      <a:pt x="929640" y="2026920"/>
                    </a:lnTo>
                    <a:lnTo>
                      <a:pt x="1082040" y="1836420"/>
                    </a:lnTo>
                    <a:lnTo>
                      <a:pt x="1242060" y="1630680"/>
                    </a:lnTo>
                    <a:lnTo>
                      <a:pt x="1500277" y="1295400"/>
                    </a:lnTo>
                    <a:lnTo>
                      <a:pt x="1744980" y="967740"/>
                    </a:lnTo>
                    <a:lnTo>
                      <a:pt x="1905000" y="777240"/>
                    </a:lnTo>
                    <a:lnTo>
                      <a:pt x="2125980" y="525780"/>
                    </a:lnTo>
                    <a:lnTo>
                      <a:pt x="2339340" y="373380"/>
                    </a:lnTo>
                    <a:lnTo>
                      <a:pt x="2537460" y="228600"/>
                    </a:lnTo>
                    <a:lnTo>
                      <a:pt x="2766060" y="121920"/>
                    </a:lnTo>
                    <a:lnTo>
                      <a:pt x="3078480" y="85674"/>
                    </a:lnTo>
                    <a:lnTo>
                      <a:pt x="3330466" y="106547"/>
                    </a:lnTo>
                    <a:lnTo>
                      <a:pt x="3703320" y="0"/>
                    </a:lnTo>
                  </a:path>
                </a:pathLst>
              </a:custGeom>
              <a:ln w="28575">
                <a:solidFill>
                  <a:schemeClr val="accent3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>
                  <a:solidFill>
                    <a:srgbClr val="001965"/>
                  </a:solidFill>
                </a:endParaRPr>
              </a:p>
            </p:txBody>
          </p:sp>
          <p:sp>
            <p:nvSpPr>
              <p:cNvPr id="85" name="Freeform 84"/>
              <p:cNvSpPr/>
              <p:nvPr/>
            </p:nvSpPr>
            <p:spPr>
              <a:xfrm>
                <a:off x="1038449" y="1716608"/>
                <a:ext cx="3279106" cy="2221110"/>
              </a:xfrm>
              <a:custGeom>
                <a:avLst/>
                <a:gdLst>
                  <a:gd name="connsiteX0" fmla="*/ 0 w 7322820"/>
                  <a:gd name="connsiteY0" fmla="*/ 2697480 h 2697480"/>
                  <a:gd name="connsiteX1" fmla="*/ 144780 w 7322820"/>
                  <a:gd name="connsiteY1" fmla="*/ 2667000 h 2697480"/>
                  <a:gd name="connsiteX2" fmla="*/ 274320 w 7322820"/>
                  <a:gd name="connsiteY2" fmla="*/ 2529840 h 2697480"/>
                  <a:gd name="connsiteX3" fmla="*/ 396240 w 7322820"/>
                  <a:gd name="connsiteY3" fmla="*/ 2225040 h 2697480"/>
                  <a:gd name="connsiteX4" fmla="*/ 518160 w 7322820"/>
                  <a:gd name="connsiteY4" fmla="*/ 2072640 h 2697480"/>
                  <a:gd name="connsiteX5" fmla="*/ 640080 w 7322820"/>
                  <a:gd name="connsiteY5" fmla="*/ 1828800 h 2697480"/>
                  <a:gd name="connsiteX6" fmla="*/ 830580 w 7322820"/>
                  <a:gd name="connsiteY6" fmla="*/ 1592580 h 2697480"/>
                  <a:gd name="connsiteX7" fmla="*/ 929640 w 7322820"/>
                  <a:gd name="connsiteY7" fmla="*/ 1478280 h 2697480"/>
                  <a:gd name="connsiteX8" fmla="*/ 998220 w 7322820"/>
                  <a:gd name="connsiteY8" fmla="*/ 1363980 h 2697480"/>
                  <a:gd name="connsiteX9" fmla="*/ 1135380 w 7322820"/>
                  <a:gd name="connsiteY9" fmla="*/ 1234440 h 2697480"/>
                  <a:gd name="connsiteX10" fmla="*/ 1226820 w 7322820"/>
                  <a:gd name="connsiteY10" fmla="*/ 1059180 h 2697480"/>
                  <a:gd name="connsiteX11" fmla="*/ 1303020 w 7322820"/>
                  <a:gd name="connsiteY11" fmla="*/ 1005840 h 2697480"/>
                  <a:gd name="connsiteX12" fmla="*/ 1546860 w 7322820"/>
                  <a:gd name="connsiteY12" fmla="*/ 708660 h 2697480"/>
                  <a:gd name="connsiteX13" fmla="*/ 1859280 w 7322820"/>
                  <a:gd name="connsiteY13" fmla="*/ 419100 h 2697480"/>
                  <a:gd name="connsiteX14" fmla="*/ 2156460 w 7322820"/>
                  <a:gd name="connsiteY14" fmla="*/ 190500 h 2697480"/>
                  <a:gd name="connsiteX15" fmla="*/ 2461260 w 7322820"/>
                  <a:gd name="connsiteY15" fmla="*/ 99060 h 2697480"/>
                  <a:gd name="connsiteX16" fmla="*/ 2773680 w 7322820"/>
                  <a:gd name="connsiteY16" fmla="*/ 38100 h 2697480"/>
                  <a:gd name="connsiteX17" fmla="*/ 3055620 w 7322820"/>
                  <a:gd name="connsiteY17" fmla="*/ 0 h 2697480"/>
                  <a:gd name="connsiteX18" fmla="*/ 3360420 w 7322820"/>
                  <a:gd name="connsiteY18" fmla="*/ 114300 h 2697480"/>
                  <a:gd name="connsiteX19" fmla="*/ 3695700 w 7322820"/>
                  <a:gd name="connsiteY19" fmla="*/ 83820 h 2697480"/>
                  <a:gd name="connsiteX20" fmla="*/ 3977640 w 7322820"/>
                  <a:gd name="connsiteY20" fmla="*/ 91440 h 2697480"/>
                  <a:gd name="connsiteX21" fmla="*/ 4290060 w 7322820"/>
                  <a:gd name="connsiteY21" fmla="*/ 182880 h 2697480"/>
                  <a:gd name="connsiteX22" fmla="*/ 4579620 w 7322820"/>
                  <a:gd name="connsiteY22" fmla="*/ 259080 h 2697480"/>
                  <a:gd name="connsiteX23" fmla="*/ 4899660 w 7322820"/>
                  <a:gd name="connsiteY23" fmla="*/ 342900 h 2697480"/>
                  <a:gd name="connsiteX24" fmla="*/ 5433060 w 7322820"/>
                  <a:gd name="connsiteY24" fmla="*/ 449580 h 2697480"/>
                  <a:gd name="connsiteX25" fmla="*/ 5935980 w 7322820"/>
                  <a:gd name="connsiteY25" fmla="*/ 579120 h 2697480"/>
                  <a:gd name="connsiteX26" fmla="*/ 6217920 w 7322820"/>
                  <a:gd name="connsiteY26" fmla="*/ 678180 h 2697480"/>
                  <a:gd name="connsiteX27" fmla="*/ 6720840 w 7322820"/>
                  <a:gd name="connsiteY27" fmla="*/ 830580 h 2697480"/>
                  <a:gd name="connsiteX28" fmla="*/ 7322820 w 7322820"/>
                  <a:gd name="connsiteY28" fmla="*/ 998220 h 2697480"/>
                  <a:gd name="connsiteX0" fmla="*/ 0 w 7322820"/>
                  <a:gd name="connsiteY0" fmla="*/ 2697480 h 2697480"/>
                  <a:gd name="connsiteX1" fmla="*/ 144780 w 7322820"/>
                  <a:gd name="connsiteY1" fmla="*/ 2667000 h 2697480"/>
                  <a:gd name="connsiteX2" fmla="*/ 274320 w 7322820"/>
                  <a:gd name="connsiteY2" fmla="*/ 2529840 h 2697480"/>
                  <a:gd name="connsiteX3" fmla="*/ 396240 w 7322820"/>
                  <a:gd name="connsiteY3" fmla="*/ 2225040 h 2697480"/>
                  <a:gd name="connsiteX4" fmla="*/ 518160 w 7322820"/>
                  <a:gd name="connsiteY4" fmla="*/ 2072640 h 2697480"/>
                  <a:gd name="connsiteX5" fmla="*/ 640080 w 7322820"/>
                  <a:gd name="connsiteY5" fmla="*/ 1828800 h 2697480"/>
                  <a:gd name="connsiteX6" fmla="*/ 830580 w 7322820"/>
                  <a:gd name="connsiteY6" fmla="*/ 1592580 h 2697480"/>
                  <a:gd name="connsiteX7" fmla="*/ 929640 w 7322820"/>
                  <a:gd name="connsiteY7" fmla="*/ 1478280 h 2697480"/>
                  <a:gd name="connsiteX8" fmla="*/ 998220 w 7322820"/>
                  <a:gd name="connsiteY8" fmla="*/ 1363980 h 2697480"/>
                  <a:gd name="connsiteX9" fmla="*/ 1135380 w 7322820"/>
                  <a:gd name="connsiteY9" fmla="*/ 1234440 h 2697480"/>
                  <a:gd name="connsiteX10" fmla="*/ 1226820 w 7322820"/>
                  <a:gd name="connsiteY10" fmla="*/ 1059180 h 2697480"/>
                  <a:gd name="connsiteX11" fmla="*/ 1303020 w 7322820"/>
                  <a:gd name="connsiteY11" fmla="*/ 1005840 h 2697480"/>
                  <a:gd name="connsiteX12" fmla="*/ 1546860 w 7322820"/>
                  <a:gd name="connsiteY12" fmla="*/ 708660 h 2697480"/>
                  <a:gd name="connsiteX13" fmla="*/ 1859280 w 7322820"/>
                  <a:gd name="connsiteY13" fmla="*/ 419100 h 2697480"/>
                  <a:gd name="connsiteX14" fmla="*/ 2145724 w 7322820"/>
                  <a:gd name="connsiteY14" fmla="*/ 224690 h 2697480"/>
                  <a:gd name="connsiteX15" fmla="*/ 2461260 w 7322820"/>
                  <a:gd name="connsiteY15" fmla="*/ 99060 h 2697480"/>
                  <a:gd name="connsiteX16" fmla="*/ 2773680 w 7322820"/>
                  <a:gd name="connsiteY16" fmla="*/ 38100 h 2697480"/>
                  <a:gd name="connsiteX17" fmla="*/ 3055620 w 7322820"/>
                  <a:gd name="connsiteY17" fmla="*/ 0 h 2697480"/>
                  <a:gd name="connsiteX18" fmla="*/ 3360420 w 7322820"/>
                  <a:gd name="connsiteY18" fmla="*/ 114300 h 2697480"/>
                  <a:gd name="connsiteX19" fmla="*/ 3695700 w 7322820"/>
                  <a:gd name="connsiteY19" fmla="*/ 83820 h 2697480"/>
                  <a:gd name="connsiteX20" fmla="*/ 3977640 w 7322820"/>
                  <a:gd name="connsiteY20" fmla="*/ 91440 h 2697480"/>
                  <a:gd name="connsiteX21" fmla="*/ 4290060 w 7322820"/>
                  <a:gd name="connsiteY21" fmla="*/ 182880 h 2697480"/>
                  <a:gd name="connsiteX22" fmla="*/ 4579620 w 7322820"/>
                  <a:gd name="connsiteY22" fmla="*/ 259080 h 2697480"/>
                  <a:gd name="connsiteX23" fmla="*/ 4899660 w 7322820"/>
                  <a:gd name="connsiteY23" fmla="*/ 342900 h 2697480"/>
                  <a:gd name="connsiteX24" fmla="*/ 5433060 w 7322820"/>
                  <a:gd name="connsiteY24" fmla="*/ 449580 h 2697480"/>
                  <a:gd name="connsiteX25" fmla="*/ 5935980 w 7322820"/>
                  <a:gd name="connsiteY25" fmla="*/ 579120 h 2697480"/>
                  <a:gd name="connsiteX26" fmla="*/ 6217920 w 7322820"/>
                  <a:gd name="connsiteY26" fmla="*/ 678180 h 2697480"/>
                  <a:gd name="connsiteX27" fmla="*/ 6720840 w 7322820"/>
                  <a:gd name="connsiteY27" fmla="*/ 830580 h 2697480"/>
                  <a:gd name="connsiteX28" fmla="*/ 7322820 w 7322820"/>
                  <a:gd name="connsiteY28" fmla="*/ 998220 h 2697480"/>
                  <a:gd name="connsiteX0" fmla="*/ 0 w 7322820"/>
                  <a:gd name="connsiteY0" fmla="*/ 2697480 h 2697480"/>
                  <a:gd name="connsiteX1" fmla="*/ 144780 w 7322820"/>
                  <a:gd name="connsiteY1" fmla="*/ 2667000 h 2697480"/>
                  <a:gd name="connsiteX2" fmla="*/ 274320 w 7322820"/>
                  <a:gd name="connsiteY2" fmla="*/ 2529840 h 2697480"/>
                  <a:gd name="connsiteX3" fmla="*/ 396240 w 7322820"/>
                  <a:gd name="connsiteY3" fmla="*/ 2225040 h 2697480"/>
                  <a:gd name="connsiteX4" fmla="*/ 518160 w 7322820"/>
                  <a:gd name="connsiteY4" fmla="*/ 2072640 h 2697480"/>
                  <a:gd name="connsiteX5" fmla="*/ 640080 w 7322820"/>
                  <a:gd name="connsiteY5" fmla="*/ 1828800 h 2697480"/>
                  <a:gd name="connsiteX6" fmla="*/ 830580 w 7322820"/>
                  <a:gd name="connsiteY6" fmla="*/ 1592580 h 2697480"/>
                  <a:gd name="connsiteX7" fmla="*/ 929640 w 7322820"/>
                  <a:gd name="connsiteY7" fmla="*/ 1478280 h 2697480"/>
                  <a:gd name="connsiteX8" fmla="*/ 998220 w 7322820"/>
                  <a:gd name="connsiteY8" fmla="*/ 1363980 h 2697480"/>
                  <a:gd name="connsiteX9" fmla="*/ 1135380 w 7322820"/>
                  <a:gd name="connsiteY9" fmla="*/ 1234440 h 2697480"/>
                  <a:gd name="connsiteX10" fmla="*/ 1226820 w 7322820"/>
                  <a:gd name="connsiteY10" fmla="*/ 1059180 h 2697480"/>
                  <a:gd name="connsiteX11" fmla="*/ 1303020 w 7322820"/>
                  <a:gd name="connsiteY11" fmla="*/ 1005840 h 2697480"/>
                  <a:gd name="connsiteX12" fmla="*/ 1546860 w 7322820"/>
                  <a:gd name="connsiteY12" fmla="*/ 708660 h 2697480"/>
                  <a:gd name="connsiteX13" fmla="*/ 1859280 w 7322820"/>
                  <a:gd name="connsiteY13" fmla="*/ 419100 h 2697480"/>
                  <a:gd name="connsiteX14" fmla="*/ 2145724 w 7322820"/>
                  <a:gd name="connsiteY14" fmla="*/ 224690 h 2697480"/>
                  <a:gd name="connsiteX15" fmla="*/ 2450525 w 7322820"/>
                  <a:gd name="connsiteY15" fmla="*/ 116155 h 2697480"/>
                  <a:gd name="connsiteX16" fmla="*/ 2773680 w 7322820"/>
                  <a:gd name="connsiteY16" fmla="*/ 38100 h 2697480"/>
                  <a:gd name="connsiteX17" fmla="*/ 3055620 w 7322820"/>
                  <a:gd name="connsiteY17" fmla="*/ 0 h 2697480"/>
                  <a:gd name="connsiteX18" fmla="*/ 3360420 w 7322820"/>
                  <a:gd name="connsiteY18" fmla="*/ 114300 h 2697480"/>
                  <a:gd name="connsiteX19" fmla="*/ 3695700 w 7322820"/>
                  <a:gd name="connsiteY19" fmla="*/ 83820 h 2697480"/>
                  <a:gd name="connsiteX20" fmla="*/ 3977640 w 7322820"/>
                  <a:gd name="connsiteY20" fmla="*/ 91440 h 2697480"/>
                  <a:gd name="connsiteX21" fmla="*/ 4290060 w 7322820"/>
                  <a:gd name="connsiteY21" fmla="*/ 182880 h 2697480"/>
                  <a:gd name="connsiteX22" fmla="*/ 4579620 w 7322820"/>
                  <a:gd name="connsiteY22" fmla="*/ 259080 h 2697480"/>
                  <a:gd name="connsiteX23" fmla="*/ 4899660 w 7322820"/>
                  <a:gd name="connsiteY23" fmla="*/ 342900 h 2697480"/>
                  <a:gd name="connsiteX24" fmla="*/ 5433060 w 7322820"/>
                  <a:gd name="connsiteY24" fmla="*/ 449580 h 2697480"/>
                  <a:gd name="connsiteX25" fmla="*/ 5935980 w 7322820"/>
                  <a:gd name="connsiteY25" fmla="*/ 579120 h 2697480"/>
                  <a:gd name="connsiteX26" fmla="*/ 6217920 w 7322820"/>
                  <a:gd name="connsiteY26" fmla="*/ 678180 h 2697480"/>
                  <a:gd name="connsiteX27" fmla="*/ 6720840 w 7322820"/>
                  <a:gd name="connsiteY27" fmla="*/ 830580 h 2697480"/>
                  <a:gd name="connsiteX28" fmla="*/ 7322820 w 7322820"/>
                  <a:gd name="connsiteY28" fmla="*/ 998220 h 2697480"/>
                  <a:gd name="connsiteX0" fmla="*/ 0 w 7322820"/>
                  <a:gd name="connsiteY0" fmla="*/ 2697480 h 2697480"/>
                  <a:gd name="connsiteX1" fmla="*/ 144780 w 7322820"/>
                  <a:gd name="connsiteY1" fmla="*/ 2667000 h 2697480"/>
                  <a:gd name="connsiteX2" fmla="*/ 274320 w 7322820"/>
                  <a:gd name="connsiteY2" fmla="*/ 2529840 h 2697480"/>
                  <a:gd name="connsiteX3" fmla="*/ 396240 w 7322820"/>
                  <a:gd name="connsiteY3" fmla="*/ 2225040 h 2697480"/>
                  <a:gd name="connsiteX4" fmla="*/ 518160 w 7322820"/>
                  <a:gd name="connsiteY4" fmla="*/ 2072640 h 2697480"/>
                  <a:gd name="connsiteX5" fmla="*/ 640080 w 7322820"/>
                  <a:gd name="connsiteY5" fmla="*/ 1828800 h 2697480"/>
                  <a:gd name="connsiteX6" fmla="*/ 830580 w 7322820"/>
                  <a:gd name="connsiteY6" fmla="*/ 1592580 h 2697480"/>
                  <a:gd name="connsiteX7" fmla="*/ 929640 w 7322820"/>
                  <a:gd name="connsiteY7" fmla="*/ 1478280 h 2697480"/>
                  <a:gd name="connsiteX8" fmla="*/ 998220 w 7322820"/>
                  <a:gd name="connsiteY8" fmla="*/ 1363980 h 2697480"/>
                  <a:gd name="connsiteX9" fmla="*/ 1135380 w 7322820"/>
                  <a:gd name="connsiteY9" fmla="*/ 1234440 h 2697480"/>
                  <a:gd name="connsiteX10" fmla="*/ 1226820 w 7322820"/>
                  <a:gd name="connsiteY10" fmla="*/ 1059180 h 2697480"/>
                  <a:gd name="connsiteX11" fmla="*/ 1303020 w 7322820"/>
                  <a:gd name="connsiteY11" fmla="*/ 1005840 h 2697480"/>
                  <a:gd name="connsiteX12" fmla="*/ 1546860 w 7322820"/>
                  <a:gd name="connsiteY12" fmla="*/ 708660 h 2697480"/>
                  <a:gd name="connsiteX13" fmla="*/ 1859280 w 7322820"/>
                  <a:gd name="connsiteY13" fmla="*/ 419100 h 2697480"/>
                  <a:gd name="connsiteX14" fmla="*/ 2145724 w 7322820"/>
                  <a:gd name="connsiteY14" fmla="*/ 224690 h 2697480"/>
                  <a:gd name="connsiteX15" fmla="*/ 2450525 w 7322820"/>
                  <a:gd name="connsiteY15" fmla="*/ 116155 h 2697480"/>
                  <a:gd name="connsiteX16" fmla="*/ 2725373 w 7322820"/>
                  <a:gd name="connsiteY16" fmla="*/ 95083 h 2697480"/>
                  <a:gd name="connsiteX17" fmla="*/ 3055620 w 7322820"/>
                  <a:gd name="connsiteY17" fmla="*/ 0 h 2697480"/>
                  <a:gd name="connsiteX18" fmla="*/ 3360420 w 7322820"/>
                  <a:gd name="connsiteY18" fmla="*/ 114300 h 2697480"/>
                  <a:gd name="connsiteX19" fmla="*/ 3695700 w 7322820"/>
                  <a:gd name="connsiteY19" fmla="*/ 83820 h 2697480"/>
                  <a:gd name="connsiteX20" fmla="*/ 3977640 w 7322820"/>
                  <a:gd name="connsiteY20" fmla="*/ 91440 h 2697480"/>
                  <a:gd name="connsiteX21" fmla="*/ 4290060 w 7322820"/>
                  <a:gd name="connsiteY21" fmla="*/ 182880 h 2697480"/>
                  <a:gd name="connsiteX22" fmla="*/ 4579620 w 7322820"/>
                  <a:gd name="connsiteY22" fmla="*/ 259080 h 2697480"/>
                  <a:gd name="connsiteX23" fmla="*/ 4899660 w 7322820"/>
                  <a:gd name="connsiteY23" fmla="*/ 342900 h 2697480"/>
                  <a:gd name="connsiteX24" fmla="*/ 5433060 w 7322820"/>
                  <a:gd name="connsiteY24" fmla="*/ 449580 h 2697480"/>
                  <a:gd name="connsiteX25" fmla="*/ 5935980 w 7322820"/>
                  <a:gd name="connsiteY25" fmla="*/ 579120 h 2697480"/>
                  <a:gd name="connsiteX26" fmla="*/ 6217920 w 7322820"/>
                  <a:gd name="connsiteY26" fmla="*/ 678180 h 2697480"/>
                  <a:gd name="connsiteX27" fmla="*/ 6720840 w 7322820"/>
                  <a:gd name="connsiteY27" fmla="*/ 830580 h 2697480"/>
                  <a:gd name="connsiteX28" fmla="*/ 7322820 w 7322820"/>
                  <a:gd name="connsiteY28" fmla="*/ 998220 h 2697480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60420 w 7322820"/>
                  <a:gd name="connsiteY18" fmla="*/ 74412 h 2657592"/>
                  <a:gd name="connsiteX19" fmla="*/ 3695700 w 7322820"/>
                  <a:gd name="connsiteY19" fmla="*/ 43932 h 2657592"/>
                  <a:gd name="connsiteX20" fmla="*/ 3977640 w 7322820"/>
                  <a:gd name="connsiteY20" fmla="*/ 51552 h 2657592"/>
                  <a:gd name="connsiteX21" fmla="*/ 4290060 w 7322820"/>
                  <a:gd name="connsiteY21" fmla="*/ 142992 h 2657592"/>
                  <a:gd name="connsiteX22" fmla="*/ 4579620 w 7322820"/>
                  <a:gd name="connsiteY22" fmla="*/ 219192 h 2657592"/>
                  <a:gd name="connsiteX23" fmla="*/ 4899660 w 7322820"/>
                  <a:gd name="connsiteY23" fmla="*/ 303012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43932 h 2657592"/>
                  <a:gd name="connsiteX20" fmla="*/ 3977640 w 7322820"/>
                  <a:gd name="connsiteY20" fmla="*/ 51552 h 2657592"/>
                  <a:gd name="connsiteX21" fmla="*/ 4290060 w 7322820"/>
                  <a:gd name="connsiteY21" fmla="*/ 142992 h 2657592"/>
                  <a:gd name="connsiteX22" fmla="*/ 4579620 w 7322820"/>
                  <a:gd name="connsiteY22" fmla="*/ 219192 h 2657592"/>
                  <a:gd name="connsiteX23" fmla="*/ 4899660 w 7322820"/>
                  <a:gd name="connsiteY23" fmla="*/ 303012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51552 h 2657592"/>
                  <a:gd name="connsiteX21" fmla="*/ 4290060 w 7322820"/>
                  <a:gd name="connsiteY21" fmla="*/ 142992 h 2657592"/>
                  <a:gd name="connsiteX22" fmla="*/ 4579620 w 7322820"/>
                  <a:gd name="connsiteY22" fmla="*/ 219192 h 2657592"/>
                  <a:gd name="connsiteX23" fmla="*/ 4899660 w 7322820"/>
                  <a:gd name="connsiteY23" fmla="*/ 303012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90060 w 7322820"/>
                  <a:gd name="connsiteY21" fmla="*/ 142992 h 2657592"/>
                  <a:gd name="connsiteX22" fmla="*/ 4579620 w 7322820"/>
                  <a:gd name="connsiteY22" fmla="*/ 219192 h 2657592"/>
                  <a:gd name="connsiteX23" fmla="*/ 4899660 w 7322820"/>
                  <a:gd name="connsiteY23" fmla="*/ 303012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9620 w 7322820"/>
                  <a:gd name="connsiteY22" fmla="*/ 219192 h 2657592"/>
                  <a:gd name="connsiteX23" fmla="*/ 4899660 w 7322820"/>
                  <a:gd name="connsiteY23" fmla="*/ 303012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4253 w 7322820"/>
                  <a:gd name="connsiteY22" fmla="*/ 270478 h 2657592"/>
                  <a:gd name="connsiteX23" fmla="*/ 4899660 w 7322820"/>
                  <a:gd name="connsiteY23" fmla="*/ 303012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4253 w 7322820"/>
                  <a:gd name="connsiteY22" fmla="*/ 270478 h 2657592"/>
                  <a:gd name="connsiteX23" fmla="*/ 4851352 w 7322820"/>
                  <a:gd name="connsiteY23" fmla="*/ 354297 h 2657592"/>
                  <a:gd name="connsiteX24" fmla="*/ 5433060 w 7322820"/>
                  <a:gd name="connsiteY24" fmla="*/ 40969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4253 w 7322820"/>
                  <a:gd name="connsiteY22" fmla="*/ 270478 h 2657592"/>
                  <a:gd name="connsiteX23" fmla="*/ 4851352 w 7322820"/>
                  <a:gd name="connsiteY23" fmla="*/ 354297 h 2657592"/>
                  <a:gd name="connsiteX24" fmla="*/ 5438428 w 7322820"/>
                  <a:gd name="connsiteY24" fmla="*/ 443882 h 2657592"/>
                  <a:gd name="connsiteX25" fmla="*/ 5935980 w 7322820"/>
                  <a:gd name="connsiteY25" fmla="*/ 539232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4253 w 7322820"/>
                  <a:gd name="connsiteY22" fmla="*/ 270478 h 2657592"/>
                  <a:gd name="connsiteX23" fmla="*/ 4851352 w 7322820"/>
                  <a:gd name="connsiteY23" fmla="*/ 354297 h 2657592"/>
                  <a:gd name="connsiteX24" fmla="*/ 5438428 w 7322820"/>
                  <a:gd name="connsiteY24" fmla="*/ 443882 h 2657592"/>
                  <a:gd name="connsiteX25" fmla="*/ 5919877 w 7322820"/>
                  <a:gd name="connsiteY25" fmla="*/ 596216 h 2657592"/>
                  <a:gd name="connsiteX26" fmla="*/ 6217920 w 7322820"/>
                  <a:gd name="connsiteY26" fmla="*/ 638292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4253 w 7322820"/>
                  <a:gd name="connsiteY22" fmla="*/ 270478 h 2657592"/>
                  <a:gd name="connsiteX23" fmla="*/ 4851352 w 7322820"/>
                  <a:gd name="connsiteY23" fmla="*/ 354297 h 2657592"/>
                  <a:gd name="connsiteX24" fmla="*/ 5438428 w 7322820"/>
                  <a:gd name="connsiteY24" fmla="*/ 443882 h 2657592"/>
                  <a:gd name="connsiteX25" fmla="*/ 5919877 w 7322820"/>
                  <a:gd name="connsiteY25" fmla="*/ 596216 h 2657592"/>
                  <a:gd name="connsiteX26" fmla="*/ 6244759 w 7322820"/>
                  <a:gd name="connsiteY26" fmla="*/ 695276 h 2657592"/>
                  <a:gd name="connsiteX27" fmla="*/ 6720840 w 7322820"/>
                  <a:gd name="connsiteY27" fmla="*/ 790692 h 2657592"/>
                  <a:gd name="connsiteX28" fmla="*/ 7322820 w 7322820"/>
                  <a:gd name="connsiteY28" fmla="*/ 958332 h 2657592"/>
                  <a:gd name="connsiteX0" fmla="*/ 0 w 7322820"/>
                  <a:gd name="connsiteY0" fmla="*/ 2657592 h 2657592"/>
                  <a:gd name="connsiteX1" fmla="*/ 144780 w 7322820"/>
                  <a:gd name="connsiteY1" fmla="*/ 2627112 h 2657592"/>
                  <a:gd name="connsiteX2" fmla="*/ 274320 w 7322820"/>
                  <a:gd name="connsiteY2" fmla="*/ 2489952 h 2657592"/>
                  <a:gd name="connsiteX3" fmla="*/ 396240 w 7322820"/>
                  <a:gd name="connsiteY3" fmla="*/ 2185152 h 2657592"/>
                  <a:gd name="connsiteX4" fmla="*/ 518160 w 7322820"/>
                  <a:gd name="connsiteY4" fmla="*/ 2032752 h 2657592"/>
                  <a:gd name="connsiteX5" fmla="*/ 640080 w 7322820"/>
                  <a:gd name="connsiteY5" fmla="*/ 1788912 h 2657592"/>
                  <a:gd name="connsiteX6" fmla="*/ 830580 w 7322820"/>
                  <a:gd name="connsiteY6" fmla="*/ 1552692 h 2657592"/>
                  <a:gd name="connsiteX7" fmla="*/ 929640 w 7322820"/>
                  <a:gd name="connsiteY7" fmla="*/ 1438392 h 2657592"/>
                  <a:gd name="connsiteX8" fmla="*/ 998220 w 7322820"/>
                  <a:gd name="connsiteY8" fmla="*/ 1324092 h 2657592"/>
                  <a:gd name="connsiteX9" fmla="*/ 1135380 w 7322820"/>
                  <a:gd name="connsiteY9" fmla="*/ 1194552 h 2657592"/>
                  <a:gd name="connsiteX10" fmla="*/ 1226820 w 7322820"/>
                  <a:gd name="connsiteY10" fmla="*/ 1019292 h 2657592"/>
                  <a:gd name="connsiteX11" fmla="*/ 1303020 w 7322820"/>
                  <a:gd name="connsiteY11" fmla="*/ 965952 h 2657592"/>
                  <a:gd name="connsiteX12" fmla="*/ 1546860 w 7322820"/>
                  <a:gd name="connsiteY12" fmla="*/ 668772 h 2657592"/>
                  <a:gd name="connsiteX13" fmla="*/ 1859280 w 7322820"/>
                  <a:gd name="connsiteY13" fmla="*/ 379212 h 2657592"/>
                  <a:gd name="connsiteX14" fmla="*/ 2145724 w 7322820"/>
                  <a:gd name="connsiteY14" fmla="*/ 184802 h 2657592"/>
                  <a:gd name="connsiteX15" fmla="*/ 2450525 w 7322820"/>
                  <a:gd name="connsiteY15" fmla="*/ 76267 h 2657592"/>
                  <a:gd name="connsiteX16" fmla="*/ 2725373 w 7322820"/>
                  <a:gd name="connsiteY16" fmla="*/ 55195 h 2657592"/>
                  <a:gd name="connsiteX17" fmla="*/ 3050254 w 7322820"/>
                  <a:gd name="connsiteY17" fmla="*/ 0 h 2657592"/>
                  <a:gd name="connsiteX18" fmla="*/ 3349685 w 7322820"/>
                  <a:gd name="connsiteY18" fmla="*/ 102905 h 2657592"/>
                  <a:gd name="connsiteX19" fmla="*/ 3695700 w 7322820"/>
                  <a:gd name="connsiteY19" fmla="*/ 72425 h 2657592"/>
                  <a:gd name="connsiteX20" fmla="*/ 3977640 w 7322820"/>
                  <a:gd name="connsiteY20" fmla="*/ 85742 h 2657592"/>
                  <a:gd name="connsiteX21" fmla="*/ 4268590 w 7322820"/>
                  <a:gd name="connsiteY21" fmla="*/ 182881 h 2657592"/>
                  <a:gd name="connsiteX22" fmla="*/ 4574253 w 7322820"/>
                  <a:gd name="connsiteY22" fmla="*/ 270478 h 2657592"/>
                  <a:gd name="connsiteX23" fmla="*/ 4851352 w 7322820"/>
                  <a:gd name="connsiteY23" fmla="*/ 354297 h 2657592"/>
                  <a:gd name="connsiteX24" fmla="*/ 5438428 w 7322820"/>
                  <a:gd name="connsiteY24" fmla="*/ 443882 h 2657592"/>
                  <a:gd name="connsiteX25" fmla="*/ 5919877 w 7322820"/>
                  <a:gd name="connsiteY25" fmla="*/ 596216 h 2657592"/>
                  <a:gd name="connsiteX26" fmla="*/ 6244759 w 7322820"/>
                  <a:gd name="connsiteY26" fmla="*/ 695276 h 2657592"/>
                  <a:gd name="connsiteX27" fmla="*/ 6715472 w 7322820"/>
                  <a:gd name="connsiteY27" fmla="*/ 836279 h 2657592"/>
                  <a:gd name="connsiteX28" fmla="*/ 7322820 w 7322820"/>
                  <a:gd name="connsiteY28" fmla="*/ 958332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3977640 w 7258409"/>
                  <a:gd name="connsiteY20" fmla="*/ 85742 h 2657592"/>
                  <a:gd name="connsiteX21" fmla="*/ 4268590 w 7258409"/>
                  <a:gd name="connsiteY21" fmla="*/ 182881 h 2657592"/>
                  <a:gd name="connsiteX22" fmla="*/ 4574253 w 7258409"/>
                  <a:gd name="connsiteY22" fmla="*/ 270478 h 2657592"/>
                  <a:gd name="connsiteX23" fmla="*/ 4851352 w 7258409"/>
                  <a:gd name="connsiteY23" fmla="*/ 354297 h 2657592"/>
                  <a:gd name="connsiteX24" fmla="*/ 5438428 w 7258409"/>
                  <a:gd name="connsiteY24" fmla="*/ 443882 h 2657592"/>
                  <a:gd name="connsiteX25" fmla="*/ 5919877 w 7258409"/>
                  <a:gd name="connsiteY25" fmla="*/ 596216 h 2657592"/>
                  <a:gd name="connsiteX26" fmla="*/ 6244759 w 7258409"/>
                  <a:gd name="connsiteY26" fmla="*/ 695276 h 2657592"/>
                  <a:gd name="connsiteX27" fmla="*/ 6715472 w 7258409"/>
                  <a:gd name="connsiteY27" fmla="*/ 836279 h 2657592"/>
                  <a:gd name="connsiteX28" fmla="*/ 7258409 w 7258409"/>
                  <a:gd name="connsiteY28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4268590 w 7258409"/>
                  <a:gd name="connsiteY20" fmla="*/ 182881 h 2657592"/>
                  <a:gd name="connsiteX21" fmla="*/ 4574253 w 7258409"/>
                  <a:gd name="connsiteY21" fmla="*/ 270478 h 2657592"/>
                  <a:gd name="connsiteX22" fmla="*/ 4851352 w 7258409"/>
                  <a:gd name="connsiteY22" fmla="*/ 354297 h 2657592"/>
                  <a:gd name="connsiteX23" fmla="*/ 5438428 w 7258409"/>
                  <a:gd name="connsiteY23" fmla="*/ 443882 h 2657592"/>
                  <a:gd name="connsiteX24" fmla="*/ 5919877 w 7258409"/>
                  <a:gd name="connsiteY24" fmla="*/ 596216 h 2657592"/>
                  <a:gd name="connsiteX25" fmla="*/ 6244759 w 7258409"/>
                  <a:gd name="connsiteY25" fmla="*/ 695276 h 2657592"/>
                  <a:gd name="connsiteX26" fmla="*/ 6715472 w 7258409"/>
                  <a:gd name="connsiteY26" fmla="*/ 836279 h 2657592"/>
                  <a:gd name="connsiteX27" fmla="*/ 7258409 w 7258409"/>
                  <a:gd name="connsiteY27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4574253 w 7258409"/>
                  <a:gd name="connsiteY20" fmla="*/ 270478 h 2657592"/>
                  <a:gd name="connsiteX21" fmla="*/ 4851352 w 7258409"/>
                  <a:gd name="connsiteY21" fmla="*/ 354297 h 2657592"/>
                  <a:gd name="connsiteX22" fmla="*/ 5438428 w 7258409"/>
                  <a:gd name="connsiteY22" fmla="*/ 443882 h 2657592"/>
                  <a:gd name="connsiteX23" fmla="*/ 5919877 w 7258409"/>
                  <a:gd name="connsiteY23" fmla="*/ 596216 h 2657592"/>
                  <a:gd name="connsiteX24" fmla="*/ 6244759 w 7258409"/>
                  <a:gd name="connsiteY24" fmla="*/ 695276 h 2657592"/>
                  <a:gd name="connsiteX25" fmla="*/ 6715472 w 7258409"/>
                  <a:gd name="connsiteY25" fmla="*/ 836279 h 2657592"/>
                  <a:gd name="connsiteX26" fmla="*/ 7258409 w 7258409"/>
                  <a:gd name="connsiteY26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4851352 w 7258409"/>
                  <a:gd name="connsiteY20" fmla="*/ 354297 h 2657592"/>
                  <a:gd name="connsiteX21" fmla="*/ 5438428 w 7258409"/>
                  <a:gd name="connsiteY21" fmla="*/ 443882 h 2657592"/>
                  <a:gd name="connsiteX22" fmla="*/ 5919877 w 7258409"/>
                  <a:gd name="connsiteY22" fmla="*/ 596216 h 2657592"/>
                  <a:gd name="connsiteX23" fmla="*/ 6244759 w 7258409"/>
                  <a:gd name="connsiteY23" fmla="*/ 695276 h 2657592"/>
                  <a:gd name="connsiteX24" fmla="*/ 6715472 w 7258409"/>
                  <a:gd name="connsiteY24" fmla="*/ 836279 h 2657592"/>
                  <a:gd name="connsiteX25" fmla="*/ 7258409 w 7258409"/>
                  <a:gd name="connsiteY25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5438428 w 7258409"/>
                  <a:gd name="connsiteY20" fmla="*/ 443882 h 2657592"/>
                  <a:gd name="connsiteX21" fmla="*/ 5919877 w 7258409"/>
                  <a:gd name="connsiteY21" fmla="*/ 596216 h 2657592"/>
                  <a:gd name="connsiteX22" fmla="*/ 6244759 w 7258409"/>
                  <a:gd name="connsiteY22" fmla="*/ 695276 h 2657592"/>
                  <a:gd name="connsiteX23" fmla="*/ 6715472 w 7258409"/>
                  <a:gd name="connsiteY23" fmla="*/ 836279 h 2657592"/>
                  <a:gd name="connsiteX24" fmla="*/ 7258409 w 7258409"/>
                  <a:gd name="connsiteY24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5919877 w 7258409"/>
                  <a:gd name="connsiteY20" fmla="*/ 596216 h 2657592"/>
                  <a:gd name="connsiteX21" fmla="*/ 6244759 w 7258409"/>
                  <a:gd name="connsiteY21" fmla="*/ 695276 h 2657592"/>
                  <a:gd name="connsiteX22" fmla="*/ 6715472 w 7258409"/>
                  <a:gd name="connsiteY22" fmla="*/ 836279 h 2657592"/>
                  <a:gd name="connsiteX23" fmla="*/ 7258409 w 7258409"/>
                  <a:gd name="connsiteY23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6244759 w 7258409"/>
                  <a:gd name="connsiteY20" fmla="*/ 695276 h 2657592"/>
                  <a:gd name="connsiteX21" fmla="*/ 6715472 w 7258409"/>
                  <a:gd name="connsiteY21" fmla="*/ 836279 h 2657592"/>
                  <a:gd name="connsiteX22" fmla="*/ 7258409 w 7258409"/>
                  <a:gd name="connsiteY22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6715472 w 7258409"/>
                  <a:gd name="connsiteY20" fmla="*/ 836279 h 2657592"/>
                  <a:gd name="connsiteX21" fmla="*/ 7258409 w 7258409"/>
                  <a:gd name="connsiteY21" fmla="*/ 998220 h 2657592"/>
                  <a:gd name="connsiteX0" fmla="*/ 0 w 7258409"/>
                  <a:gd name="connsiteY0" fmla="*/ 2657592 h 2657592"/>
                  <a:gd name="connsiteX1" fmla="*/ 144780 w 7258409"/>
                  <a:gd name="connsiteY1" fmla="*/ 2627112 h 2657592"/>
                  <a:gd name="connsiteX2" fmla="*/ 274320 w 7258409"/>
                  <a:gd name="connsiteY2" fmla="*/ 2489952 h 2657592"/>
                  <a:gd name="connsiteX3" fmla="*/ 396240 w 7258409"/>
                  <a:gd name="connsiteY3" fmla="*/ 2185152 h 2657592"/>
                  <a:gd name="connsiteX4" fmla="*/ 518160 w 7258409"/>
                  <a:gd name="connsiteY4" fmla="*/ 2032752 h 2657592"/>
                  <a:gd name="connsiteX5" fmla="*/ 640080 w 7258409"/>
                  <a:gd name="connsiteY5" fmla="*/ 1788912 h 2657592"/>
                  <a:gd name="connsiteX6" fmla="*/ 830580 w 7258409"/>
                  <a:gd name="connsiteY6" fmla="*/ 1552692 h 2657592"/>
                  <a:gd name="connsiteX7" fmla="*/ 929640 w 7258409"/>
                  <a:gd name="connsiteY7" fmla="*/ 1438392 h 2657592"/>
                  <a:gd name="connsiteX8" fmla="*/ 998220 w 7258409"/>
                  <a:gd name="connsiteY8" fmla="*/ 1324092 h 2657592"/>
                  <a:gd name="connsiteX9" fmla="*/ 1135380 w 7258409"/>
                  <a:gd name="connsiteY9" fmla="*/ 1194552 h 2657592"/>
                  <a:gd name="connsiteX10" fmla="*/ 1226820 w 7258409"/>
                  <a:gd name="connsiteY10" fmla="*/ 1019292 h 2657592"/>
                  <a:gd name="connsiteX11" fmla="*/ 1303020 w 7258409"/>
                  <a:gd name="connsiteY11" fmla="*/ 965952 h 2657592"/>
                  <a:gd name="connsiteX12" fmla="*/ 1546860 w 7258409"/>
                  <a:gd name="connsiteY12" fmla="*/ 668772 h 2657592"/>
                  <a:gd name="connsiteX13" fmla="*/ 1859280 w 7258409"/>
                  <a:gd name="connsiteY13" fmla="*/ 379212 h 2657592"/>
                  <a:gd name="connsiteX14" fmla="*/ 2145724 w 7258409"/>
                  <a:gd name="connsiteY14" fmla="*/ 184802 h 2657592"/>
                  <a:gd name="connsiteX15" fmla="*/ 2450525 w 7258409"/>
                  <a:gd name="connsiteY15" fmla="*/ 76267 h 2657592"/>
                  <a:gd name="connsiteX16" fmla="*/ 2725373 w 7258409"/>
                  <a:gd name="connsiteY16" fmla="*/ 55195 h 2657592"/>
                  <a:gd name="connsiteX17" fmla="*/ 3050254 w 7258409"/>
                  <a:gd name="connsiteY17" fmla="*/ 0 h 2657592"/>
                  <a:gd name="connsiteX18" fmla="*/ 3349685 w 7258409"/>
                  <a:gd name="connsiteY18" fmla="*/ 102905 h 2657592"/>
                  <a:gd name="connsiteX19" fmla="*/ 3695700 w 7258409"/>
                  <a:gd name="connsiteY19" fmla="*/ 72425 h 2657592"/>
                  <a:gd name="connsiteX20" fmla="*/ 7258409 w 7258409"/>
                  <a:gd name="connsiteY20" fmla="*/ 998220 h 2657592"/>
                  <a:gd name="connsiteX0" fmla="*/ 0 w 3695700"/>
                  <a:gd name="connsiteY0" fmla="*/ 2657592 h 2657592"/>
                  <a:gd name="connsiteX1" fmla="*/ 144780 w 3695700"/>
                  <a:gd name="connsiteY1" fmla="*/ 2627112 h 2657592"/>
                  <a:gd name="connsiteX2" fmla="*/ 274320 w 3695700"/>
                  <a:gd name="connsiteY2" fmla="*/ 2489952 h 2657592"/>
                  <a:gd name="connsiteX3" fmla="*/ 396240 w 3695700"/>
                  <a:gd name="connsiteY3" fmla="*/ 2185152 h 2657592"/>
                  <a:gd name="connsiteX4" fmla="*/ 518160 w 3695700"/>
                  <a:gd name="connsiteY4" fmla="*/ 2032752 h 2657592"/>
                  <a:gd name="connsiteX5" fmla="*/ 640080 w 3695700"/>
                  <a:gd name="connsiteY5" fmla="*/ 1788912 h 2657592"/>
                  <a:gd name="connsiteX6" fmla="*/ 830580 w 3695700"/>
                  <a:gd name="connsiteY6" fmla="*/ 1552692 h 2657592"/>
                  <a:gd name="connsiteX7" fmla="*/ 929640 w 3695700"/>
                  <a:gd name="connsiteY7" fmla="*/ 1438392 h 2657592"/>
                  <a:gd name="connsiteX8" fmla="*/ 998220 w 3695700"/>
                  <a:gd name="connsiteY8" fmla="*/ 1324092 h 2657592"/>
                  <a:gd name="connsiteX9" fmla="*/ 1135380 w 3695700"/>
                  <a:gd name="connsiteY9" fmla="*/ 1194552 h 2657592"/>
                  <a:gd name="connsiteX10" fmla="*/ 1226820 w 3695700"/>
                  <a:gd name="connsiteY10" fmla="*/ 1019292 h 2657592"/>
                  <a:gd name="connsiteX11" fmla="*/ 1303020 w 3695700"/>
                  <a:gd name="connsiteY11" fmla="*/ 965952 h 2657592"/>
                  <a:gd name="connsiteX12" fmla="*/ 1546860 w 3695700"/>
                  <a:gd name="connsiteY12" fmla="*/ 668772 h 2657592"/>
                  <a:gd name="connsiteX13" fmla="*/ 1859280 w 3695700"/>
                  <a:gd name="connsiteY13" fmla="*/ 379212 h 2657592"/>
                  <a:gd name="connsiteX14" fmla="*/ 2145724 w 3695700"/>
                  <a:gd name="connsiteY14" fmla="*/ 184802 h 2657592"/>
                  <a:gd name="connsiteX15" fmla="*/ 2450525 w 3695700"/>
                  <a:gd name="connsiteY15" fmla="*/ 76267 h 2657592"/>
                  <a:gd name="connsiteX16" fmla="*/ 2725373 w 3695700"/>
                  <a:gd name="connsiteY16" fmla="*/ 55195 h 2657592"/>
                  <a:gd name="connsiteX17" fmla="*/ 3050254 w 3695700"/>
                  <a:gd name="connsiteY17" fmla="*/ 0 h 2657592"/>
                  <a:gd name="connsiteX18" fmla="*/ 3349685 w 3695700"/>
                  <a:gd name="connsiteY18" fmla="*/ 102905 h 2657592"/>
                  <a:gd name="connsiteX19" fmla="*/ 3695700 w 3695700"/>
                  <a:gd name="connsiteY19" fmla="*/ 72425 h 265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695700" h="2657592">
                    <a:moveTo>
                      <a:pt x="0" y="2657592"/>
                    </a:moveTo>
                    <a:lnTo>
                      <a:pt x="144780" y="2627112"/>
                    </a:lnTo>
                    <a:lnTo>
                      <a:pt x="274320" y="2489952"/>
                    </a:lnTo>
                    <a:lnTo>
                      <a:pt x="396240" y="2185152"/>
                    </a:lnTo>
                    <a:lnTo>
                      <a:pt x="518160" y="2032752"/>
                    </a:lnTo>
                    <a:lnTo>
                      <a:pt x="640080" y="1788912"/>
                    </a:lnTo>
                    <a:lnTo>
                      <a:pt x="830580" y="1552692"/>
                    </a:lnTo>
                    <a:lnTo>
                      <a:pt x="929640" y="1438392"/>
                    </a:lnTo>
                    <a:lnTo>
                      <a:pt x="998220" y="1324092"/>
                    </a:lnTo>
                    <a:lnTo>
                      <a:pt x="1135380" y="1194552"/>
                    </a:lnTo>
                    <a:lnTo>
                      <a:pt x="1226820" y="1019292"/>
                    </a:lnTo>
                    <a:lnTo>
                      <a:pt x="1303020" y="965952"/>
                    </a:lnTo>
                    <a:lnTo>
                      <a:pt x="1546860" y="668772"/>
                    </a:lnTo>
                    <a:lnTo>
                      <a:pt x="1859280" y="379212"/>
                    </a:lnTo>
                    <a:lnTo>
                      <a:pt x="2145724" y="184802"/>
                    </a:lnTo>
                    <a:lnTo>
                      <a:pt x="2450525" y="76267"/>
                    </a:lnTo>
                    <a:lnTo>
                      <a:pt x="2725373" y="55195"/>
                    </a:lnTo>
                    <a:lnTo>
                      <a:pt x="3050254" y="0"/>
                    </a:lnTo>
                    <a:lnTo>
                      <a:pt x="3349685" y="102905"/>
                    </a:lnTo>
                    <a:lnTo>
                      <a:pt x="3695700" y="72425"/>
                    </a:lnTo>
                  </a:path>
                </a:pathLst>
              </a:cu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>
                  <a:solidFill>
                    <a:srgbClr val="001965"/>
                  </a:solidFill>
                </a:endParaRPr>
              </a:p>
            </p:txBody>
          </p:sp>
          <p:sp>
            <p:nvSpPr>
              <p:cNvPr id="86" name="Rectangle 70"/>
              <p:cNvSpPr>
                <a:spLocks noChangeArrowheads="1"/>
              </p:cNvSpPr>
              <p:nvPr/>
            </p:nvSpPr>
            <p:spPr bwMode="auto">
              <a:xfrm>
                <a:off x="1005619" y="4081801"/>
                <a:ext cx="54502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87" name="Rectangle 71"/>
              <p:cNvSpPr>
                <a:spLocks noChangeArrowheads="1"/>
              </p:cNvSpPr>
              <p:nvPr/>
            </p:nvSpPr>
            <p:spPr bwMode="auto">
              <a:xfrm>
                <a:off x="2610474" y="4081801"/>
                <a:ext cx="109004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30</a:t>
                </a:r>
              </a:p>
            </p:txBody>
          </p:sp>
          <p:sp>
            <p:nvSpPr>
              <p:cNvPr id="88" name="Rectangle 72"/>
              <p:cNvSpPr>
                <a:spLocks noChangeArrowheads="1"/>
              </p:cNvSpPr>
              <p:nvPr/>
            </p:nvSpPr>
            <p:spPr bwMode="auto">
              <a:xfrm>
                <a:off x="4216284" y="4081801"/>
                <a:ext cx="109004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60</a:t>
                </a:r>
              </a:p>
            </p:txBody>
          </p:sp>
          <p:grpSp>
            <p:nvGrpSpPr>
              <p:cNvPr id="124" name="Group 123"/>
              <p:cNvGrpSpPr/>
              <p:nvPr/>
            </p:nvGrpSpPr>
            <p:grpSpPr>
              <a:xfrm>
                <a:off x="932129" y="1605305"/>
                <a:ext cx="110050" cy="2393465"/>
                <a:chOff x="892536" y="1424861"/>
                <a:chExt cx="107868" cy="2863819"/>
              </a:xfrm>
            </p:grpSpPr>
            <p:sp>
              <p:nvSpPr>
                <p:cNvPr id="179" name="Line 632"/>
                <p:cNvSpPr>
                  <a:spLocks noChangeShapeType="1"/>
                </p:cNvSpPr>
                <p:nvPr/>
              </p:nvSpPr>
              <p:spPr bwMode="auto">
                <a:xfrm>
                  <a:off x="994052" y="4286630"/>
                  <a:ext cx="1588" cy="2050"/>
                </a:xfrm>
                <a:prstGeom prst="line">
                  <a:avLst/>
                </a:prstGeom>
                <a:noFill/>
                <a:ln w="2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000">
                    <a:solidFill>
                      <a:srgbClr val="001965"/>
                    </a:solidFill>
                    <a:latin typeface="Verdana"/>
                    <a:cs typeface="Arial" pitchFamily="34" charset="0"/>
                  </a:endParaRPr>
                </a:p>
              </p:txBody>
            </p:sp>
            <p:cxnSp>
              <p:nvCxnSpPr>
                <p:cNvPr id="180" name="Straight Connector 179"/>
                <p:cNvCxnSpPr/>
                <p:nvPr/>
              </p:nvCxnSpPr>
              <p:spPr>
                <a:xfrm flipH="1">
                  <a:off x="1000403" y="1424861"/>
                  <a:ext cx="1" cy="279259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Straight Connector 180"/>
                <p:cNvCxnSpPr/>
                <p:nvPr/>
              </p:nvCxnSpPr>
              <p:spPr>
                <a:xfrm>
                  <a:off x="892536" y="4226330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2" name="Straight Connector 181"/>
                <p:cNvCxnSpPr/>
                <p:nvPr/>
              </p:nvCxnSpPr>
              <p:spPr>
                <a:xfrm>
                  <a:off x="892536" y="3761988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Straight Connector 182"/>
                <p:cNvCxnSpPr/>
                <p:nvPr/>
              </p:nvCxnSpPr>
              <p:spPr>
                <a:xfrm>
                  <a:off x="892536" y="3297649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4" name="Straight Connector 183"/>
                <p:cNvCxnSpPr/>
                <p:nvPr/>
              </p:nvCxnSpPr>
              <p:spPr>
                <a:xfrm>
                  <a:off x="892536" y="2833310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Straight Connector 184"/>
                <p:cNvCxnSpPr/>
                <p:nvPr/>
              </p:nvCxnSpPr>
              <p:spPr>
                <a:xfrm>
                  <a:off x="892536" y="2368972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6" name="Straight Connector 185"/>
                <p:cNvCxnSpPr/>
                <p:nvPr/>
              </p:nvCxnSpPr>
              <p:spPr>
                <a:xfrm>
                  <a:off x="892536" y="1904631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Straight Connector 186"/>
                <p:cNvCxnSpPr/>
                <p:nvPr/>
              </p:nvCxnSpPr>
              <p:spPr>
                <a:xfrm>
                  <a:off x="892536" y="1440292"/>
                  <a:ext cx="105859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" name="Group 153"/>
              <p:cNvGrpSpPr/>
              <p:nvPr/>
            </p:nvGrpSpPr>
            <p:grpSpPr>
              <a:xfrm>
                <a:off x="1038825" y="3946244"/>
                <a:ext cx="3236653" cy="451440"/>
                <a:chOff x="1052189" y="4242504"/>
                <a:chExt cx="3236653" cy="540151"/>
              </a:xfrm>
            </p:grpSpPr>
            <p:sp>
              <p:nvSpPr>
                <p:cNvPr id="172" name="Rectangle 100"/>
                <p:cNvSpPr>
                  <a:spLocks noChangeArrowheads="1"/>
                </p:cNvSpPr>
                <p:nvPr/>
              </p:nvSpPr>
              <p:spPr bwMode="auto">
                <a:xfrm>
                  <a:off x="2414645" y="4613312"/>
                  <a:ext cx="527388" cy="1693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GB" sz="1100" dirty="0">
                      <a:solidFill>
                        <a:srgbClr val="001965"/>
                      </a:solidFill>
                      <a:latin typeface="Verdana"/>
                      <a:cs typeface="Arial" pitchFamily="34" charset="0"/>
                    </a:rPr>
                    <a:t>Time (min)</a:t>
                  </a:r>
                </a:p>
              </p:txBody>
            </p:sp>
            <p:cxnSp>
              <p:nvCxnSpPr>
                <p:cNvPr id="173" name="Straight Connector 172"/>
                <p:cNvCxnSpPr/>
                <p:nvPr/>
              </p:nvCxnSpPr>
              <p:spPr>
                <a:xfrm rot="16200000" flipH="1">
                  <a:off x="987578" y="4310125"/>
                  <a:ext cx="129224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Straight Connector 173"/>
                <p:cNvCxnSpPr/>
                <p:nvPr/>
              </p:nvCxnSpPr>
              <p:spPr>
                <a:xfrm rot="16200000" flipH="1">
                  <a:off x="4214432" y="4310125"/>
                  <a:ext cx="129224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Straight Connector 176"/>
                <p:cNvCxnSpPr/>
                <p:nvPr/>
              </p:nvCxnSpPr>
              <p:spPr>
                <a:xfrm>
                  <a:off x="1056042" y="4242504"/>
                  <a:ext cx="3232800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8" name="Straight Connector 177"/>
                <p:cNvCxnSpPr/>
                <p:nvPr/>
              </p:nvCxnSpPr>
              <p:spPr>
                <a:xfrm rot="16200000" flipH="1">
                  <a:off x="2607271" y="4310137"/>
                  <a:ext cx="129224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6" name="Rectangle 37"/>
              <p:cNvSpPr>
                <a:spLocks noChangeArrowheads="1"/>
              </p:cNvSpPr>
              <p:nvPr/>
            </p:nvSpPr>
            <p:spPr bwMode="auto">
              <a:xfrm>
                <a:off x="853129" y="3871803"/>
                <a:ext cx="54502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164" name="Rectangle 38"/>
              <p:cNvSpPr>
                <a:spLocks noChangeArrowheads="1"/>
              </p:cNvSpPr>
              <p:nvPr/>
            </p:nvSpPr>
            <p:spPr bwMode="auto">
              <a:xfrm>
                <a:off x="798626" y="3483818"/>
                <a:ext cx="109004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50</a:t>
                </a:r>
              </a:p>
            </p:txBody>
          </p:sp>
          <p:sp>
            <p:nvSpPr>
              <p:cNvPr id="165" name="Rectangle 39"/>
              <p:cNvSpPr>
                <a:spLocks noChangeArrowheads="1"/>
              </p:cNvSpPr>
              <p:nvPr/>
            </p:nvSpPr>
            <p:spPr bwMode="auto">
              <a:xfrm>
                <a:off x="744125" y="3095833"/>
                <a:ext cx="163506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100</a:t>
                </a:r>
              </a:p>
            </p:txBody>
          </p:sp>
          <p:sp>
            <p:nvSpPr>
              <p:cNvPr id="166" name="Rectangle 40"/>
              <p:cNvSpPr>
                <a:spLocks noChangeArrowheads="1"/>
              </p:cNvSpPr>
              <p:nvPr/>
            </p:nvSpPr>
            <p:spPr bwMode="auto">
              <a:xfrm>
                <a:off x="744125" y="2707849"/>
                <a:ext cx="163506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150</a:t>
                </a:r>
              </a:p>
            </p:txBody>
          </p:sp>
          <p:sp>
            <p:nvSpPr>
              <p:cNvPr id="167" name="Rectangle 41"/>
              <p:cNvSpPr>
                <a:spLocks noChangeArrowheads="1"/>
              </p:cNvSpPr>
              <p:nvPr/>
            </p:nvSpPr>
            <p:spPr bwMode="auto">
              <a:xfrm>
                <a:off x="744125" y="2319865"/>
                <a:ext cx="163506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200</a:t>
                </a:r>
              </a:p>
            </p:txBody>
          </p:sp>
          <p:sp>
            <p:nvSpPr>
              <p:cNvPr id="169" name="Rectangle 42"/>
              <p:cNvSpPr>
                <a:spLocks noChangeArrowheads="1"/>
              </p:cNvSpPr>
              <p:nvPr/>
            </p:nvSpPr>
            <p:spPr bwMode="auto">
              <a:xfrm>
                <a:off x="744125" y="1931881"/>
                <a:ext cx="163506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250</a:t>
                </a:r>
              </a:p>
            </p:txBody>
          </p:sp>
          <p:sp>
            <p:nvSpPr>
              <p:cNvPr id="170" name="Rectangle 43"/>
              <p:cNvSpPr>
                <a:spLocks noChangeArrowheads="1"/>
              </p:cNvSpPr>
              <p:nvPr/>
            </p:nvSpPr>
            <p:spPr bwMode="auto">
              <a:xfrm>
                <a:off x="744125" y="1543896"/>
                <a:ext cx="163506" cy="12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300</a:t>
                </a:r>
              </a:p>
            </p:txBody>
          </p:sp>
          <p:sp>
            <p:nvSpPr>
              <p:cNvPr id="171" name="Rectangle 36"/>
              <p:cNvSpPr>
                <a:spLocks noChangeArrowheads="1"/>
              </p:cNvSpPr>
              <p:nvPr/>
            </p:nvSpPr>
            <p:spPr bwMode="auto">
              <a:xfrm rot="16200000">
                <a:off x="-264913" y="2764095"/>
                <a:ext cx="1602284" cy="1128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dirty="0" err="1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IAsp</a:t>
                </a:r>
                <a:r>
                  <a:rPr lang="en-GB" sz="11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 serum conc. (</a:t>
                </a:r>
                <a:r>
                  <a:rPr lang="en-GB" sz="1100" dirty="0" err="1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pmol</a:t>
                </a:r>
                <a:r>
                  <a:rPr lang="en-GB" sz="11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/L)</a:t>
                </a: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5105764" y="3343785"/>
              <a:ext cx="273588" cy="525464"/>
              <a:chOff x="5105764" y="3343785"/>
              <a:chExt cx="273588" cy="525464"/>
            </a:xfrm>
          </p:grpSpPr>
          <p:sp>
            <p:nvSpPr>
              <p:cNvPr id="193" name="TextBox 192"/>
              <p:cNvSpPr txBox="1"/>
              <p:nvPr/>
            </p:nvSpPr>
            <p:spPr>
              <a:xfrm>
                <a:off x="5336070" y="3753450"/>
                <a:ext cx="43282" cy="1157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eaLnBrk="0" hangingPunct="0"/>
                <a:r>
                  <a:rPr lang="en-GB" sz="900" b="1" dirty="0">
                    <a:solidFill>
                      <a:srgbClr val="82786F"/>
                    </a:solidFill>
                  </a:rPr>
                  <a:t>9</a:t>
                </a:r>
              </a:p>
            </p:txBody>
          </p:sp>
          <p:sp>
            <p:nvSpPr>
              <p:cNvPr id="194" name="Oval 193"/>
              <p:cNvSpPr>
                <a:spLocks/>
              </p:cNvSpPr>
              <p:nvPr/>
            </p:nvSpPr>
            <p:spPr bwMode="auto">
              <a:xfrm>
                <a:off x="5105764" y="3343786"/>
                <a:ext cx="57600" cy="72000"/>
              </a:xfrm>
              <a:prstGeom prst="ellipse">
                <a:avLst/>
              </a:prstGeom>
              <a:solidFill>
                <a:srgbClr val="E64A0E"/>
              </a:solidFill>
              <a:ln w="1905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54000" tIns="54000" rIns="54000" bIns="54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hangingPunct="0">
                  <a:spcBef>
                    <a:spcPct val="50000"/>
                  </a:spcBef>
                </a:pPr>
                <a:endParaRPr lang="en-GB" sz="1350" b="1">
                  <a:solidFill>
                    <a:srgbClr val="001965"/>
                  </a:solidFill>
                </a:endParaRPr>
              </a:p>
            </p:txBody>
          </p:sp>
          <p:sp>
            <p:nvSpPr>
              <p:cNvPr id="195" name="Oval 194"/>
              <p:cNvSpPr>
                <a:spLocks/>
              </p:cNvSpPr>
              <p:nvPr/>
            </p:nvSpPr>
            <p:spPr bwMode="auto">
              <a:xfrm>
                <a:off x="5299919" y="3343785"/>
                <a:ext cx="57600" cy="72239"/>
              </a:xfrm>
              <a:prstGeom prst="ellipse">
                <a:avLst/>
              </a:prstGeom>
              <a:solidFill>
                <a:srgbClr val="E64A0E"/>
              </a:solidFill>
              <a:ln w="19050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54000" tIns="54000" rIns="54000" bIns="54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800" eaLnBrk="0" hangingPunct="0">
                  <a:spcBef>
                    <a:spcPct val="50000"/>
                  </a:spcBef>
                </a:pPr>
                <a:endParaRPr lang="en-GB" sz="1350" b="1">
                  <a:solidFill>
                    <a:srgbClr val="001965"/>
                  </a:solidFill>
                </a:endParaRPr>
              </a:p>
            </p:txBody>
          </p:sp>
          <p:sp>
            <p:nvSpPr>
              <p:cNvPr id="197" name="TextBox 196"/>
              <p:cNvSpPr txBox="1"/>
              <p:nvPr/>
            </p:nvSpPr>
            <p:spPr>
              <a:xfrm>
                <a:off x="5124840" y="3753449"/>
                <a:ext cx="43282" cy="1157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eaLnBrk="0" hangingPunct="0"/>
                <a:r>
                  <a:rPr lang="en-GB" sz="900" b="1" dirty="0">
                    <a:solidFill>
                      <a:srgbClr val="001965"/>
                    </a:solidFill>
                  </a:rPr>
                  <a:t>4</a:t>
                </a:r>
              </a:p>
            </p:txBody>
          </p:sp>
          <p:cxnSp>
            <p:nvCxnSpPr>
              <p:cNvPr id="198" name="Straight Arrow Connector 197"/>
              <p:cNvCxnSpPr/>
              <p:nvPr/>
            </p:nvCxnSpPr>
            <p:spPr bwMode="auto">
              <a:xfrm flipV="1">
                <a:off x="5141764" y="3508044"/>
                <a:ext cx="0" cy="216001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cxnSp>
            <p:nvCxnSpPr>
              <p:cNvPr id="199" name="Straight Arrow Connector 198"/>
              <p:cNvCxnSpPr/>
              <p:nvPr/>
            </p:nvCxnSpPr>
            <p:spPr bwMode="auto">
              <a:xfrm flipV="1">
                <a:off x="5335920" y="3508044"/>
                <a:ext cx="0" cy="216001"/>
              </a:xfrm>
              <a:prstGeom prst="straightConnector1">
                <a:avLst/>
              </a:prstGeom>
              <a:solidFill>
                <a:schemeClr val="accent1"/>
              </a:solidFill>
              <a:ln w="25400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</p:grpSp>
        <p:cxnSp>
          <p:nvCxnSpPr>
            <p:cNvPr id="7" name="Straight Connector 6"/>
            <p:cNvCxnSpPr/>
            <p:nvPr/>
          </p:nvCxnSpPr>
          <p:spPr>
            <a:xfrm flipH="1">
              <a:off x="6563865" y="1552678"/>
              <a:ext cx="0" cy="1915232"/>
            </a:xfrm>
            <a:prstGeom prst="line">
              <a:avLst/>
            </a:prstGeom>
            <a:ln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/>
        </p:nvGrpSpPr>
        <p:grpSpPr>
          <a:xfrm>
            <a:off x="4303896" y="4226489"/>
            <a:ext cx="3925289" cy="1592343"/>
            <a:chOff x="4303891" y="3369236"/>
            <a:chExt cx="3925289" cy="1592343"/>
          </a:xfrm>
        </p:grpSpPr>
        <p:sp>
          <p:nvSpPr>
            <p:cNvPr id="271" name="Freeform 270"/>
            <p:cNvSpPr/>
            <p:nvPr/>
          </p:nvSpPr>
          <p:spPr>
            <a:xfrm>
              <a:off x="5474828" y="3997793"/>
              <a:ext cx="1079320" cy="578345"/>
            </a:xfrm>
            <a:custGeom>
              <a:avLst/>
              <a:gdLst>
                <a:gd name="connsiteX0" fmla="*/ 0 w 7277100"/>
                <a:gd name="connsiteY0" fmla="*/ 2537460 h 2537460"/>
                <a:gd name="connsiteX1" fmla="*/ 243840 w 7277100"/>
                <a:gd name="connsiteY1" fmla="*/ 2529840 h 2537460"/>
                <a:gd name="connsiteX2" fmla="*/ 304800 w 7277100"/>
                <a:gd name="connsiteY2" fmla="*/ 2499360 h 2537460"/>
                <a:gd name="connsiteX3" fmla="*/ 403860 w 7277100"/>
                <a:gd name="connsiteY3" fmla="*/ 2491740 h 2537460"/>
                <a:gd name="connsiteX4" fmla="*/ 548640 w 7277100"/>
                <a:gd name="connsiteY4" fmla="*/ 2407920 h 2537460"/>
                <a:gd name="connsiteX5" fmla="*/ 662940 w 7277100"/>
                <a:gd name="connsiteY5" fmla="*/ 2278380 h 2537460"/>
                <a:gd name="connsiteX6" fmla="*/ 754380 w 7277100"/>
                <a:gd name="connsiteY6" fmla="*/ 2255520 h 2537460"/>
                <a:gd name="connsiteX7" fmla="*/ 883920 w 7277100"/>
                <a:gd name="connsiteY7" fmla="*/ 2087880 h 2537460"/>
                <a:gd name="connsiteX8" fmla="*/ 967740 w 7277100"/>
                <a:gd name="connsiteY8" fmla="*/ 2026920 h 2537460"/>
                <a:gd name="connsiteX9" fmla="*/ 1028700 w 7277100"/>
                <a:gd name="connsiteY9" fmla="*/ 1889760 h 2537460"/>
                <a:gd name="connsiteX10" fmla="*/ 1089660 w 7277100"/>
                <a:gd name="connsiteY10" fmla="*/ 1783080 h 2537460"/>
                <a:gd name="connsiteX11" fmla="*/ 1203960 w 7277100"/>
                <a:gd name="connsiteY11" fmla="*/ 1508760 h 2537460"/>
                <a:gd name="connsiteX12" fmla="*/ 1280160 w 7277100"/>
                <a:gd name="connsiteY12" fmla="*/ 1379220 h 2537460"/>
                <a:gd name="connsiteX13" fmla="*/ 1394460 w 7277100"/>
                <a:gd name="connsiteY13" fmla="*/ 1303020 h 2537460"/>
                <a:gd name="connsiteX14" fmla="*/ 1455420 w 7277100"/>
                <a:gd name="connsiteY14" fmla="*/ 1188720 h 2537460"/>
                <a:gd name="connsiteX15" fmla="*/ 1524000 w 7277100"/>
                <a:gd name="connsiteY15" fmla="*/ 1127760 h 2537460"/>
                <a:gd name="connsiteX16" fmla="*/ 1584960 w 7277100"/>
                <a:gd name="connsiteY16" fmla="*/ 1112520 h 2537460"/>
                <a:gd name="connsiteX17" fmla="*/ 1630680 w 7277100"/>
                <a:gd name="connsiteY17" fmla="*/ 1127760 h 2537460"/>
                <a:gd name="connsiteX18" fmla="*/ 1691640 w 7277100"/>
                <a:gd name="connsiteY18" fmla="*/ 1051560 h 2537460"/>
                <a:gd name="connsiteX19" fmla="*/ 1737360 w 7277100"/>
                <a:gd name="connsiteY19" fmla="*/ 1005840 h 2537460"/>
                <a:gd name="connsiteX20" fmla="*/ 1882140 w 7277100"/>
                <a:gd name="connsiteY20" fmla="*/ 1021080 h 2537460"/>
                <a:gd name="connsiteX21" fmla="*/ 2004060 w 7277100"/>
                <a:gd name="connsiteY21" fmla="*/ 1036320 h 2537460"/>
                <a:gd name="connsiteX22" fmla="*/ 2133600 w 7277100"/>
                <a:gd name="connsiteY22" fmla="*/ 1082040 h 2537460"/>
                <a:gd name="connsiteX23" fmla="*/ 2202180 w 7277100"/>
                <a:gd name="connsiteY23" fmla="*/ 1051560 h 2537460"/>
                <a:gd name="connsiteX24" fmla="*/ 2377440 w 7277100"/>
                <a:gd name="connsiteY24" fmla="*/ 1066800 h 2537460"/>
                <a:gd name="connsiteX25" fmla="*/ 2446020 w 7277100"/>
                <a:gd name="connsiteY25" fmla="*/ 1036320 h 2537460"/>
                <a:gd name="connsiteX26" fmla="*/ 2499360 w 7277100"/>
                <a:gd name="connsiteY26" fmla="*/ 937260 h 2537460"/>
                <a:gd name="connsiteX27" fmla="*/ 2606040 w 7277100"/>
                <a:gd name="connsiteY27" fmla="*/ 899160 h 2537460"/>
                <a:gd name="connsiteX28" fmla="*/ 2667000 w 7277100"/>
                <a:gd name="connsiteY28" fmla="*/ 822960 h 2537460"/>
                <a:gd name="connsiteX29" fmla="*/ 2796540 w 7277100"/>
                <a:gd name="connsiteY29" fmla="*/ 822960 h 2537460"/>
                <a:gd name="connsiteX30" fmla="*/ 2910840 w 7277100"/>
                <a:gd name="connsiteY30" fmla="*/ 830580 h 2537460"/>
                <a:gd name="connsiteX31" fmla="*/ 3048000 w 7277100"/>
                <a:gd name="connsiteY31" fmla="*/ 800100 h 2537460"/>
                <a:gd name="connsiteX32" fmla="*/ 3101340 w 7277100"/>
                <a:gd name="connsiteY32" fmla="*/ 723900 h 2537460"/>
                <a:gd name="connsiteX33" fmla="*/ 3200400 w 7277100"/>
                <a:gd name="connsiteY33" fmla="*/ 701040 h 2537460"/>
                <a:gd name="connsiteX34" fmla="*/ 3276600 w 7277100"/>
                <a:gd name="connsiteY34" fmla="*/ 640080 h 2537460"/>
                <a:gd name="connsiteX35" fmla="*/ 3390900 w 7277100"/>
                <a:gd name="connsiteY35" fmla="*/ 579120 h 2537460"/>
                <a:gd name="connsiteX36" fmla="*/ 3459480 w 7277100"/>
                <a:gd name="connsiteY36" fmla="*/ 525780 h 2537460"/>
                <a:gd name="connsiteX37" fmla="*/ 3520440 w 7277100"/>
                <a:gd name="connsiteY37" fmla="*/ 441960 h 2537460"/>
                <a:gd name="connsiteX38" fmla="*/ 3566160 w 7277100"/>
                <a:gd name="connsiteY38" fmla="*/ 419100 h 2537460"/>
                <a:gd name="connsiteX39" fmla="*/ 3634740 w 7277100"/>
                <a:gd name="connsiteY39" fmla="*/ 419100 h 2537460"/>
                <a:gd name="connsiteX40" fmla="*/ 3718560 w 7277100"/>
                <a:gd name="connsiteY40" fmla="*/ 464820 h 2537460"/>
                <a:gd name="connsiteX41" fmla="*/ 3794760 w 7277100"/>
                <a:gd name="connsiteY41" fmla="*/ 464820 h 2537460"/>
                <a:gd name="connsiteX42" fmla="*/ 3832860 w 7277100"/>
                <a:gd name="connsiteY42" fmla="*/ 502920 h 2537460"/>
                <a:gd name="connsiteX43" fmla="*/ 3893820 w 7277100"/>
                <a:gd name="connsiteY43" fmla="*/ 441960 h 2537460"/>
                <a:gd name="connsiteX44" fmla="*/ 3992880 w 7277100"/>
                <a:gd name="connsiteY44" fmla="*/ 434340 h 2537460"/>
                <a:gd name="connsiteX45" fmla="*/ 4191000 w 7277100"/>
                <a:gd name="connsiteY45" fmla="*/ 266700 h 2537460"/>
                <a:gd name="connsiteX46" fmla="*/ 4328160 w 7277100"/>
                <a:gd name="connsiteY46" fmla="*/ 259080 h 2537460"/>
                <a:gd name="connsiteX47" fmla="*/ 4389120 w 7277100"/>
                <a:gd name="connsiteY47" fmla="*/ 274320 h 2537460"/>
                <a:gd name="connsiteX48" fmla="*/ 4488180 w 7277100"/>
                <a:gd name="connsiteY48" fmla="*/ 198120 h 2537460"/>
                <a:gd name="connsiteX49" fmla="*/ 4610100 w 7277100"/>
                <a:gd name="connsiteY49" fmla="*/ 190500 h 2537460"/>
                <a:gd name="connsiteX50" fmla="*/ 4671060 w 7277100"/>
                <a:gd name="connsiteY50" fmla="*/ 243840 h 2537460"/>
                <a:gd name="connsiteX51" fmla="*/ 4724400 w 7277100"/>
                <a:gd name="connsiteY51" fmla="*/ 198120 h 2537460"/>
                <a:gd name="connsiteX52" fmla="*/ 4777740 w 7277100"/>
                <a:gd name="connsiteY52" fmla="*/ 198120 h 2537460"/>
                <a:gd name="connsiteX53" fmla="*/ 4861560 w 7277100"/>
                <a:gd name="connsiteY53" fmla="*/ 160020 h 2537460"/>
                <a:gd name="connsiteX54" fmla="*/ 4930140 w 7277100"/>
                <a:gd name="connsiteY54" fmla="*/ 160020 h 2537460"/>
                <a:gd name="connsiteX55" fmla="*/ 5128260 w 7277100"/>
                <a:gd name="connsiteY55" fmla="*/ 160020 h 2537460"/>
                <a:gd name="connsiteX56" fmla="*/ 5288280 w 7277100"/>
                <a:gd name="connsiteY56" fmla="*/ 220980 h 2537460"/>
                <a:gd name="connsiteX57" fmla="*/ 5349240 w 7277100"/>
                <a:gd name="connsiteY57" fmla="*/ 182880 h 2537460"/>
                <a:gd name="connsiteX58" fmla="*/ 5478780 w 7277100"/>
                <a:gd name="connsiteY58" fmla="*/ 182880 h 2537460"/>
                <a:gd name="connsiteX59" fmla="*/ 5654040 w 7277100"/>
                <a:gd name="connsiteY59" fmla="*/ 45720 h 2537460"/>
                <a:gd name="connsiteX60" fmla="*/ 5760720 w 7277100"/>
                <a:gd name="connsiteY60" fmla="*/ 106680 h 2537460"/>
                <a:gd name="connsiteX61" fmla="*/ 5836920 w 7277100"/>
                <a:gd name="connsiteY61" fmla="*/ 106680 h 2537460"/>
                <a:gd name="connsiteX62" fmla="*/ 5920740 w 7277100"/>
                <a:gd name="connsiteY62" fmla="*/ 129540 h 2537460"/>
                <a:gd name="connsiteX63" fmla="*/ 5958840 w 7277100"/>
                <a:gd name="connsiteY63" fmla="*/ 99060 h 2537460"/>
                <a:gd name="connsiteX64" fmla="*/ 6088380 w 7277100"/>
                <a:gd name="connsiteY64" fmla="*/ 99060 h 2537460"/>
                <a:gd name="connsiteX65" fmla="*/ 6195060 w 7277100"/>
                <a:gd name="connsiteY65" fmla="*/ 91440 h 2537460"/>
                <a:gd name="connsiteX66" fmla="*/ 6309360 w 7277100"/>
                <a:gd name="connsiteY66" fmla="*/ 15240 h 2537460"/>
                <a:gd name="connsiteX67" fmla="*/ 6377940 w 7277100"/>
                <a:gd name="connsiteY67" fmla="*/ 0 h 2537460"/>
                <a:gd name="connsiteX68" fmla="*/ 6583680 w 7277100"/>
                <a:gd name="connsiteY68" fmla="*/ 45720 h 2537460"/>
                <a:gd name="connsiteX69" fmla="*/ 6652260 w 7277100"/>
                <a:gd name="connsiteY69" fmla="*/ 68580 h 2537460"/>
                <a:gd name="connsiteX70" fmla="*/ 6743700 w 7277100"/>
                <a:gd name="connsiteY70" fmla="*/ 121920 h 2537460"/>
                <a:gd name="connsiteX71" fmla="*/ 6873240 w 7277100"/>
                <a:gd name="connsiteY71" fmla="*/ 106680 h 2537460"/>
                <a:gd name="connsiteX72" fmla="*/ 7056120 w 7277100"/>
                <a:gd name="connsiteY72" fmla="*/ 121920 h 2537460"/>
                <a:gd name="connsiteX73" fmla="*/ 7277100 w 7277100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50504 w 7298904"/>
                <a:gd name="connsiteY9" fmla="*/ 1889760 h 2537460"/>
                <a:gd name="connsiteX10" fmla="*/ 1111464 w 7298904"/>
                <a:gd name="connsiteY10" fmla="*/ 1783080 h 2537460"/>
                <a:gd name="connsiteX11" fmla="*/ 1225764 w 7298904"/>
                <a:gd name="connsiteY11" fmla="*/ 1508760 h 2537460"/>
                <a:gd name="connsiteX12" fmla="*/ 1301964 w 7298904"/>
                <a:gd name="connsiteY12" fmla="*/ 1379220 h 2537460"/>
                <a:gd name="connsiteX13" fmla="*/ 1416264 w 7298904"/>
                <a:gd name="connsiteY13" fmla="*/ 1303020 h 2537460"/>
                <a:gd name="connsiteX14" fmla="*/ 1477224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83080 h 2537460"/>
                <a:gd name="connsiteX11" fmla="*/ 1225764 w 7298904"/>
                <a:gd name="connsiteY11" fmla="*/ 1508760 h 2537460"/>
                <a:gd name="connsiteX12" fmla="*/ 1301964 w 7298904"/>
                <a:gd name="connsiteY12" fmla="*/ 1379220 h 2537460"/>
                <a:gd name="connsiteX13" fmla="*/ 1416264 w 7298904"/>
                <a:gd name="connsiteY13" fmla="*/ 1303020 h 2537460"/>
                <a:gd name="connsiteX14" fmla="*/ 1477224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25764 w 7298904"/>
                <a:gd name="connsiteY11" fmla="*/ 1508760 h 2537460"/>
                <a:gd name="connsiteX12" fmla="*/ 1301964 w 7298904"/>
                <a:gd name="connsiteY12" fmla="*/ 1379220 h 2537460"/>
                <a:gd name="connsiteX13" fmla="*/ 1416264 w 7298904"/>
                <a:gd name="connsiteY13" fmla="*/ 1303020 h 2537460"/>
                <a:gd name="connsiteX14" fmla="*/ 1477224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301964 w 7298904"/>
                <a:gd name="connsiteY12" fmla="*/ 1379220 h 2537460"/>
                <a:gd name="connsiteX13" fmla="*/ 1416264 w 7298904"/>
                <a:gd name="connsiteY13" fmla="*/ 1303020 h 2537460"/>
                <a:gd name="connsiteX14" fmla="*/ 1477224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16264 w 7298904"/>
                <a:gd name="connsiteY13" fmla="*/ 1303020 h 2537460"/>
                <a:gd name="connsiteX14" fmla="*/ 1477224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16264 w 7298904"/>
                <a:gd name="connsiteY13" fmla="*/ 1303020 h 2537460"/>
                <a:gd name="connsiteX14" fmla="*/ 1460872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66800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67824 w 7298904"/>
                <a:gd name="connsiteY25" fmla="*/ 1036320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521164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27844 w 7298904"/>
                <a:gd name="connsiteY27" fmla="*/ 899160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45804 w 7298904"/>
                <a:gd name="connsiteY15" fmla="*/ 1127760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88804 w 7298904"/>
                <a:gd name="connsiteY28" fmla="*/ 822960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69804 w 7298904"/>
                <a:gd name="connsiteY31" fmla="*/ 800100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18930 w 7298904"/>
                <a:gd name="connsiteY31" fmla="*/ 781018 h 2537460"/>
                <a:gd name="connsiteX32" fmla="*/ 3123144 w 7298904"/>
                <a:gd name="connsiteY32" fmla="*/ 723900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18930 w 7298904"/>
                <a:gd name="connsiteY31" fmla="*/ 781018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40080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4 w 7298904"/>
                <a:gd name="connsiteY35" fmla="*/ 579120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4 w 7298904"/>
                <a:gd name="connsiteY36" fmla="*/ 525780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42244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54664 w 7298904"/>
                <a:gd name="connsiteY42" fmla="*/ 502920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16564 w 7298904"/>
                <a:gd name="connsiteY41" fmla="*/ 464820 h 2537460"/>
                <a:gd name="connsiteX42" fmla="*/ 3865565 w 7298904"/>
                <a:gd name="connsiteY42" fmla="*/ 495287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31100 w 7298904"/>
                <a:gd name="connsiteY41" fmla="*/ 461003 h 2537460"/>
                <a:gd name="connsiteX42" fmla="*/ 3865565 w 7298904"/>
                <a:gd name="connsiteY42" fmla="*/ 495287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65565 w 7298904"/>
                <a:gd name="connsiteY42" fmla="*/ 495287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212804 w 7298904"/>
                <a:gd name="connsiteY45" fmla="*/ 26670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4684 w 7298904"/>
                <a:gd name="connsiteY44" fmla="*/ 434340 h 2537460"/>
                <a:gd name="connsiteX45" fmla="*/ 4187367 w 7298904"/>
                <a:gd name="connsiteY45" fmla="*/ 25525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56544 w 7298904"/>
                <a:gd name="connsiteY39" fmla="*/ 419100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34996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410924 w 7298904"/>
                <a:gd name="connsiteY47" fmla="*/ 274320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509984 w 7298904"/>
                <a:gd name="connsiteY48" fmla="*/ 198120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43840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799544 w 7298904"/>
                <a:gd name="connsiteY52" fmla="*/ 198120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83364 w 7298904"/>
                <a:gd name="connsiteY53" fmla="*/ 160020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50064 w 7298904"/>
                <a:gd name="connsiteY55" fmla="*/ 160020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39163 w 7298904"/>
                <a:gd name="connsiteY55" fmla="*/ 289777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310084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71044 w 7298904"/>
                <a:gd name="connsiteY57" fmla="*/ 182880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45606 w 7298904"/>
                <a:gd name="connsiteY57" fmla="*/ 175247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42544 w 7298904"/>
                <a:gd name="connsiteY62" fmla="*/ 129540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6864 w 7298904"/>
                <a:gd name="connsiteY65" fmla="*/ 91440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95044 w 7298904"/>
                <a:gd name="connsiteY71" fmla="*/ 106680 h 2537460"/>
                <a:gd name="connsiteX72" fmla="*/ 7077924 w 7298904"/>
                <a:gd name="connsiteY72" fmla="*/ 121920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45606 w 7298904"/>
                <a:gd name="connsiteY57" fmla="*/ 175247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34696 w 7298904"/>
                <a:gd name="connsiteY60" fmla="*/ 69446 h 2537460"/>
                <a:gd name="connsiteX61" fmla="*/ 5782524 w 7298904"/>
                <a:gd name="connsiteY61" fmla="*/ 106680 h 2537460"/>
                <a:gd name="connsiteX62" fmla="*/ 5858724 w 7298904"/>
                <a:gd name="connsiteY62" fmla="*/ 106680 h 2537460"/>
                <a:gd name="connsiteX63" fmla="*/ 5942544 w 7298904"/>
                <a:gd name="connsiteY63" fmla="*/ 129540 h 2537460"/>
                <a:gd name="connsiteX64" fmla="*/ 5980644 w 7298904"/>
                <a:gd name="connsiteY64" fmla="*/ 99060 h 2537460"/>
                <a:gd name="connsiteX65" fmla="*/ 6110184 w 7298904"/>
                <a:gd name="connsiteY65" fmla="*/ 99060 h 2537460"/>
                <a:gd name="connsiteX66" fmla="*/ 6216864 w 7298904"/>
                <a:gd name="connsiteY66" fmla="*/ 91440 h 2537460"/>
                <a:gd name="connsiteX67" fmla="*/ 6331164 w 7298904"/>
                <a:gd name="connsiteY67" fmla="*/ 15240 h 2537460"/>
                <a:gd name="connsiteX68" fmla="*/ 6399744 w 7298904"/>
                <a:gd name="connsiteY68" fmla="*/ 0 h 2537460"/>
                <a:gd name="connsiteX69" fmla="*/ 6605484 w 7298904"/>
                <a:gd name="connsiteY69" fmla="*/ 45720 h 2537460"/>
                <a:gd name="connsiteX70" fmla="*/ 6674064 w 7298904"/>
                <a:gd name="connsiteY70" fmla="*/ 68580 h 2537460"/>
                <a:gd name="connsiteX71" fmla="*/ 6765504 w 7298904"/>
                <a:gd name="connsiteY71" fmla="*/ 121920 h 2537460"/>
                <a:gd name="connsiteX72" fmla="*/ 6895044 w 7298904"/>
                <a:gd name="connsiteY72" fmla="*/ 106680 h 2537460"/>
                <a:gd name="connsiteX73" fmla="*/ 7077924 w 7298904"/>
                <a:gd name="connsiteY73" fmla="*/ 121920 h 2537460"/>
                <a:gd name="connsiteX74" fmla="*/ 7298904 w 7298904"/>
                <a:gd name="connsiteY7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45606 w 7298904"/>
                <a:gd name="connsiteY57" fmla="*/ 175247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34696 w 7298904"/>
                <a:gd name="connsiteY60" fmla="*/ 69446 h 2537460"/>
                <a:gd name="connsiteX61" fmla="*/ 5782524 w 7298904"/>
                <a:gd name="connsiteY61" fmla="*/ 106680 h 2537460"/>
                <a:gd name="connsiteX62" fmla="*/ 5858724 w 7298904"/>
                <a:gd name="connsiteY62" fmla="*/ 106680 h 2537460"/>
                <a:gd name="connsiteX63" fmla="*/ 5920741 w 7298904"/>
                <a:gd name="connsiteY63" fmla="*/ 118091 h 2537460"/>
                <a:gd name="connsiteX64" fmla="*/ 5980644 w 7298904"/>
                <a:gd name="connsiteY64" fmla="*/ 99060 h 2537460"/>
                <a:gd name="connsiteX65" fmla="*/ 6110184 w 7298904"/>
                <a:gd name="connsiteY65" fmla="*/ 99060 h 2537460"/>
                <a:gd name="connsiteX66" fmla="*/ 6216864 w 7298904"/>
                <a:gd name="connsiteY66" fmla="*/ 91440 h 2537460"/>
                <a:gd name="connsiteX67" fmla="*/ 6331164 w 7298904"/>
                <a:gd name="connsiteY67" fmla="*/ 15240 h 2537460"/>
                <a:gd name="connsiteX68" fmla="*/ 6399744 w 7298904"/>
                <a:gd name="connsiteY68" fmla="*/ 0 h 2537460"/>
                <a:gd name="connsiteX69" fmla="*/ 6605484 w 7298904"/>
                <a:gd name="connsiteY69" fmla="*/ 45720 h 2537460"/>
                <a:gd name="connsiteX70" fmla="*/ 6674064 w 7298904"/>
                <a:gd name="connsiteY70" fmla="*/ 68580 h 2537460"/>
                <a:gd name="connsiteX71" fmla="*/ 6765504 w 7298904"/>
                <a:gd name="connsiteY71" fmla="*/ 121920 h 2537460"/>
                <a:gd name="connsiteX72" fmla="*/ 6895044 w 7298904"/>
                <a:gd name="connsiteY72" fmla="*/ 106680 h 2537460"/>
                <a:gd name="connsiteX73" fmla="*/ 7077924 w 7298904"/>
                <a:gd name="connsiteY73" fmla="*/ 121920 h 2537460"/>
                <a:gd name="connsiteX74" fmla="*/ 7298904 w 7298904"/>
                <a:gd name="connsiteY7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45606 w 7298904"/>
                <a:gd name="connsiteY57" fmla="*/ 175247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34696 w 7298904"/>
                <a:gd name="connsiteY60" fmla="*/ 69446 h 2537460"/>
                <a:gd name="connsiteX61" fmla="*/ 5782524 w 7298904"/>
                <a:gd name="connsiteY61" fmla="*/ 106680 h 2537460"/>
                <a:gd name="connsiteX62" fmla="*/ 5858724 w 7298904"/>
                <a:gd name="connsiteY62" fmla="*/ 106680 h 2537460"/>
                <a:gd name="connsiteX63" fmla="*/ 5920741 w 7298904"/>
                <a:gd name="connsiteY63" fmla="*/ 118091 h 2537460"/>
                <a:gd name="connsiteX64" fmla="*/ 5980644 w 7298904"/>
                <a:gd name="connsiteY64" fmla="*/ 99060 h 2537460"/>
                <a:gd name="connsiteX65" fmla="*/ 6110184 w 7298904"/>
                <a:gd name="connsiteY65" fmla="*/ 99060 h 2537460"/>
                <a:gd name="connsiteX66" fmla="*/ 6213231 w 7298904"/>
                <a:gd name="connsiteY66" fmla="*/ 83808 h 2537460"/>
                <a:gd name="connsiteX67" fmla="*/ 6331164 w 7298904"/>
                <a:gd name="connsiteY67" fmla="*/ 15240 h 2537460"/>
                <a:gd name="connsiteX68" fmla="*/ 6399744 w 7298904"/>
                <a:gd name="connsiteY68" fmla="*/ 0 h 2537460"/>
                <a:gd name="connsiteX69" fmla="*/ 6605484 w 7298904"/>
                <a:gd name="connsiteY69" fmla="*/ 45720 h 2537460"/>
                <a:gd name="connsiteX70" fmla="*/ 6674064 w 7298904"/>
                <a:gd name="connsiteY70" fmla="*/ 68580 h 2537460"/>
                <a:gd name="connsiteX71" fmla="*/ 6765504 w 7298904"/>
                <a:gd name="connsiteY71" fmla="*/ 121920 h 2537460"/>
                <a:gd name="connsiteX72" fmla="*/ 6895044 w 7298904"/>
                <a:gd name="connsiteY72" fmla="*/ 106680 h 2537460"/>
                <a:gd name="connsiteX73" fmla="*/ 7077924 w 7298904"/>
                <a:gd name="connsiteY73" fmla="*/ 121920 h 2537460"/>
                <a:gd name="connsiteX74" fmla="*/ 7298904 w 7298904"/>
                <a:gd name="connsiteY7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45606 w 7298904"/>
                <a:gd name="connsiteY57" fmla="*/ 175247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34696 w 7298904"/>
                <a:gd name="connsiteY60" fmla="*/ 69446 h 2537460"/>
                <a:gd name="connsiteX61" fmla="*/ 5782524 w 7298904"/>
                <a:gd name="connsiteY61" fmla="*/ 106680 h 2537460"/>
                <a:gd name="connsiteX62" fmla="*/ 5858724 w 7298904"/>
                <a:gd name="connsiteY62" fmla="*/ 106680 h 2537460"/>
                <a:gd name="connsiteX63" fmla="*/ 5920741 w 7298904"/>
                <a:gd name="connsiteY63" fmla="*/ 118091 h 2537460"/>
                <a:gd name="connsiteX64" fmla="*/ 5980644 w 7298904"/>
                <a:gd name="connsiteY64" fmla="*/ 99060 h 2537460"/>
                <a:gd name="connsiteX65" fmla="*/ 6110184 w 7298904"/>
                <a:gd name="connsiteY65" fmla="*/ 99060 h 2537460"/>
                <a:gd name="connsiteX66" fmla="*/ 6213231 w 7298904"/>
                <a:gd name="connsiteY66" fmla="*/ 83808 h 2537460"/>
                <a:gd name="connsiteX67" fmla="*/ 6331164 w 7298904"/>
                <a:gd name="connsiteY67" fmla="*/ 15240 h 2537460"/>
                <a:gd name="connsiteX68" fmla="*/ 6399744 w 7298904"/>
                <a:gd name="connsiteY68" fmla="*/ 0 h 2537460"/>
                <a:gd name="connsiteX69" fmla="*/ 6605484 w 7298904"/>
                <a:gd name="connsiteY69" fmla="*/ 45720 h 2537460"/>
                <a:gd name="connsiteX70" fmla="*/ 6674064 w 7298904"/>
                <a:gd name="connsiteY70" fmla="*/ 68580 h 2537460"/>
                <a:gd name="connsiteX71" fmla="*/ 6765504 w 7298904"/>
                <a:gd name="connsiteY71" fmla="*/ 121920 h 2537460"/>
                <a:gd name="connsiteX72" fmla="*/ 6876875 w 7298904"/>
                <a:gd name="connsiteY72" fmla="*/ 91414 h 2537460"/>
                <a:gd name="connsiteX73" fmla="*/ 7077924 w 7298904"/>
                <a:gd name="connsiteY73" fmla="*/ 121920 h 2537460"/>
                <a:gd name="connsiteX74" fmla="*/ 7298904 w 7298904"/>
                <a:gd name="connsiteY7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740364 w 7298904"/>
                <a:gd name="connsiteY40" fmla="*/ 464820 h 2537460"/>
                <a:gd name="connsiteX41" fmla="*/ 3809296 w 7298904"/>
                <a:gd name="connsiteY41" fmla="*/ 464819 h 2537460"/>
                <a:gd name="connsiteX42" fmla="*/ 3829226 w 7298904"/>
                <a:gd name="connsiteY42" fmla="*/ 495287 h 2537460"/>
                <a:gd name="connsiteX43" fmla="*/ 3915624 w 7298904"/>
                <a:gd name="connsiteY43" fmla="*/ 441960 h 2537460"/>
                <a:gd name="connsiteX44" fmla="*/ 4011050 w 7298904"/>
                <a:gd name="connsiteY44" fmla="*/ 426707 h 2537460"/>
                <a:gd name="connsiteX45" fmla="*/ 4187367 w 7298904"/>
                <a:gd name="connsiteY45" fmla="*/ 255250 h 2537460"/>
                <a:gd name="connsiteX46" fmla="*/ 4266384 w 7298904"/>
                <a:gd name="connsiteY46" fmla="*/ 259080 h 2537460"/>
                <a:gd name="connsiteX47" fmla="*/ 4392755 w 7298904"/>
                <a:gd name="connsiteY47" fmla="*/ 262871 h 2537460"/>
                <a:gd name="connsiteX48" fmla="*/ 4491815 w 7298904"/>
                <a:gd name="connsiteY48" fmla="*/ 186671 h 2537460"/>
                <a:gd name="connsiteX49" fmla="*/ 4631904 w 7298904"/>
                <a:gd name="connsiteY49" fmla="*/ 190500 h 2537460"/>
                <a:gd name="connsiteX50" fmla="*/ 4692864 w 7298904"/>
                <a:gd name="connsiteY50" fmla="*/ 217125 h 2537460"/>
                <a:gd name="connsiteX51" fmla="*/ 4746204 w 7298904"/>
                <a:gd name="connsiteY51" fmla="*/ 198120 h 2537460"/>
                <a:gd name="connsiteX52" fmla="*/ 4814080 w 7298904"/>
                <a:gd name="connsiteY52" fmla="*/ 186671 h 2537460"/>
                <a:gd name="connsiteX53" fmla="*/ 4872462 w 7298904"/>
                <a:gd name="connsiteY53" fmla="*/ 144754 h 2537460"/>
                <a:gd name="connsiteX54" fmla="*/ 4951944 w 7298904"/>
                <a:gd name="connsiteY54" fmla="*/ 160020 h 2537460"/>
                <a:gd name="connsiteX55" fmla="*/ 5106458 w 7298904"/>
                <a:gd name="connsiteY55" fmla="*/ 152387 h 2537460"/>
                <a:gd name="connsiteX56" fmla="*/ 5295549 w 7298904"/>
                <a:gd name="connsiteY56" fmla="*/ 220980 h 2537460"/>
                <a:gd name="connsiteX57" fmla="*/ 5345606 w 7298904"/>
                <a:gd name="connsiteY57" fmla="*/ 175247 h 2537460"/>
                <a:gd name="connsiteX58" fmla="*/ 5500584 w 7298904"/>
                <a:gd name="connsiteY58" fmla="*/ 182880 h 2537460"/>
                <a:gd name="connsiteX59" fmla="*/ 5675844 w 7298904"/>
                <a:gd name="connsiteY59" fmla="*/ 45720 h 2537460"/>
                <a:gd name="connsiteX60" fmla="*/ 5734696 w 7298904"/>
                <a:gd name="connsiteY60" fmla="*/ 69446 h 2537460"/>
                <a:gd name="connsiteX61" fmla="*/ 5782524 w 7298904"/>
                <a:gd name="connsiteY61" fmla="*/ 106680 h 2537460"/>
                <a:gd name="connsiteX62" fmla="*/ 5858724 w 7298904"/>
                <a:gd name="connsiteY62" fmla="*/ 106680 h 2537460"/>
                <a:gd name="connsiteX63" fmla="*/ 5920741 w 7298904"/>
                <a:gd name="connsiteY63" fmla="*/ 118091 h 2537460"/>
                <a:gd name="connsiteX64" fmla="*/ 5980644 w 7298904"/>
                <a:gd name="connsiteY64" fmla="*/ 99060 h 2537460"/>
                <a:gd name="connsiteX65" fmla="*/ 6110184 w 7298904"/>
                <a:gd name="connsiteY65" fmla="*/ 99060 h 2537460"/>
                <a:gd name="connsiteX66" fmla="*/ 6213231 w 7298904"/>
                <a:gd name="connsiteY66" fmla="*/ 83808 h 2537460"/>
                <a:gd name="connsiteX67" fmla="*/ 6331164 w 7298904"/>
                <a:gd name="connsiteY67" fmla="*/ 15240 h 2537460"/>
                <a:gd name="connsiteX68" fmla="*/ 6399744 w 7298904"/>
                <a:gd name="connsiteY68" fmla="*/ 0 h 2537460"/>
                <a:gd name="connsiteX69" fmla="*/ 6605484 w 7298904"/>
                <a:gd name="connsiteY69" fmla="*/ 45720 h 2537460"/>
                <a:gd name="connsiteX70" fmla="*/ 6674064 w 7298904"/>
                <a:gd name="connsiteY70" fmla="*/ 68580 h 2537460"/>
                <a:gd name="connsiteX71" fmla="*/ 6765504 w 7298904"/>
                <a:gd name="connsiteY71" fmla="*/ 121920 h 2537460"/>
                <a:gd name="connsiteX72" fmla="*/ 6876875 w 7298904"/>
                <a:gd name="connsiteY72" fmla="*/ 91414 h 2537460"/>
                <a:gd name="connsiteX73" fmla="*/ 7077924 w 7298904"/>
                <a:gd name="connsiteY73" fmla="*/ 121920 h 2537460"/>
                <a:gd name="connsiteX74" fmla="*/ 7133755 w 7298904"/>
                <a:gd name="connsiteY74" fmla="*/ 103794 h 2537460"/>
                <a:gd name="connsiteX75" fmla="*/ 7298904 w 7298904"/>
                <a:gd name="connsiteY75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809296 w 7298904"/>
                <a:gd name="connsiteY40" fmla="*/ 464819 h 2537460"/>
                <a:gd name="connsiteX41" fmla="*/ 3829226 w 7298904"/>
                <a:gd name="connsiteY41" fmla="*/ 495287 h 2537460"/>
                <a:gd name="connsiteX42" fmla="*/ 3915624 w 7298904"/>
                <a:gd name="connsiteY42" fmla="*/ 441960 h 2537460"/>
                <a:gd name="connsiteX43" fmla="*/ 4011050 w 7298904"/>
                <a:gd name="connsiteY43" fmla="*/ 426707 h 2537460"/>
                <a:gd name="connsiteX44" fmla="*/ 4187367 w 7298904"/>
                <a:gd name="connsiteY44" fmla="*/ 255250 h 2537460"/>
                <a:gd name="connsiteX45" fmla="*/ 4266384 w 7298904"/>
                <a:gd name="connsiteY45" fmla="*/ 259080 h 2537460"/>
                <a:gd name="connsiteX46" fmla="*/ 4392755 w 7298904"/>
                <a:gd name="connsiteY46" fmla="*/ 262871 h 2537460"/>
                <a:gd name="connsiteX47" fmla="*/ 4491815 w 7298904"/>
                <a:gd name="connsiteY47" fmla="*/ 186671 h 2537460"/>
                <a:gd name="connsiteX48" fmla="*/ 4631904 w 7298904"/>
                <a:gd name="connsiteY48" fmla="*/ 190500 h 2537460"/>
                <a:gd name="connsiteX49" fmla="*/ 4692864 w 7298904"/>
                <a:gd name="connsiteY49" fmla="*/ 217125 h 2537460"/>
                <a:gd name="connsiteX50" fmla="*/ 4746204 w 7298904"/>
                <a:gd name="connsiteY50" fmla="*/ 198120 h 2537460"/>
                <a:gd name="connsiteX51" fmla="*/ 4814080 w 7298904"/>
                <a:gd name="connsiteY51" fmla="*/ 186671 h 2537460"/>
                <a:gd name="connsiteX52" fmla="*/ 4872462 w 7298904"/>
                <a:gd name="connsiteY52" fmla="*/ 144754 h 2537460"/>
                <a:gd name="connsiteX53" fmla="*/ 4951944 w 7298904"/>
                <a:gd name="connsiteY53" fmla="*/ 160020 h 2537460"/>
                <a:gd name="connsiteX54" fmla="*/ 5106458 w 7298904"/>
                <a:gd name="connsiteY54" fmla="*/ 152387 h 2537460"/>
                <a:gd name="connsiteX55" fmla="*/ 5295549 w 7298904"/>
                <a:gd name="connsiteY55" fmla="*/ 220980 h 2537460"/>
                <a:gd name="connsiteX56" fmla="*/ 5345606 w 7298904"/>
                <a:gd name="connsiteY56" fmla="*/ 175247 h 2537460"/>
                <a:gd name="connsiteX57" fmla="*/ 5500584 w 7298904"/>
                <a:gd name="connsiteY57" fmla="*/ 182880 h 2537460"/>
                <a:gd name="connsiteX58" fmla="*/ 5675844 w 7298904"/>
                <a:gd name="connsiteY58" fmla="*/ 45720 h 2537460"/>
                <a:gd name="connsiteX59" fmla="*/ 5734696 w 7298904"/>
                <a:gd name="connsiteY59" fmla="*/ 69446 h 2537460"/>
                <a:gd name="connsiteX60" fmla="*/ 5782524 w 7298904"/>
                <a:gd name="connsiteY60" fmla="*/ 106680 h 2537460"/>
                <a:gd name="connsiteX61" fmla="*/ 5858724 w 7298904"/>
                <a:gd name="connsiteY61" fmla="*/ 106680 h 2537460"/>
                <a:gd name="connsiteX62" fmla="*/ 5920741 w 7298904"/>
                <a:gd name="connsiteY62" fmla="*/ 118091 h 2537460"/>
                <a:gd name="connsiteX63" fmla="*/ 5980644 w 7298904"/>
                <a:gd name="connsiteY63" fmla="*/ 99060 h 2537460"/>
                <a:gd name="connsiteX64" fmla="*/ 6110184 w 7298904"/>
                <a:gd name="connsiteY64" fmla="*/ 99060 h 2537460"/>
                <a:gd name="connsiteX65" fmla="*/ 6213231 w 7298904"/>
                <a:gd name="connsiteY65" fmla="*/ 83808 h 2537460"/>
                <a:gd name="connsiteX66" fmla="*/ 6331164 w 7298904"/>
                <a:gd name="connsiteY66" fmla="*/ 15240 h 2537460"/>
                <a:gd name="connsiteX67" fmla="*/ 6399744 w 7298904"/>
                <a:gd name="connsiteY67" fmla="*/ 0 h 2537460"/>
                <a:gd name="connsiteX68" fmla="*/ 6605484 w 7298904"/>
                <a:gd name="connsiteY68" fmla="*/ 45720 h 2537460"/>
                <a:gd name="connsiteX69" fmla="*/ 6674064 w 7298904"/>
                <a:gd name="connsiteY69" fmla="*/ 68580 h 2537460"/>
                <a:gd name="connsiteX70" fmla="*/ 6765504 w 7298904"/>
                <a:gd name="connsiteY70" fmla="*/ 121920 h 2537460"/>
                <a:gd name="connsiteX71" fmla="*/ 6876875 w 7298904"/>
                <a:gd name="connsiteY71" fmla="*/ 91414 h 2537460"/>
                <a:gd name="connsiteX72" fmla="*/ 7077924 w 7298904"/>
                <a:gd name="connsiteY72" fmla="*/ 121920 h 2537460"/>
                <a:gd name="connsiteX73" fmla="*/ 7133755 w 7298904"/>
                <a:gd name="connsiteY73" fmla="*/ 103794 h 2537460"/>
                <a:gd name="connsiteX74" fmla="*/ 7298904 w 7298904"/>
                <a:gd name="connsiteY7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829226 w 7298904"/>
                <a:gd name="connsiteY40" fmla="*/ 495287 h 2537460"/>
                <a:gd name="connsiteX41" fmla="*/ 3915624 w 7298904"/>
                <a:gd name="connsiteY41" fmla="*/ 441960 h 2537460"/>
                <a:gd name="connsiteX42" fmla="*/ 4011050 w 7298904"/>
                <a:gd name="connsiteY42" fmla="*/ 426707 h 2537460"/>
                <a:gd name="connsiteX43" fmla="*/ 4187367 w 7298904"/>
                <a:gd name="connsiteY43" fmla="*/ 255250 h 2537460"/>
                <a:gd name="connsiteX44" fmla="*/ 4266384 w 7298904"/>
                <a:gd name="connsiteY44" fmla="*/ 259080 h 2537460"/>
                <a:gd name="connsiteX45" fmla="*/ 4392755 w 7298904"/>
                <a:gd name="connsiteY45" fmla="*/ 262871 h 2537460"/>
                <a:gd name="connsiteX46" fmla="*/ 4491815 w 7298904"/>
                <a:gd name="connsiteY46" fmla="*/ 186671 h 2537460"/>
                <a:gd name="connsiteX47" fmla="*/ 4631904 w 7298904"/>
                <a:gd name="connsiteY47" fmla="*/ 190500 h 2537460"/>
                <a:gd name="connsiteX48" fmla="*/ 4692864 w 7298904"/>
                <a:gd name="connsiteY48" fmla="*/ 217125 h 2537460"/>
                <a:gd name="connsiteX49" fmla="*/ 4746204 w 7298904"/>
                <a:gd name="connsiteY49" fmla="*/ 198120 h 2537460"/>
                <a:gd name="connsiteX50" fmla="*/ 4814080 w 7298904"/>
                <a:gd name="connsiteY50" fmla="*/ 186671 h 2537460"/>
                <a:gd name="connsiteX51" fmla="*/ 4872462 w 7298904"/>
                <a:gd name="connsiteY51" fmla="*/ 144754 h 2537460"/>
                <a:gd name="connsiteX52" fmla="*/ 4951944 w 7298904"/>
                <a:gd name="connsiteY52" fmla="*/ 160020 h 2537460"/>
                <a:gd name="connsiteX53" fmla="*/ 5106458 w 7298904"/>
                <a:gd name="connsiteY53" fmla="*/ 152387 h 2537460"/>
                <a:gd name="connsiteX54" fmla="*/ 5295549 w 7298904"/>
                <a:gd name="connsiteY54" fmla="*/ 220980 h 2537460"/>
                <a:gd name="connsiteX55" fmla="*/ 5345606 w 7298904"/>
                <a:gd name="connsiteY55" fmla="*/ 175247 h 2537460"/>
                <a:gd name="connsiteX56" fmla="*/ 5500584 w 7298904"/>
                <a:gd name="connsiteY56" fmla="*/ 182880 h 2537460"/>
                <a:gd name="connsiteX57" fmla="*/ 5675844 w 7298904"/>
                <a:gd name="connsiteY57" fmla="*/ 45720 h 2537460"/>
                <a:gd name="connsiteX58" fmla="*/ 5734696 w 7298904"/>
                <a:gd name="connsiteY58" fmla="*/ 69446 h 2537460"/>
                <a:gd name="connsiteX59" fmla="*/ 5782524 w 7298904"/>
                <a:gd name="connsiteY59" fmla="*/ 106680 h 2537460"/>
                <a:gd name="connsiteX60" fmla="*/ 5858724 w 7298904"/>
                <a:gd name="connsiteY60" fmla="*/ 106680 h 2537460"/>
                <a:gd name="connsiteX61" fmla="*/ 5920741 w 7298904"/>
                <a:gd name="connsiteY61" fmla="*/ 118091 h 2537460"/>
                <a:gd name="connsiteX62" fmla="*/ 5980644 w 7298904"/>
                <a:gd name="connsiteY62" fmla="*/ 99060 h 2537460"/>
                <a:gd name="connsiteX63" fmla="*/ 6110184 w 7298904"/>
                <a:gd name="connsiteY63" fmla="*/ 99060 h 2537460"/>
                <a:gd name="connsiteX64" fmla="*/ 6213231 w 7298904"/>
                <a:gd name="connsiteY64" fmla="*/ 83808 h 2537460"/>
                <a:gd name="connsiteX65" fmla="*/ 6331164 w 7298904"/>
                <a:gd name="connsiteY65" fmla="*/ 15240 h 2537460"/>
                <a:gd name="connsiteX66" fmla="*/ 6399744 w 7298904"/>
                <a:gd name="connsiteY66" fmla="*/ 0 h 2537460"/>
                <a:gd name="connsiteX67" fmla="*/ 6605484 w 7298904"/>
                <a:gd name="connsiteY67" fmla="*/ 45720 h 2537460"/>
                <a:gd name="connsiteX68" fmla="*/ 6674064 w 7298904"/>
                <a:gd name="connsiteY68" fmla="*/ 68580 h 2537460"/>
                <a:gd name="connsiteX69" fmla="*/ 6765504 w 7298904"/>
                <a:gd name="connsiteY69" fmla="*/ 121920 h 2537460"/>
                <a:gd name="connsiteX70" fmla="*/ 6876875 w 7298904"/>
                <a:gd name="connsiteY70" fmla="*/ 91414 h 2537460"/>
                <a:gd name="connsiteX71" fmla="*/ 7077924 w 7298904"/>
                <a:gd name="connsiteY71" fmla="*/ 121920 h 2537460"/>
                <a:gd name="connsiteX72" fmla="*/ 7133755 w 7298904"/>
                <a:gd name="connsiteY72" fmla="*/ 103794 h 2537460"/>
                <a:gd name="connsiteX73" fmla="*/ 7298904 w 7298904"/>
                <a:gd name="connsiteY7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3915624 w 7298904"/>
                <a:gd name="connsiteY40" fmla="*/ 441960 h 2537460"/>
                <a:gd name="connsiteX41" fmla="*/ 4011050 w 7298904"/>
                <a:gd name="connsiteY41" fmla="*/ 426707 h 2537460"/>
                <a:gd name="connsiteX42" fmla="*/ 4187367 w 7298904"/>
                <a:gd name="connsiteY42" fmla="*/ 255250 h 2537460"/>
                <a:gd name="connsiteX43" fmla="*/ 4266384 w 7298904"/>
                <a:gd name="connsiteY43" fmla="*/ 259080 h 2537460"/>
                <a:gd name="connsiteX44" fmla="*/ 4392755 w 7298904"/>
                <a:gd name="connsiteY44" fmla="*/ 262871 h 2537460"/>
                <a:gd name="connsiteX45" fmla="*/ 4491815 w 7298904"/>
                <a:gd name="connsiteY45" fmla="*/ 186671 h 2537460"/>
                <a:gd name="connsiteX46" fmla="*/ 4631904 w 7298904"/>
                <a:gd name="connsiteY46" fmla="*/ 190500 h 2537460"/>
                <a:gd name="connsiteX47" fmla="*/ 4692864 w 7298904"/>
                <a:gd name="connsiteY47" fmla="*/ 217125 h 2537460"/>
                <a:gd name="connsiteX48" fmla="*/ 4746204 w 7298904"/>
                <a:gd name="connsiteY48" fmla="*/ 198120 h 2537460"/>
                <a:gd name="connsiteX49" fmla="*/ 4814080 w 7298904"/>
                <a:gd name="connsiteY49" fmla="*/ 186671 h 2537460"/>
                <a:gd name="connsiteX50" fmla="*/ 4872462 w 7298904"/>
                <a:gd name="connsiteY50" fmla="*/ 144754 h 2537460"/>
                <a:gd name="connsiteX51" fmla="*/ 4951944 w 7298904"/>
                <a:gd name="connsiteY51" fmla="*/ 160020 h 2537460"/>
                <a:gd name="connsiteX52" fmla="*/ 5106458 w 7298904"/>
                <a:gd name="connsiteY52" fmla="*/ 152387 h 2537460"/>
                <a:gd name="connsiteX53" fmla="*/ 5295549 w 7298904"/>
                <a:gd name="connsiteY53" fmla="*/ 220980 h 2537460"/>
                <a:gd name="connsiteX54" fmla="*/ 5345606 w 7298904"/>
                <a:gd name="connsiteY54" fmla="*/ 175247 h 2537460"/>
                <a:gd name="connsiteX55" fmla="*/ 5500584 w 7298904"/>
                <a:gd name="connsiteY55" fmla="*/ 182880 h 2537460"/>
                <a:gd name="connsiteX56" fmla="*/ 5675844 w 7298904"/>
                <a:gd name="connsiteY56" fmla="*/ 45720 h 2537460"/>
                <a:gd name="connsiteX57" fmla="*/ 5734696 w 7298904"/>
                <a:gd name="connsiteY57" fmla="*/ 69446 h 2537460"/>
                <a:gd name="connsiteX58" fmla="*/ 5782524 w 7298904"/>
                <a:gd name="connsiteY58" fmla="*/ 106680 h 2537460"/>
                <a:gd name="connsiteX59" fmla="*/ 5858724 w 7298904"/>
                <a:gd name="connsiteY59" fmla="*/ 106680 h 2537460"/>
                <a:gd name="connsiteX60" fmla="*/ 5920741 w 7298904"/>
                <a:gd name="connsiteY60" fmla="*/ 118091 h 2537460"/>
                <a:gd name="connsiteX61" fmla="*/ 5980644 w 7298904"/>
                <a:gd name="connsiteY61" fmla="*/ 99060 h 2537460"/>
                <a:gd name="connsiteX62" fmla="*/ 6110184 w 7298904"/>
                <a:gd name="connsiteY62" fmla="*/ 99060 h 2537460"/>
                <a:gd name="connsiteX63" fmla="*/ 6213231 w 7298904"/>
                <a:gd name="connsiteY63" fmla="*/ 83808 h 2537460"/>
                <a:gd name="connsiteX64" fmla="*/ 6331164 w 7298904"/>
                <a:gd name="connsiteY64" fmla="*/ 15240 h 2537460"/>
                <a:gd name="connsiteX65" fmla="*/ 6399744 w 7298904"/>
                <a:gd name="connsiteY65" fmla="*/ 0 h 2537460"/>
                <a:gd name="connsiteX66" fmla="*/ 6605484 w 7298904"/>
                <a:gd name="connsiteY66" fmla="*/ 45720 h 2537460"/>
                <a:gd name="connsiteX67" fmla="*/ 6674064 w 7298904"/>
                <a:gd name="connsiteY67" fmla="*/ 68580 h 2537460"/>
                <a:gd name="connsiteX68" fmla="*/ 6765504 w 7298904"/>
                <a:gd name="connsiteY68" fmla="*/ 121920 h 2537460"/>
                <a:gd name="connsiteX69" fmla="*/ 6876875 w 7298904"/>
                <a:gd name="connsiteY69" fmla="*/ 91414 h 2537460"/>
                <a:gd name="connsiteX70" fmla="*/ 7077924 w 7298904"/>
                <a:gd name="connsiteY70" fmla="*/ 121920 h 2537460"/>
                <a:gd name="connsiteX71" fmla="*/ 7133755 w 7298904"/>
                <a:gd name="connsiteY71" fmla="*/ 103794 h 2537460"/>
                <a:gd name="connsiteX72" fmla="*/ 7298904 w 7298904"/>
                <a:gd name="connsiteY72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011050 w 7298904"/>
                <a:gd name="connsiteY40" fmla="*/ 426707 h 2537460"/>
                <a:gd name="connsiteX41" fmla="*/ 4187367 w 7298904"/>
                <a:gd name="connsiteY41" fmla="*/ 255250 h 2537460"/>
                <a:gd name="connsiteX42" fmla="*/ 4266384 w 7298904"/>
                <a:gd name="connsiteY42" fmla="*/ 259080 h 2537460"/>
                <a:gd name="connsiteX43" fmla="*/ 4392755 w 7298904"/>
                <a:gd name="connsiteY43" fmla="*/ 262871 h 2537460"/>
                <a:gd name="connsiteX44" fmla="*/ 4491815 w 7298904"/>
                <a:gd name="connsiteY44" fmla="*/ 186671 h 2537460"/>
                <a:gd name="connsiteX45" fmla="*/ 4631904 w 7298904"/>
                <a:gd name="connsiteY45" fmla="*/ 190500 h 2537460"/>
                <a:gd name="connsiteX46" fmla="*/ 4692864 w 7298904"/>
                <a:gd name="connsiteY46" fmla="*/ 217125 h 2537460"/>
                <a:gd name="connsiteX47" fmla="*/ 4746204 w 7298904"/>
                <a:gd name="connsiteY47" fmla="*/ 198120 h 2537460"/>
                <a:gd name="connsiteX48" fmla="*/ 4814080 w 7298904"/>
                <a:gd name="connsiteY48" fmla="*/ 186671 h 2537460"/>
                <a:gd name="connsiteX49" fmla="*/ 4872462 w 7298904"/>
                <a:gd name="connsiteY49" fmla="*/ 144754 h 2537460"/>
                <a:gd name="connsiteX50" fmla="*/ 4951944 w 7298904"/>
                <a:gd name="connsiteY50" fmla="*/ 160020 h 2537460"/>
                <a:gd name="connsiteX51" fmla="*/ 5106458 w 7298904"/>
                <a:gd name="connsiteY51" fmla="*/ 152387 h 2537460"/>
                <a:gd name="connsiteX52" fmla="*/ 5295549 w 7298904"/>
                <a:gd name="connsiteY52" fmla="*/ 220980 h 2537460"/>
                <a:gd name="connsiteX53" fmla="*/ 5345606 w 7298904"/>
                <a:gd name="connsiteY53" fmla="*/ 175247 h 2537460"/>
                <a:gd name="connsiteX54" fmla="*/ 5500584 w 7298904"/>
                <a:gd name="connsiteY54" fmla="*/ 182880 h 2537460"/>
                <a:gd name="connsiteX55" fmla="*/ 5675844 w 7298904"/>
                <a:gd name="connsiteY55" fmla="*/ 45720 h 2537460"/>
                <a:gd name="connsiteX56" fmla="*/ 5734696 w 7298904"/>
                <a:gd name="connsiteY56" fmla="*/ 69446 h 2537460"/>
                <a:gd name="connsiteX57" fmla="*/ 5782524 w 7298904"/>
                <a:gd name="connsiteY57" fmla="*/ 106680 h 2537460"/>
                <a:gd name="connsiteX58" fmla="*/ 5858724 w 7298904"/>
                <a:gd name="connsiteY58" fmla="*/ 106680 h 2537460"/>
                <a:gd name="connsiteX59" fmla="*/ 5920741 w 7298904"/>
                <a:gd name="connsiteY59" fmla="*/ 118091 h 2537460"/>
                <a:gd name="connsiteX60" fmla="*/ 5980644 w 7298904"/>
                <a:gd name="connsiteY60" fmla="*/ 99060 h 2537460"/>
                <a:gd name="connsiteX61" fmla="*/ 6110184 w 7298904"/>
                <a:gd name="connsiteY61" fmla="*/ 99060 h 2537460"/>
                <a:gd name="connsiteX62" fmla="*/ 6213231 w 7298904"/>
                <a:gd name="connsiteY62" fmla="*/ 83808 h 2537460"/>
                <a:gd name="connsiteX63" fmla="*/ 6331164 w 7298904"/>
                <a:gd name="connsiteY63" fmla="*/ 15240 h 2537460"/>
                <a:gd name="connsiteX64" fmla="*/ 6399744 w 7298904"/>
                <a:gd name="connsiteY64" fmla="*/ 0 h 2537460"/>
                <a:gd name="connsiteX65" fmla="*/ 6605484 w 7298904"/>
                <a:gd name="connsiteY65" fmla="*/ 45720 h 2537460"/>
                <a:gd name="connsiteX66" fmla="*/ 6674064 w 7298904"/>
                <a:gd name="connsiteY66" fmla="*/ 68580 h 2537460"/>
                <a:gd name="connsiteX67" fmla="*/ 6765504 w 7298904"/>
                <a:gd name="connsiteY67" fmla="*/ 121920 h 2537460"/>
                <a:gd name="connsiteX68" fmla="*/ 6876875 w 7298904"/>
                <a:gd name="connsiteY68" fmla="*/ 91414 h 2537460"/>
                <a:gd name="connsiteX69" fmla="*/ 7077924 w 7298904"/>
                <a:gd name="connsiteY69" fmla="*/ 121920 h 2537460"/>
                <a:gd name="connsiteX70" fmla="*/ 7133755 w 7298904"/>
                <a:gd name="connsiteY70" fmla="*/ 103794 h 2537460"/>
                <a:gd name="connsiteX71" fmla="*/ 7298904 w 7298904"/>
                <a:gd name="connsiteY71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187367 w 7298904"/>
                <a:gd name="connsiteY40" fmla="*/ 255250 h 2537460"/>
                <a:gd name="connsiteX41" fmla="*/ 4266384 w 7298904"/>
                <a:gd name="connsiteY41" fmla="*/ 259080 h 2537460"/>
                <a:gd name="connsiteX42" fmla="*/ 4392755 w 7298904"/>
                <a:gd name="connsiteY42" fmla="*/ 262871 h 2537460"/>
                <a:gd name="connsiteX43" fmla="*/ 4491815 w 7298904"/>
                <a:gd name="connsiteY43" fmla="*/ 186671 h 2537460"/>
                <a:gd name="connsiteX44" fmla="*/ 4631904 w 7298904"/>
                <a:gd name="connsiteY44" fmla="*/ 190500 h 2537460"/>
                <a:gd name="connsiteX45" fmla="*/ 4692864 w 7298904"/>
                <a:gd name="connsiteY45" fmla="*/ 217125 h 2537460"/>
                <a:gd name="connsiteX46" fmla="*/ 4746204 w 7298904"/>
                <a:gd name="connsiteY46" fmla="*/ 198120 h 2537460"/>
                <a:gd name="connsiteX47" fmla="*/ 4814080 w 7298904"/>
                <a:gd name="connsiteY47" fmla="*/ 186671 h 2537460"/>
                <a:gd name="connsiteX48" fmla="*/ 4872462 w 7298904"/>
                <a:gd name="connsiteY48" fmla="*/ 144754 h 2537460"/>
                <a:gd name="connsiteX49" fmla="*/ 4951944 w 7298904"/>
                <a:gd name="connsiteY49" fmla="*/ 160020 h 2537460"/>
                <a:gd name="connsiteX50" fmla="*/ 5106458 w 7298904"/>
                <a:gd name="connsiteY50" fmla="*/ 152387 h 2537460"/>
                <a:gd name="connsiteX51" fmla="*/ 5295549 w 7298904"/>
                <a:gd name="connsiteY51" fmla="*/ 220980 h 2537460"/>
                <a:gd name="connsiteX52" fmla="*/ 5345606 w 7298904"/>
                <a:gd name="connsiteY52" fmla="*/ 175247 h 2537460"/>
                <a:gd name="connsiteX53" fmla="*/ 5500584 w 7298904"/>
                <a:gd name="connsiteY53" fmla="*/ 182880 h 2537460"/>
                <a:gd name="connsiteX54" fmla="*/ 5675844 w 7298904"/>
                <a:gd name="connsiteY54" fmla="*/ 45720 h 2537460"/>
                <a:gd name="connsiteX55" fmla="*/ 5734696 w 7298904"/>
                <a:gd name="connsiteY55" fmla="*/ 69446 h 2537460"/>
                <a:gd name="connsiteX56" fmla="*/ 5782524 w 7298904"/>
                <a:gd name="connsiteY56" fmla="*/ 106680 h 2537460"/>
                <a:gd name="connsiteX57" fmla="*/ 5858724 w 7298904"/>
                <a:gd name="connsiteY57" fmla="*/ 106680 h 2537460"/>
                <a:gd name="connsiteX58" fmla="*/ 5920741 w 7298904"/>
                <a:gd name="connsiteY58" fmla="*/ 118091 h 2537460"/>
                <a:gd name="connsiteX59" fmla="*/ 5980644 w 7298904"/>
                <a:gd name="connsiteY59" fmla="*/ 99060 h 2537460"/>
                <a:gd name="connsiteX60" fmla="*/ 6110184 w 7298904"/>
                <a:gd name="connsiteY60" fmla="*/ 99060 h 2537460"/>
                <a:gd name="connsiteX61" fmla="*/ 6213231 w 7298904"/>
                <a:gd name="connsiteY61" fmla="*/ 83808 h 2537460"/>
                <a:gd name="connsiteX62" fmla="*/ 6331164 w 7298904"/>
                <a:gd name="connsiteY62" fmla="*/ 15240 h 2537460"/>
                <a:gd name="connsiteX63" fmla="*/ 6399744 w 7298904"/>
                <a:gd name="connsiteY63" fmla="*/ 0 h 2537460"/>
                <a:gd name="connsiteX64" fmla="*/ 6605484 w 7298904"/>
                <a:gd name="connsiteY64" fmla="*/ 45720 h 2537460"/>
                <a:gd name="connsiteX65" fmla="*/ 6674064 w 7298904"/>
                <a:gd name="connsiteY65" fmla="*/ 68580 h 2537460"/>
                <a:gd name="connsiteX66" fmla="*/ 6765504 w 7298904"/>
                <a:gd name="connsiteY66" fmla="*/ 121920 h 2537460"/>
                <a:gd name="connsiteX67" fmla="*/ 6876875 w 7298904"/>
                <a:gd name="connsiteY67" fmla="*/ 91414 h 2537460"/>
                <a:gd name="connsiteX68" fmla="*/ 7077924 w 7298904"/>
                <a:gd name="connsiteY68" fmla="*/ 121920 h 2537460"/>
                <a:gd name="connsiteX69" fmla="*/ 7133755 w 7298904"/>
                <a:gd name="connsiteY69" fmla="*/ 103794 h 2537460"/>
                <a:gd name="connsiteX70" fmla="*/ 7298904 w 7298904"/>
                <a:gd name="connsiteY70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266384 w 7298904"/>
                <a:gd name="connsiteY40" fmla="*/ 259080 h 2537460"/>
                <a:gd name="connsiteX41" fmla="*/ 4392755 w 7298904"/>
                <a:gd name="connsiteY41" fmla="*/ 262871 h 2537460"/>
                <a:gd name="connsiteX42" fmla="*/ 4491815 w 7298904"/>
                <a:gd name="connsiteY42" fmla="*/ 186671 h 2537460"/>
                <a:gd name="connsiteX43" fmla="*/ 4631904 w 7298904"/>
                <a:gd name="connsiteY43" fmla="*/ 190500 h 2537460"/>
                <a:gd name="connsiteX44" fmla="*/ 4692864 w 7298904"/>
                <a:gd name="connsiteY44" fmla="*/ 217125 h 2537460"/>
                <a:gd name="connsiteX45" fmla="*/ 4746204 w 7298904"/>
                <a:gd name="connsiteY45" fmla="*/ 198120 h 2537460"/>
                <a:gd name="connsiteX46" fmla="*/ 4814080 w 7298904"/>
                <a:gd name="connsiteY46" fmla="*/ 186671 h 2537460"/>
                <a:gd name="connsiteX47" fmla="*/ 4872462 w 7298904"/>
                <a:gd name="connsiteY47" fmla="*/ 144754 h 2537460"/>
                <a:gd name="connsiteX48" fmla="*/ 4951944 w 7298904"/>
                <a:gd name="connsiteY48" fmla="*/ 160020 h 2537460"/>
                <a:gd name="connsiteX49" fmla="*/ 5106458 w 7298904"/>
                <a:gd name="connsiteY49" fmla="*/ 152387 h 2537460"/>
                <a:gd name="connsiteX50" fmla="*/ 5295549 w 7298904"/>
                <a:gd name="connsiteY50" fmla="*/ 220980 h 2537460"/>
                <a:gd name="connsiteX51" fmla="*/ 5345606 w 7298904"/>
                <a:gd name="connsiteY51" fmla="*/ 175247 h 2537460"/>
                <a:gd name="connsiteX52" fmla="*/ 5500584 w 7298904"/>
                <a:gd name="connsiteY52" fmla="*/ 182880 h 2537460"/>
                <a:gd name="connsiteX53" fmla="*/ 5675844 w 7298904"/>
                <a:gd name="connsiteY53" fmla="*/ 45720 h 2537460"/>
                <a:gd name="connsiteX54" fmla="*/ 5734696 w 7298904"/>
                <a:gd name="connsiteY54" fmla="*/ 69446 h 2537460"/>
                <a:gd name="connsiteX55" fmla="*/ 5782524 w 7298904"/>
                <a:gd name="connsiteY55" fmla="*/ 106680 h 2537460"/>
                <a:gd name="connsiteX56" fmla="*/ 5858724 w 7298904"/>
                <a:gd name="connsiteY56" fmla="*/ 106680 h 2537460"/>
                <a:gd name="connsiteX57" fmla="*/ 5920741 w 7298904"/>
                <a:gd name="connsiteY57" fmla="*/ 118091 h 2537460"/>
                <a:gd name="connsiteX58" fmla="*/ 5980644 w 7298904"/>
                <a:gd name="connsiteY58" fmla="*/ 99060 h 2537460"/>
                <a:gd name="connsiteX59" fmla="*/ 6110184 w 7298904"/>
                <a:gd name="connsiteY59" fmla="*/ 99060 h 2537460"/>
                <a:gd name="connsiteX60" fmla="*/ 6213231 w 7298904"/>
                <a:gd name="connsiteY60" fmla="*/ 83808 h 2537460"/>
                <a:gd name="connsiteX61" fmla="*/ 6331164 w 7298904"/>
                <a:gd name="connsiteY61" fmla="*/ 15240 h 2537460"/>
                <a:gd name="connsiteX62" fmla="*/ 6399744 w 7298904"/>
                <a:gd name="connsiteY62" fmla="*/ 0 h 2537460"/>
                <a:gd name="connsiteX63" fmla="*/ 6605484 w 7298904"/>
                <a:gd name="connsiteY63" fmla="*/ 45720 h 2537460"/>
                <a:gd name="connsiteX64" fmla="*/ 6674064 w 7298904"/>
                <a:gd name="connsiteY64" fmla="*/ 68580 h 2537460"/>
                <a:gd name="connsiteX65" fmla="*/ 6765504 w 7298904"/>
                <a:gd name="connsiteY65" fmla="*/ 121920 h 2537460"/>
                <a:gd name="connsiteX66" fmla="*/ 6876875 w 7298904"/>
                <a:gd name="connsiteY66" fmla="*/ 91414 h 2537460"/>
                <a:gd name="connsiteX67" fmla="*/ 7077924 w 7298904"/>
                <a:gd name="connsiteY67" fmla="*/ 121920 h 2537460"/>
                <a:gd name="connsiteX68" fmla="*/ 7133755 w 7298904"/>
                <a:gd name="connsiteY68" fmla="*/ 103794 h 2537460"/>
                <a:gd name="connsiteX69" fmla="*/ 7298904 w 7298904"/>
                <a:gd name="connsiteY69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392755 w 7298904"/>
                <a:gd name="connsiteY40" fmla="*/ 262871 h 2537460"/>
                <a:gd name="connsiteX41" fmla="*/ 4491815 w 7298904"/>
                <a:gd name="connsiteY41" fmla="*/ 186671 h 2537460"/>
                <a:gd name="connsiteX42" fmla="*/ 4631904 w 7298904"/>
                <a:gd name="connsiteY42" fmla="*/ 190500 h 2537460"/>
                <a:gd name="connsiteX43" fmla="*/ 4692864 w 7298904"/>
                <a:gd name="connsiteY43" fmla="*/ 217125 h 2537460"/>
                <a:gd name="connsiteX44" fmla="*/ 4746204 w 7298904"/>
                <a:gd name="connsiteY44" fmla="*/ 198120 h 2537460"/>
                <a:gd name="connsiteX45" fmla="*/ 4814080 w 7298904"/>
                <a:gd name="connsiteY45" fmla="*/ 186671 h 2537460"/>
                <a:gd name="connsiteX46" fmla="*/ 4872462 w 7298904"/>
                <a:gd name="connsiteY46" fmla="*/ 144754 h 2537460"/>
                <a:gd name="connsiteX47" fmla="*/ 4951944 w 7298904"/>
                <a:gd name="connsiteY47" fmla="*/ 160020 h 2537460"/>
                <a:gd name="connsiteX48" fmla="*/ 5106458 w 7298904"/>
                <a:gd name="connsiteY48" fmla="*/ 152387 h 2537460"/>
                <a:gd name="connsiteX49" fmla="*/ 5295549 w 7298904"/>
                <a:gd name="connsiteY49" fmla="*/ 220980 h 2537460"/>
                <a:gd name="connsiteX50" fmla="*/ 5345606 w 7298904"/>
                <a:gd name="connsiteY50" fmla="*/ 175247 h 2537460"/>
                <a:gd name="connsiteX51" fmla="*/ 5500584 w 7298904"/>
                <a:gd name="connsiteY51" fmla="*/ 182880 h 2537460"/>
                <a:gd name="connsiteX52" fmla="*/ 5675844 w 7298904"/>
                <a:gd name="connsiteY52" fmla="*/ 45720 h 2537460"/>
                <a:gd name="connsiteX53" fmla="*/ 5734696 w 7298904"/>
                <a:gd name="connsiteY53" fmla="*/ 69446 h 2537460"/>
                <a:gd name="connsiteX54" fmla="*/ 5782524 w 7298904"/>
                <a:gd name="connsiteY54" fmla="*/ 106680 h 2537460"/>
                <a:gd name="connsiteX55" fmla="*/ 5858724 w 7298904"/>
                <a:gd name="connsiteY55" fmla="*/ 106680 h 2537460"/>
                <a:gd name="connsiteX56" fmla="*/ 5920741 w 7298904"/>
                <a:gd name="connsiteY56" fmla="*/ 118091 h 2537460"/>
                <a:gd name="connsiteX57" fmla="*/ 5980644 w 7298904"/>
                <a:gd name="connsiteY57" fmla="*/ 99060 h 2537460"/>
                <a:gd name="connsiteX58" fmla="*/ 6110184 w 7298904"/>
                <a:gd name="connsiteY58" fmla="*/ 99060 h 2537460"/>
                <a:gd name="connsiteX59" fmla="*/ 6213231 w 7298904"/>
                <a:gd name="connsiteY59" fmla="*/ 83808 h 2537460"/>
                <a:gd name="connsiteX60" fmla="*/ 6331164 w 7298904"/>
                <a:gd name="connsiteY60" fmla="*/ 15240 h 2537460"/>
                <a:gd name="connsiteX61" fmla="*/ 6399744 w 7298904"/>
                <a:gd name="connsiteY61" fmla="*/ 0 h 2537460"/>
                <a:gd name="connsiteX62" fmla="*/ 6605484 w 7298904"/>
                <a:gd name="connsiteY62" fmla="*/ 45720 h 2537460"/>
                <a:gd name="connsiteX63" fmla="*/ 6674064 w 7298904"/>
                <a:gd name="connsiteY63" fmla="*/ 68580 h 2537460"/>
                <a:gd name="connsiteX64" fmla="*/ 6765504 w 7298904"/>
                <a:gd name="connsiteY64" fmla="*/ 121920 h 2537460"/>
                <a:gd name="connsiteX65" fmla="*/ 6876875 w 7298904"/>
                <a:gd name="connsiteY65" fmla="*/ 91414 h 2537460"/>
                <a:gd name="connsiteX66" fmla="*/ 7077924 w 7298904"/>
                <a:gd name="connsiteY66" fmla="*/ 121920 h 2537460"/>
                <a:gd name="connsiteX67" fmla="*/ 7133755 w 7298904"/>
                <a:gd name="connsiteY67" fmla="*/ 103794 h 2537460"/>
                <a:gd name="connsiteX68" fmla="*/ 7298904 w 7298904"/>
                <a:gd name="connsiteY68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491815 w 7298904"/>
                <a:gd name="connsiteY40" fmla="*/ 186671 h 2537460"/>
                <a:gd name="connsiteX41" fmla="*/ 4631904 w 7298904"/>
                <a:gd name="connsiteY41" fmla="*/ 190500 h 2537460"/>
                <a:gd name="connsiteX42" fmla="*/ 4692864 w 7298904"/>
                <a:gd name="connsiteY42" fmla="*/ 217125 h 2537460"/>
                <a:gd name="connsiteX43" fmla="*/ 4746204 w 7298904"/>
                <a:gd name="connsiteY43" fmla="*/ 198120 h 2537460"/>
                <a:gd name="connsiteX44" fmla="*/ 4814080 w 7298904"/>
                <a:gd name="connsiteY44" fmla="*/ 186671 h 2537460"/>
                <a:gd name="connsiteX45" fmla="*/ 4872462 w 7298904"/>
                <a:gd name="connsiteY45" fmla="*/ 144754 h 2537460"/>
                <a:gd name="connsiteX46" fmla="*/ 4951944 w 7298904"/>
                <a:gd name="connsiteY46" fmla="*/ 160020 h 2537460"/>
                <a:gd name="connsiteX47" fmla="*/ 5106458 w 7298904"/>
                <a:gd name="connsiteY47" fmla="*/ 152387 h 2537460"/>
                <a:gd name="connsiteX48" fmla="*/ 5295549 w 7298904"/>
                <a:gd name="connsiteY48" fmla="*/ 220980 h 2537460"/>
                <a:gd name="connsiteX49" fmla="*/ 5345606 w 7298904"/>
                <a:gd name="connsiteY49" fmla="*/ 175247 h 2537460"/>
                <a:gd name="connsiteX50" fmla="*/ 5500584 w 7298904"/>
                <a:gd name="connsiteY50" fmla="*/ 182880 h 2537460"/>
                <a:gd name="connsiteX51" fmla="*/ 5675844 w 7298904"/>
                <a:gd name="connsiteY51" fmla="*/ 45720 h 2537460"/>
                <a:gd name="connsiteX52" fmla="*/ 5734696 w 7298904"/>
                <a:gd name="connsiteY52" fmla="*/ 69446 h 2537460"/>
                <a:gd name="connsiteX53" fmla="*/ 5782524 w 7298904"/>
                <a:gd name="connsiteY53" fmla="*/ 106680 h 2537460"/>
                <a:gd name="connsiteX54" fmla="*/ 5858724 w 7298904"/>
                <a:gd name="connsiteY54" fmla="*/ 106680 h 2537460"/>
                <a:gd name="connsiteX55" fmla="*/ 5920741 w 7298904"/>
                <a:gd name="connsiteY55" fmla="*/ 118091 h 2537460"/>
                <a:gd name="connsiteX56" fmla="*/ 5980644 w 7298904"/>
                <a:gd name="connsiteY56" fmla="*/ 99060 h 2537460"/>
                <a:gd name="connsiteX57" fmla="*/ 6110184 w 7298904"/>
                <a:gd name="connsiteY57" fmla="*/ 99060 h 2537460"/>
                <a:gd name="connsiteX58" fmla="*/ 6213231 w 7298904"/>
                <a:gd name="connsiteY58" fmla="*/ 83808 h 2537460"/>
                <a:gd name="connsiteX59" fmla="*/ 6331164 w 7298904"/>
                <a:gd name="connsiteY59" fmla="*/ 15240 h 2537460"/>
                <a:gd name="connsiteX60" fmla="*/ 6399744 w 7298904"/>
                <a:gd name="connsiteY60" fmla="*/ 0 h 2537460"/>
                <a:gd name="connsiteX61" fmla="*/ 6605484 w 7298904"/>
                <a:gd name="connsiteY61" fmla="*/ 45720 h 2537460"/>
                <a:gd name="connsiteX62" fmla="*/ 6674064 w 7298904"/>
                <a:gd name="connsiteY62" fmla="*/ 68580 h 2537460"/>
                <a:gd name="connsiteX63" fmla="*/ 6765504 w 7298904"/>
                <a:gd name="connsiteY63" fmla="*/ 121920 h 2537460"/>
                <a:gd name="connsiteX64" fmla="*/ 6876875 w 7298904"/>
                <a:gd name="connsiteY64" fmla="*/ 91414 h 2537460"/>
                <a:gd name="connsiteX65" fmla="*/ 7077924 w 7298904"/>
                <a:gd name="connsiteY65" fmla="*/ 121920 h 2537460"/>
                <a:gd name="connsiteX66" fmla="*/ 7133755 w 7298904"/>
                <a:gd name="connsiteY66" fmla="*/ 103794 h 2537460"/>
                <a:gd name="connsiteX67" fmla="*/ 7298904 w 7298904"/>
                <a:gd name="connsiteY67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491815 w 7298904"/>
                <a:gd name="connsiteY40" fmla="*/ 186671 h 2537460"/>
                <a:gd name="connsiteX41" fmla="*/ 4692864 w 7298904"/>
                <a:gd name="connsiteY41" fmla="*/ 217125 h 2537460"/>
                <a:gd name="connsiteX42" fmla="*/ 4746204 w 7298904"/>
                <a:gd name="connsiteY42" fmla="*/ 198120 h 2537460"/>
                <a:gd name="connsiteX43" fmla="*/ 4814080 w 7298904"/>
                <a:gd name="connsiteY43" fmla="*/ 186671 h 2537460"/>
                <a:gd name="connsiteX44" fmla="*/ 4872462 w 7298904"/>
                <a:gd name="connsiteY44" fmla="*/ 144754 h 2537460"/>
                <a:gd name="connsiteX45" fmla="*/ 4951944 w 7298904"/>
                <a:gd name="connsiteY45" fmla="*/ 160020 h 2537460"/>
                <a:gd name="connsiteX46" fmla="*/ 5106458 w 7298904"/>
                <a:gd name="connsiteY46" fmla="*/ 152387 h 2537460"/>
                <a:gd name="connsiteX47" fmla="*/ 5295549 w 7298904"/>
                <a:gd name="connsiteY47" fmla="*/ 220980 h 2537460"/>
                <a:gd name="connsiteX48" fmla="*/ 5345606 w 7298904"/>
                <a:gd name="connsiteY48" fmla="*/ 175247 h 2537460"/>
                <a:gd name="connsiteX49" fmla="*/ 5500584 w 7298904"/>
                <a:gd name="connsiteY49" fmla="*/ 182880 h 2537460"/>
                <a:gd name="connsiteX50" fmla="*/ 5675844 w 7298904"/>
                <a:gd name="connsiteY50" fmla="*/ 45720 h 2537460"/>
                <a:gd name="connsiteX51" fmla="*/ 5734696 w 7298904"/>
                <a:gd name="connsiteY51" fmla="*/ 69446 h 2537460"/>
                <a:gd name="connsiteX52" fmla="*/ 5782524 w 7298904"/>
                <a:gd name="connsiteY52" fmla="*/ 106680 h 2537460"/>
                <a:gd name="connsiteX53" fmla="*/ 5858724 w 7298904"/>
                <a:gd name="connsiteY53" fmla="*/ 106680 h 2537460"/>
                <a:gd name="connsiteX54" fmla="*/ 5920741 w 7298904"/>
                <a:gd name="connsiteY54" fmla="*/ 118091 h 2537460"/>
                <a:gd name="connsiteX55" fmla="*/ 5980644 w 7298904"/>
                <a:gd name="connsiteY55" fmla="*/ 99060 h 2537460"/>
                <a:gd name="connsiteX56" fmla="*/ 6110184 w 7298904"/>
                <a:gd name="connsiteY56" fmla="*/ 99060 h 2537460"/>
                <a:gd name="connsiteX57" fmla="*/ 6213231 w 7298904"/>
                <a:gd name="connsiteY57" fmla="*/ 83808 h 2537460"/>
                <a:gd name="connsiteX58" fmla="*/ 6331164 w 7298904"/>
                <a:gd name="connsiteY58" fmla="*/ 15240 h 2537460"/>
                <a:gd name="connsiteX59" fmla="*/ 6399744 w 7298904"/>
                <a:gd name="connsiteY59" fmla="*/ 0 h 2537460"/>
                <a:gd name="connsiteX60" fmla="*/ 6605484 w 7298904"/>
                <a:gd name="connsiteY60" fmla="*/ 45720 h 2537460"/>
                <a:gd name="connsiteX61" fmla="*/ 6674064 w 7298904"/>
                <a:gd name="connsiteY61" fmla="*/ 68580 h 2537460"/>
                <a:gd name="connsiteX62" fmla="*/ 6765504 w 7298904"/>
                <a:gd name="connsiteY62" fmla="*/ 121920 h 2537460"/>
                <a:gd name="connsiteX63" fmla="*/ 6876875 w 7298904"/>
                <a:gd name="connsiteY63" fmla="*/ 91414 h 2537460"/>
                <a:gd name="connsiteX64" fmla="*/ 7077924 w 7298904"/>
                <a:gd name="connsiteY64" fmla="*/ 121920 h 2537460"/>
                <a:gd name="connsiteX65" fmla="*/ 7133755 w 7298904"/>
                <a:gd name="connsiteY65" fmla="*/ 103794 h 2537460"/>
                <a:gd name="connsiteX66" fmla="*/ 7298904 w 7298904"/>
                <a:gd name="connsiteY66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491815 w 7298904"/>
                <a:gd name="connsiteY40" fmla="*/ 186671 h 2537460"/>
                <a:gd name="connsiteX41" fmla="*/ 4746204 w 7298904"/>
                <a:gd name="connsiteY41" fmla="*/ 198120 h 2537460"/>
                <a:gd name="connsiteX42" fmla="*/ 4814080 w 7298904"/>
                <a:gd name="connsiteY42" fmla="*/ 186671 h 2537460"/>
                <a:gd name="connsiteX43" fmla="*/ 4872462 w 7298904"/>
                <a:gd name="connsiteY43" fmla="*/ 144754 h 2537460"/>
                <a:gd name="connsiteX44" fmla="*/ 4951944 w 7298904"/>
                <a:gd name="connsiteY44" fmla="*/ 160020 h 2537460"/>
                <a:gd name="connsiteX45" fmla="*/ 5106458 w 7298904"/>
                <a:gd name="connsiteY45" fmla="*/ 152387 h 2537460"/>
                <a:gd name="connsiteX46" fmla="*/ 5295549 w 7298904"/>
                <a:gd name="connsiteY46" fmla="*/ 220980 h 2537460"/>
                <a:gd name="connsiteX47" fmla="*/ 5345606 w 7298904"/>
                <a:gd name="connsiteY47" fmla="*/ 175247 h 2537460"/>
                <a:gd name="connsiteX48" fmla="*/ 5500584 w 7298904"/>
                <a:gd name="connsiteY48" fmla="*/ 182880 h 2537460"/>
                <a:gd name="connsiteX49" fmla="*/ 5675844 w 7298904"/>
                <a:gd name="connsiteY49" fmla="*/ 45720 h 2537460"/>
                <a:gd name="connsiteX50" fmla="*/ 5734696 w 7298904"/>
                <a:gd name="connsiteY50" fmla="*/ 69446 h 2537460"/>
                <a:gd name="connsiteX51" fmla="*/ 5782524 w 7298904"/>
                <a:gd name="connsiteY51" fmla="*/ 106680 h 2537460"/>
                <a:gd name="connsiteX52" fmla="*/ 5858724 w 7298904"/>
                <a:gd name="connsiteY52" fmla="*/ 106680 h 2537460"/>
                <a:gd name="connsiteX53" fmla="*/ 5920741 w 7298904"/>
                <a:gd name="connsiteY53" fmla="*/ 118091 h 2537460"/>
                <a:gd name="connsiteX54" fmla="*/ 5980644 w 7298904"/>
                <a:gd name="connsiteY54" fmla="*/ 99060 h 2537460"/>
                <a:gd name="connsiteX55" fmla="*/ 6110184 w 7298904"/>
                <a:gd name="connsiteY55" fmla="*/ 99060 h 2537460"/>
                <a:gd name="connsiteX56" fmla="*/ 6213231 w 7298904"/>
                <a:gd name="connsiteY56" fmla="*/ 83808 h 2537460"/>
                <a:gd name="connsiteX57" fmla="*/ 6331164 w 7298904"/>
                <a:gd name="connsiteY57" fmla="*/ 15240 h 2537460"/>
                <a:gd name="connsiteX58" fmla="*/ 6399744 w 7298904"/>
                <a:gd name="connsiteY58" fmla="*/ 0 h 2537460"/>
                <a:gd name="connsiteX59" fmla="*/ 6605484 w 7298904"/>
                <a:gd name="connsiteY59" fmla="*/ 45720 h 2537460"/>
                <a:gd name="connsiteX60" fmla="*/ 6674064 w 7298904"/>
                <a:gd name="connsiteY60" fmla="*/ 68580 h 2537460"/>
                <a:gd name="connsiteX61" fmla="*/ 6765504 w 7298904"/>
                <a:gd name="connsiteY61" fmla="*/ 121920 h 2537460"/>
                <a:gd name="connsiteX62" fmla="*/ 6876875 w 7298904"/>
                <a:gd name="connsiteY62" fmla="*/ 91414 h 2537460"/>
                <a:gd name="connsiteX63" fmla="*/ 7077924 w 7298904"/>
                <a:gd name="connsiteY63" fmla="*/ 121920 h 2537460"/>
                <a:gd name="connsiteX64" fmla="*/ 7133755 w 7298904"/>
                <a:gd name="connsiteY64" fmla="*/ 103794 h 2537460"/>
                <a:gd name="connsiteX65" fmla="*/ 7298904 w 7298904"/>
                <a:gd name="connsiteY65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746204 w 7298904"/>
                <a:gd name="connsiteY40" fmla="*/ 198120 h 2537460"/>
                <a:gd name="connsiteX41" fmla="*/ 4814080 w 7298904"/>
                <a:gd name="connsiteY41" fmla="*/ 186671 h 2537460"/>
                <a:gd name="connsiteX42" fmla="*/ 4872462 w 7298904"/>
                <a:gd name="connsiteY42" fmla="*/ 144754 h 2537460"/>
                <a:gd name="connsiteX43" fmla="*/ 4951944 w 7298904"/>
                <a:gd name="connsiteY43" fmla="*/ 160020 h 2537460"/>
                <a:gd name="connsiteX44" fmla="*/ 5106458 w 7298904"/>
                <a:gd name="connsiteY44" fmla="*/ 152387 h 2537460"/>
                <a:gd name="connsiteX45" fmla="*/ 5295549 w 7298904"/>
                <a:gd name="connsiteY45" fmla="*/ 220980 h 2537460"/>
                <a:gd name="connsiteX46" fmla="*/ 5345606 w 7298904"/>
                <a:gd name="connsiteY46" fmla="*/ 175247 h 2537460"/>
                <a:gd name="connsiteX47" fmla="*/ 5500584 w 7298904"/>
                <a:gd name="connsiteY47" fmla="*/ 182880 h 2537460"/>
                <a:gd name="connsiteX48" fmla="*/ 5675844 w 7298904"/>
                <a:gd name="connsiteY48" fmla="*/ 45720 h 2537460"/>
                <a:gd name="connsiteX49" fmla="*/ 5734696 w 7298904"/>
                <a:gd name="connsiteY49" fmla="*/ 69446 h 2537460"/>
                <a:gd name="connsiteX50" fmla="*/ 5782524 w 7298904"/>
                <a:gd name="connsiteY50" fmla="*/ 106680 h 2537460"/>
                <a:gd name="connsiteX51" fmla="*/ 5858724 w 7298904"/>
                <a:gd name="connsiteY51" fmla="*/ 106680 h 2537460"/>
                <a:gd name="connsiteX52" fmla="*/ 5920741 w 7298904"/>
                <a:gd name="connsiteY52" fmla="*/ 118091 h 2537460"/>
                <a:gd name="connsiteX53" fmla="*/ 5980644 w 7298904"/>
                <a:gd name="connsiteY53" fmla="*/ 99060 h 2537460"/>
                <a:gd name="connsiteX54" fmla="*/ 6110184 w 7298904"/>
                <a:gd name="connsiteY54" fmla="*/ 99060 h 2537460"/>
                <a:gd name="connsiteX55" fmla="*/ 6213231 w 7298904"/>
                <a:gd name="connsiteY55" fmla="*/ 83808 h 2537460"/>
                <a:gd name="connsiteX56" fmla="*/ 6331164 w 7298904"/>
                <a:gd name="connsiteY56" fmla="*/ 15240 h 2537460"/>
                <a:gd name="connsiteX57" fmla="*/ 6399744 w 7298904"/>
                <a:gd name="connsiteY57" fmla="*/ 0 h 2537460"/>
                <a:gd name="connsiteX58" fmla="*/ 6605484 w 7298904"/>
                <a:gd name="connsiteY58" fmla="*/ 45720 h 2537460"/>
                <a:gd name="connsiteX59" fmla="*/ 6674064 w 7298904"/>
                <a:gd name="connsiteY59" fmla="*/ 68580 h 2537460"/>
                <a:gd name="connsiteX60" fmla="*/ 6765504 w 7298904"/>
                <a:gd name="connsiteY60" fmla="*/ 121920 h 2537460"/>
                <a:gd name="connsiteX61" fmla="*/ 6876875 w 7298904"/>
                <a:gd name="connsiteY61" fmla="*/ 91414 h 2537460"/>
                <a:gd name="connsiteX62" fmla="*/ 7077924 w 7298904"/>
                <a:gd name="connsiteY62" fmla="*/ 121920 h 2537460"/>
                <a:gd name="connsiteX63" fmla="*/ 7133755 w 7298904"/>
                <a:gd name="connsiteY63" fmla="*/ 103794 h 2537460"/>
                <a:gd name="connsiteX64" fmla="*/ 7298904 w 7298904"/>
                <a:gd name="connsiteY6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814080 w 7298904"/>
                <a:gd name="connsiteY40" fmla="*/ 186671 h 2537460"/>
                <a:gd name="connsiteX41" fmla="*/ 4872462 w 7298904"/>
                <a:gd name="connsiteY41" fmla="*/ 144754 h 2537460"/>
                <a:gd name="connsiteX42" fmla="*/ 4951944 w 7298904"/>
                <a:gd name="connsiteY42" fmla="*/ 160020 h 2537460"/>
                <a:gd name="connsiteX43" fmla="*/ 5106458 w 7298904"/>
                <a:gd name="connsiteY43" fmla="*/ 152387 h 2537460"/>
                <a:gd name="connsiteX44" fmla="*/ 5295549 w 7298904"/>
                <a:gd name="connsiteY44" fmla="*/ 220980 h 2537460"/>
                <a:gd name="connsiteX45" fmla="*/ 5345606 w 7298904"/>
                <a:gd name="connsiteY45" fmla="*/ 175247 h 2537460"/>
                <a:gd name="connsiteX46" fmla="*/ 5500584 w 7298904"/>
                <a:gd name="connsiteY46" fmla="*/ 182880 h 2537460"/>
                <a:gd name="connsiteX47" fmla="*/ 5675844 w 7298904"/>
                <a:gd name="connsiteY47" fmla="*/ 45720 h 2537460"/>
                <a:gd name="connsiteX48" fmla="*/ 5734696 w 7298904"/>
                <a:gd name="connsiteY48" fmla="*/ 69446 h 2537460"/>
                <a:gd name="connsiteX49" fmla="*/ 5782524 w 7298904"/>
                <a:gd name="connsiteY49" fmla="*/ 106680 h 2537460"/>
                <a:gd name="connsiteX50" fmla="*/ 5858724 w 7298904"/>
                <a:gd name="connsiteY50" fmla="*/ 106680 h 2537460"/>
                <a:gd name="connsiteX51" fmla="*/ 5920741 w 7298904"/>
                <a:gd name="connsiteY51" fmla="*/ 118091 h 2537460"/>
                <a:gd name="connsiteX52" fmla="*/ 5980644 w 7298904"/>
                <a:gd name="connsiteY52" fmla="*/ 99060 h 2537460"/>
                <a:gd name="connsiteX53" fmla="*/ 6110184 w 7298904"/>
                <a:gd name="connsiteY53" fmla="*/ 99060 h 2537460"/>
                <a:gd name="connsiteX54" fmla="*/ 6213231 w 7298904"/>
                <a:gd name="connsiteY54" fmla="*/ 83808 h 2537460"/>
                <a:gd name="connsiteX55" fmla="*/ 6331164 w 7298904"/>
                <a:gd name="connsiteY55" fmla="*/ 15240 h 2537460"/>
                <a:gd name="connsiteX56" fmla="*/ 6399744 w 7298904"/>
                <a:gd name="connsiteY56" fmla="*/ 0 h 2537460"/>
                <a:gd name="connsiteX57" fmla="*/ 6605484 w 7298904"/>
                <a:gd name="connsiteY57" fmla="*/ 45720 h 2537460"/>
                <a:gd name="connsiteX58" fmla="*/ 6674064 w 7298904"/>
                <a:gd name="connsiteY58" fmla="*/ 68580 h 2537460"/>
                <a:gd name="connsiteX59" fmla="*/ 6765504 w 7298904"/>
                <a:gd name="connsiteY59" fmla="*/ 121920 h 2537460"/>
                <a:gd name="connsiteX60" fmla="*/ 6876875 w 7298904"/>
                <a:gd name="connsiteY60" fmla="*/ 91414 h 2537460"/>
                <a:gd name="connsiteX61" fmla="*/ 7077924 w 7298904"/>
                <a:gd name="connsiteY61" fmla="*/ 121920 h 2537460"/>
                <a:gd name="connsiteX62" fmla="*/ 7133755 w 7298904"/>
                <a:gd name="connsiteY62" fmla="*/ 103794 h 2537460"/>
                <a:gd name="connsiteX63" fmla="*/ 7298904 w 7298904"/>
                <a:gd name="connsiteY6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872462 w 7298904"/>
                <a:gd name="connsiteY40" fmla="*/ 144754 h 2537460"/>
                <a:gd name="connsiteX41" fmla="*/ 4951944 w 7298904"/>
                <a:gd name="connsiteY41" fmla="*/ 160020 h 2537460"/>
                <a:gd name="connsiteX42" fmla="*/ 5106458 w 7298904"/>
                <a:gd name="connsiteY42" fmla="*/ 152387 h 2537460"/>
                <a:gd name="connsiteX43" fmla="*/ 5295549 w 7298904"/>
                <a:gd name="connsiteY43" fmla="*/ 220980 h 2537460"/>
                <a:gd name="connsiteX44" fmla="*/ 5345606 w 7298904"/>
                <a:gd name="connsiteY44" fmla="*/ 175247 h 2537460"/>
                <a:gd name="connsiteX45" fmla="*/ 5500584 w 7298904"/>
                <a:gd name="connsiteY45" fmla="*/ 182880 h 2537460"/>
                <a:gd name="connsiteX46" fmla="*/ 5675844 w 7298904"/>
                <a:gd name="connsiteY46" fmla="*/ 45720 h 2537460"/>
                <a:gd name="connsiteX47" fmla="*/ 5734696 w 7298904"/>
                <a:gd name="connsiteY47" fmla="*/ 69446 h 2537460"/>
                <a:gd name="connsiteX48" fmla="*/ 5782524 w 7298904"/>
                <a:gd name="connsiteY48" fmla="*/ 106680 h 2537460"/>
                <a:gd name="connsiteX49" fmla="*/ 5858724 w 7298904"/>
                <a:gd name="connsiteY49" fmla="*/ 106680 h 2537460"/>
                <a:gd name="connsiteX50" fmla="*/ 5920741 w 7298904"/>
                <a:gd name="connsiteY50" fmla="*/ 118091 h 2537460"/>
                <a:gd name="connsiteX51" fmla="*/ 5980644 w 7298904"/>
                <a:gd name="connsiteY51" fmla="*/ 99060 h 2537460"/>
                <a:gd name="connsiteX52" fmla="*/ 6110184 w 7298904"/>
                <a:gd name="connsiteY52" fmla="*/ 99060 h 2537460"/>
                <a:gd name="connsiteX53" fmla="*/ 6213231 w 7298904"/>
                <a:gd name="connsiteY53" fmla="*/ 83808 h 2537460"/>
                <a:gd name="connsiteX54" fmla="*/ 6331164 w 7298904"/>
                <a:gd name="connsiteY54" fmla="*/ 15240 h 2537460"/>
                <a:gd name="connsiteX55" fmla="*/ 6399744 w 7298904"/>
                <a:gd name="connsiteY55" fmla="*/ 0 h 2537460"/>
                <a:gd name="connsiteX56" fmla="*/ 6605484 w 7298904"/>
                <a:gd name="connsiteY56" fmla="*/ 45720 h 2537460"/>
                <a:gd name="connsiteX57" fmla="*/ 6674064 w 7298904"/>
                <a:gd name="connsiteY57" fmla="*/ 68580 h 2537460"/>
                <a:gd name="connsiteX58" fmla="*/ 6765504 w 7298904"/>
                <a:gd name="connsiteY58" fmla="*/ 121920 h 2537460"/>
                <a:gd name="connsiteX59" fmla="*/ 6876875 w 7298904"/>
                <a:gd name="connsiteY59" fmla="*/ 91414 h 2537460"/>
                <a:gd name="connsiteX60" fmla="*/ 7077924 w 7298904"/>
                <a:gd name="connsiteY60" fmla="*/ 121920 h 2537460"/>
                <a:gd name="connsiteX61" fmla="*/ 7133755 w 7298904"/>
                <a:gd name="connsiteY61" fmla="*/ 103794 h 2537460"/>
                <a:gd name="connsiteX62" fmla="*/ 7298904 w 7298904"/>
                <a:gd name="connsiteY62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4951944 w 7298904"/>
                <a:gd name="connsiteY40" fmla="*/ 160020 h 2537460"/>
                <a:gd name="connsiteX41" fmla="*/ 5106458 w 7298904"/>
                <a:gd name="connsiteY41" fmla="*/ 152387 h 2537460"/>
                <a:gd name="connsiteX42" fmla="*/ 5295549 w 7298904"/>
                <a:gd name="connsiteY42" fmla="*/ 220980 h 2537460"/>
                <a:gd name="connsiteX43" fmla="*/ 5345606 w 7298904"/>
                <a:gd name="connsiteY43" fmla="*/ 175247 h 2537460"/>
                <a:gd name="connsiteX44" fmla="*/ 5500584 w 7298904"/>
                <a:gd name="connsiteY44" fmla="*/ 182880 h 2537460"/>
                <a:gd name="connsiteX45" fmla="*/ 5675844 w 7298904"/>
                <a:gd name="connsiteY45" fmla="*/ 45720 h 2537460"/>
                <a:gd name="connsiteX46" fmla="*/ 5734696 w 7298904"/>
                <a:gd name="connsiteY46" fmla="*/ 69446 h 2537460"/>
                <a:gd name="connsiteX47" fmla="*/ 5782524 w 7298904"/>
                <a:gd name="connsiteY47" fmla="*/ 106680 h 2537460"/>
                <a:gd name="connsiteX48" fmla="*/ 5858724 w 7298904"/>
                <a:gd name="connsiteY48" fmla="*/ 106680 h 2537460"/>
                <a:gd name="connsiteX49" fmla="*/ 5920741 w 7298904"/>
                <a:gd name="connsiteY49" fmla="*/ 118091 h 2537460"/>
                <a:gd name="connsiteX50" fmla="*/ 5980644 w 7298904"/>
                <a:gd name="connsiteY50" fmla="*/ 99060 h 2537460"/>
                <a:gd name="connsiteX51" fmla="*/ 6110184 w 7298904"/>
                <a:gd name="connsiteY51" fmla="*/ 99060 h 2537460"/>
                <a:gd name="connsiteX52" fmla="*/ 6213231 w 7298904"/>
                <a:gd name="connsiteY52" fmla="*/ 83808 h 2537460"/>
                <a:gd name="connsiteX53" fmla="*/ 6331164 w 7298904"/>
                <a:gd name="connsiteY53" fmla="*/ 15240 h 2537460"/>
                <a:gd name="connsiteX54" fmla="*/ 6399744 w 7298904"/>
                <a:gd name="connsiteY54" fmla="*/ 0 h 2537460"/>
                <a:gd name="connsiteX55" fmla="*/ 6605484 w 7298904"/>
                <a:gd name="connsiteY55" fmla="*/ 45720 h 2537460"/>
                <a:gd name="connsiteX56" fmla="*/ 6674064 w 7298904"/>
                <a:gd name="connsiteY56" fmla="*/ 68580 h 2537460"/>
                <a:gd name="connsiteX57" fmla="*/ 6765504 w 7298904"/>
                <a:gd name="connsiteY57" fmla="*/ 121920 h 2537460"/>
                <a:gd name="connsiteX58" fmla="*/ 6876875 w 7298904"/>
                <a:gd name="connsiteY58" fmla="*/ 91414 h 2537460"/>
                <a:gd name="connsiteX59" fmla="*/ 7077924 w 7298904"/>
                <a:gd name="connsiteY59" fmla="*/ 121920 h 2537460"/>
                <a:gd name="connsiteX60" fmla="*/ 7133755 w 7298904"/>
                <a:gd name="connsiteY60" fmla="*/ 103794 h 2537460"/>
                <a:gd name="connsiteX61" fmla="*/ 7298904 w 7298904"/>
                <a:gd name="connsiteY61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106458 w 7298904"/>
                <a:gd name="connsiteY40" fmla="*/ 152387 h 2537460"/>
                <a:gd name="connsiteX41" fmla="*/ 5295549 w 7298904"/>
                <a:gd name="connsiteY41" fmla="*/ 220980 h 2537460"/>
                <a:gd name="connsiteX42" fmla="*/ 5345606 w 7298904"/>
                <a:gd name="connsiteY42" fmla="*/ 175247 h 2537460"/>
                <a:gd name="connsiteX43" fmla="*/ 5500584 w 7298904"/>
                <a:gd name="connsiteY43" fmla="*/ 182880 h 2537460"/>
                <a:gd name="connsiteX44" fmla="*/ 5675844 w 7298904"/>
                <a:gd name="connsiteY44" fmla="*/ 45720 h 2537460"/>
                <a:gd name="connsiteX45" fmla="*/ 5734696 w 7298904"/>
                <a:gd name="connsiteY45" fmla="*/ 69446 h 2537460"/>
                <a:gd name="connsiteX46" fmla="*/ 5782524 w 7298904"/>
                <a:gd name="connsiteY46" fmla="*/ 106680 h 2537460"/>
                <a:gd name="connsiteX47" fmla="*/ 5858724 w 7298904"/>
                <a:gd name="connsiteY47" fmla="*/ 106680 h 2537460"/>
                <a:gd name="connsiteX48" fmla="*/ 5920741 w 7298904"/>
                <a:gd name="connsiteY48" fmla="*/ 118091 h 2537460"/>
                <a:gd name="connsiteX49" fmla="*/ 5980644 w 7298904"/>
                <a:gd name="connsiteY49" fmla="*/ 99060 h 2537460"/>
                <a:gd name="connsiteX50" fmla="*/ 6110184 w 7298904"/>
                <a:gd name="connsiteY50" fmla="*/ 99060 h 2537460"/>
                <a:gd name="connsiteX51" fmla="*/ 6213231 w 7298904"/>
                <a:gd name="connsiteY51" fmla="*/ 83808 h 2537460"/>
                <a:gd name="connsiteX52" fmla="*/ 6331164 w 7298904"/>
                <a:gd name="connsiteY52" fmla="*/ 15240 h 2537460"/>
                <a:gd name="connsiteX53" fmla="*/ 6399744 w 7298904"/>
                <a:gd name="connsiteY53" fmla="*/ 0 h 2537460"/>
                <a:gd name="connsiteX54" fmla="*/ 6605484 w 7298904"/>
                <a:gd name="connsiteY54" fmla="*/ 45720 h 2537460"/>
                <a:gd name="connsiteX55" fmla="*/ 6674064 w 7298904"/>
                <a:gd name="connsiteY55" fmla="*/ 68580 h 2537460"/>
                <a:gd name="connsiteX56" fmla="*/ 6765504 w 7298904"/>
                <a:gd name="connsiteY56" fmla="*/ 121920 h 2537460"/>
                <a:gd name="connsiteX57" fmla="*/ 6876875 w 7298904"/>
                <a:gd name="connsiteY57" fmla="*/ 91414 h 2537460"/>
                <a:gd name="connsiteX58" fmla="*/ 7077924 w 7298904"/>
                <a:gd name="connsiteY58" fmla="*/ 121920 h 2537460"/>
                <a:gd name="connsiteX59" fmla="*/ 7133755 w 7298904"/>
                <a:gd name="connsiteY59" fmla="*/ 103794 h 2537460"/>
                <a:gd name="connsiteX60" fmla="*/ 7298904 w 7298904"/>
                <a:gd name="connsiteY60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295549 w 7298904"/>
                <a:gd name="connsiteY40" fmla="*/ 220980 h 2537460"/>
                <a:gd name="connsiteX41" fmla="*/ 5345606 w 7298904"/>
                <a:gd name="connsiteY41" fmla="*/ 175247 h 2537460"/>
                <a:gd name="connsiteX42" fmla="*/ 5500584 w 7298904"/>
                <a:gd name="connsiteY42" fmla="*/ 182880 h 2537460"/>
                <a:gd name="connsiteX43" fmla="*/ 5675844 w 7298904"/>
                <a:gd name="connsiteY43" fmla="*/ 45720 h 2537460"/>
                <a:gd name="connsiteX44" fmla="*/ 5734696 w 7298904"/>
                <a:gd name="connsiteY44" fmla="*/ 69446 h 2537460"/>
                <a:gd name="connsiteX45" fmla="*/ 5782524 w 7298904"/>
                <a:gd name="connsiteY45" fmla="*/ 106680 h 2537460"/>
                <a:gd name="connsiteX46" fmla="*/ 5858724 w 7298904"/>
                <a:gd name="connsiteY46" fmla="*/ 106680 h 2537460"/>
                <a:gd name="connsiteX47" fmla="*/ 5920741 w 7298904"/>
                <a:gd name="connsiteY47" fmla="*/ 118091 h 2537460"/>
                <a:gd name="connsiteX48" fmla="*/ 5980644 w 7298904"/>
                <a:gd name="connsiteY48" fmla="*/ 99060 h 2537460"/>
                <a:gd name="connsiteX49" fmla="*/ 6110184 w 7298904"/>
                <a:gd name="connsiteY49" fmla="*/ 99060 h 2537460"/>
                <a:gd name="connsiteX50" fmla="*/ 6213231 w 7298904"/>
                <a:gd name="connsiteY50" fmla="*/ 83808 h 2537460"/>
                <a:gd name="connsiteX51" fmla="*/ 6331164 w 7298904"/>
                <a:gd name="connsiteY51" fmla="*/ 15240 h 2537460"/>
                <a:gd name="connsiteX52" fmla="*/ 6399744 w 7298904"/>
                <a:gd name="connsiteY52" fmla="*/ 0 h 2537460"/>
                <a:gd name="connsiteX53" fmla="*/ 6605484 w 7298904"/>
                <a:gd name="connsiteY53" fmla="*/ 45720 h 2537460"/>
                <a:gd name="connsiteX54" fmla="*/ 6674064 w 7298904"/>
                <a:gd name="connsiteY54" fmla="*/ 68580 h 2537460"/>
                <a:gd name="connsiteX55" fmla="*/ 6765504 w 7298904"/>
                <a:gd name="connsiteY55" fmla="*/ 121920 h 2537460"/>
                <a:gd name="connsiteX56" fmla="*/ 6876875 w 7298904"/>
                <a:gd name="connsiteY56" fmla="*/ 91414 h 2537460"/>
                <a:gd name="connsiteX57" fmla="*/ 7077924 w 7298904"/>
                <a:gd name="connsiteY57" fmla="*/ 121920 h 2537460"/>
                <a:gd name="connsiteX58" fmla="*/ 7133755 w 7298904"/>
                <a:gd name="connsiteY58" fmla="*/ 103794 h 2537460"/>
                <a:gd name="connsiteX59" fmla="*/ 7298904 w 7298904"/>
                <a:gd name="connsiteY59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295549 w 7298904"/>
                <a:gd name="connsiteY40" fmla="*/ 220980 h 2537460"/>
                <a:gd name="connsiteX41" fmla="*/ 5345606 w 7298904"/>
                <a:gd name="connsiteY41" fmla="*/ 175247 h 2537460"/>
                <a:gd name="connsiteX42" fmla="*/ 5500584 w 7298904"/>
                <a:gd name="connsiteY42" fmla="*/ 182880 h 2537460"/>
                <a:gd name="connsiteX43" fmla="*/ 5734696 w 7298904"/>
                <a:gd name="connsiteY43" fmla="*/ 69446 h 2537460"/>
                <a:gd name="connsiteX44" fmla="*/ 5782524 w 7298904"/>
                <a:gd name="connsiteY44" fmla="*/ 106680 h 2537460"/>
                <a:gd name="connsiteX45" fmla="*/ 5858724 w 7298904"/>
                <a:gd name="connsiteY45" fmla="*/ 106680 h 2537460"/>
                <a:gd name="connsiteX46" fmla="*/ 5920741 w 7298904"/>
                <a:gd name="connsiteY46" fmla="*/ 118091 h 2537460"/>
                <a:gd name="connsiteX47" fmla="*/ 5980644 w 7298904"/>
                <a:gd name="connsiteY47" fmla="*/ 99060 h 2537460"/>
                <a:gd name="connsiteX48" fmla="*/ 6110184 w 7298904"/>
                <a:gd name="connsiteY48" fmla="*/ 99060 h 2537460"/>
                <a:gd name="connsiteX49" fmla="*/ 6213231 w 7298904"/>
                <a:gd name="connsiteY49" fmla="*/ 83808 h 2537460"/>
                <a:gd name="connsiteX50" fmla="*/ 6331164 w 7298904"/>
                <a:gd name="connsiteY50" fmla="*/ 15240 h 2537460"/>
                <a:gd name="connsiteX51" fmla="*/ 6399744 w 7298904"/>
                <a:gd name="connsiteY51" fmla="*/ 0 h 2537460"/>
                <a:gd name="connsiteX52" fmla="*/ 6605484 w 7298904"/>
                <a:gd name="connsiteY52" fmla="*/ 45720 h 2537460"/>
                <a:gd name="connsiteX53" fmla="*/ 6674064 w 7298904"/>
                <a:gd name="connsiteY53" fmla="*/ 68580 h 2537460"/>
                <a:gd name="connsiteX54" fmla="*/ 6765504 w 7298904"/>
                <a:gd name="connsiteY54" fmla="*/ 121920 h 2537460"/>
                <a:gd name="connsiteX55" fmla="*/ 6876875 w 7298904"/>
                <a:gd name="connsiteY55" fmla="*/ 91414 h 2537460"/>
                <a:gd name="connsiteX56" fmla="*/ 7077924 w 7298904"/>
                <a:gd name="connsiteY56" fmla="*/ 121920 h 2537460"/>
                <a:gd name="connsiteX57" fmla="*/ 7133755 w 7298904"/>
                <a:gd name="connsiteY57" fmla="*/ 103794 h 2537460"/>
                <a:gd name="connsiteX58" fmla="*/ 7298904 w 7298904"/>
                <a:gd name="connsiteY58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295549 w 7298904"/>
                <a:gd name="connsiteY40" fmla="*/ 220980 h 2537460"/>
                <a:gd name="connsiteX41" fmla="*/ 5345606 w 7298904"/>
                <a:gd name="connsiteY41" fmla="*/ 175247 h 2537460"/>
                <a:gd name="connsiteX42" fmla="*/ 5500584 w 7298904"/>
                <a:gd name="connsiteY42" fmla="*/ 182880 h 2537460"/>
                <a:gd name="connsiteX43" fmla="*/ 5782524 w 7298904"/>
                <a:gd name="connsiteY43" fmla="*/ 106680 h 2537460"/>
                <a:gd name="connsiteX44" fmla="*/ 5858724 w 7298904"/>
                <a:gd name="connsiteY44" fmla="*/ 106680 h 2537460"/>
                <a:gd name="connsiteX45" fmla="*/ 5920741 w 7298904"/>
                <a:gd name="connsiteY45" fmla="*/ 118091 h 2537460"/>
                <a:gd name="connsiteX46" fmla="*/ 5980644 w 7298904"/>
                <a:gd name="connsiteY46" fmla="*/ 99060 h 2537460"/>
                <a:gd name="connsiteX47" fmla="*/ 6110184 w 7298904"/>
                <a:gd name="connsiteY47" fmla="*/ 99060 h 2537460"/>
                <a:gd name="connsiteX48" fmla="*/ 6213231 w 7298904"/>
                <a:gd name="connsiteY48" fmla="*/ 83808 h 2537460"/>
                <a:gd name="connsiteX49" fmla="*/ 6331164 w 7298904"/>
                <a:gd name="connsiteY49" fmla="*/ 15240 h 2537460"/>
                <a:gd name="connsiteX50" fmla="*/ 6399744 w 7298904"/>
                <a:gd name="connsiteY50" fmla="*/ 0 h 2537460"/>
                <a:gd name="connsiteX51" fmla="*/ 6605484 w 7298904"/>
                <a:gd name="connsiteY51" fmla="*/ 45720 h 2537460"/>
                <a:gd name="connsiteX52" fmla="*/ 6674064 w 7298904"/>
                <a:gd name="connsiteY52" fmla="*/ 68580 h 2537460"/>
                <a:gd name="connsiteX53" fmla="*/ 6765504 w 7298904"/>
                <a:gd name="connsiteY53" fmla="*/ 121920 h 2537460"/>
                <a:gd name="connsiteX54" fmla="*/ 6876875 w 7298904"/>
                <a:gd name="connsiteY54" fmla="*/ 91414 h 2537460"/>
                <a:gd name="connsiteX55" fmla="*/ 7077924 w 7298904"/>
                <a:gd name="connsiteY55" fmla="*/ 121920 h 2537460"/>
                <a:gd name="connsiteX56" fmla="*/ 7133755 w 7298904"/>
                <a:gd name="connsiteY56" fmla="*/ 103794 h 2537460"/>
                <a:gd name="connsiteX57" fmla="*/ 7298904 w 7298904"/>
                <a:gd name="connsiteY57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295549 w 7298904"/>
                <a:gd name="connsiteY40" fmla="*/ 220980 h 2537460"/>
                <a:gd name="connsiteX41" fmla="*/ 5345606 w 7298904"/>
                <a:gd name="connsiteY41" fmla="*/ 175247 h 2537460"/>
                <a:gd name="connsiteX42" fmla="*/ 5500584 w 7298904"/>
                <a:gd name="connsiteY42" fmla="*/ 182880 h 2537460"/>
                <a:gd name="connsiteX43" fmla="*/ 5858724 w 7298904"/>
                <a:gd name="connsiteY43" fmla="*/ 106680 h 2537460"/>
                <a:gd name="connsiteX44" fmla="*/ 5920741 w 7298904"/>
                <a:gd name="connsiteY44" fmla="*/ 118091 h 2537460"/>
                <a:gd name="connsiteX45" fmla="*/ 5980644 w 7298904"/>
                <a:gd name="connsiteY45" fmla="*/ 99060 h 2537460"/>
                <a:gd name="connsiteX46" fmla="*/ 6110184 w 7298904"/>
                <a:gd name="connsiteY46" fmla="*/ 99060 h 2537460"/>
                <a:gd name="connsiteX47" fmla="*/ 6213231 w 7298904"/>
                <a:gd name="connsiteY47" fmla="*/ 83808 h 2537460"/>
                <a:gd name="connsiteX48" fmla="*/ 6331164 w 7298904"/>
                <a:gd name="connsiteY48" fmla="*/ 15240 h 2537460"/>
                <a:gd name="connsiteX49" fmla="*/ 6399744 w 7298904"/>
                <a:gd name="connsiteY49" fmla="*/ 0 h 2537460"/>
                <a:gd name="connsiteX50" fmla="*/ 6605484 w 7298904"/>
                <a:gd name="connsiteY50" fmla="*/ 45720 h 2537460"/>
                <a:gd name="connsiteX51" fmla="*/ 6674064 w 7298904"/>
                <a:gd name="connsiteY51" fmla="*/ 68580 h 2537460"/>
                <a:gd name="connsiteX52" fmla="*/ 6765504 w 7298904"/>
                <a:gd name="connsiteY52" fmla="*/ 121920 h 2537460"/>
                <a:gd name="connsiteX53" fmla="*/ 6876875 w 7298904"/>
                <a:gd name="connsiteY53" fmla="*/ 91414 h 2537460"/>
                <a:gd name="connsiteX54" fmla="*/ 7077924 w 7298904"/>
                <a:gd name="connsiteY54" fmla="*/ 121920 h 2537460"/>
                <a:gd name="connsiteX55" fmla="*/ 7133755 w 7298904"/>
                <a:gd name="connsiteY55" fmla="*/ 103794 h 2537460"/>
                <a:gd name="connsiteX56" fmla="*/ 7298904 w 7298904"/>
                <a:gd name="connsiteY56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295549 w 7298904"/>
                <a:gd name="connsiteY40" fmla="*/ 220980 h 2537460"/>
                <a:gd name="connsiteX41" fmla="*/ 5345606 w 7298904"/>
                <a:gd name="connsiteY41" fmla="*/ 175247 h 2537460"/>
                <a:gd name="connsiteX42" fmla="*/ 5858724 w 7298904"/>
                <a:gd name="connsiteY42" fmla="*/ 106680 h 2537460"/>
                <a:gd name="connsiteX43" fmla="*/ 5920741 w 7298904"/>
                <a:gd name="connsiteY43" fmla="*/ 118091 h 2537460"/>
                <a:gd name="connsiteX44" fmla="*/ 5980644 w 7298904"/>
                <a:gd name="connsiteY44" fmla="*/ 99060 h 2537460"/>
                <a:gd name="connsiteX45" fmla="*/ 6110184 w 7298904"/>
                <a:gd name="connsiteY45" fmla="*/ 99060 h 2537460"/>
                <a:gd name="connsiteX46" fmla="*/ 6213231 w 7298904"/>
                <a:gd name="connsiteY46" fmla="*/ 83808 h 2537460"/>
                <a:gd name="connsiteX47" fmla="*/ 6331164 w 7298904"/>
                <a:gd name="connsiteY47" fmla="*/ 15240 h 2537460"/>
                <a:gd name="connsiteX48" fmla="*/ 6399744 w 7298904"/>
                <a:gd name="connsiteY48" fmla="*/ 0 h 2537460"/>
                <a:gd name="connsiteX49" fmla="*/ 6605484 w 7298904"/>
                <a:gd name="connsiteY49" fmla="*/ 45720 h 2537460"/>
                <a:gd name="connsiteX50" fmla="*/ 6674064 w 7298904"/>
                <a:gd name="connsiteY50" fmla="*/ 68580 h 2537460"/>
                <a:gd name="connsiteX51" fmla="*/ 6765504 w 7298904"/>
                <a:gd name="connsiteY51" fmla="*/ 121920 h 2537460"/>
                <a:gd name="connsiteX52" fmla="*/ 6876875 w 7298904"/>
                <a:gd name="connsiteY52" fmla="*/ 91414 h 2537460"/>
                <a:gd name="connsiteX53" fmla="*/ 7077924 w 7298904"/>
                <a:gd name="connsiteY53" fmla="*/ 121920 h 2537460"/>
                <a:gd name="connsiteX54" fmla="*/ 7133755 w 7298904"/>
                <a:gd name="connsiteY54" fmla="*/ 103794 h 2537460"/>
                <a:gd name="connsiteX55" fmla="*/ 7298904 w 7298904"/>
                <a:gd name="connsiteY55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295549 w 7298904"/>
                <a:gd name="connsiteY40" fmla="*/ 220980 h 2537460"/>
                <a:gd name="connsiteX41" fmla="*/ 5858724 w 7298904"/>
                <a:gd name="connsiteY41" fmla="*/ 106680 h 2537460"/>
                <a:gd name="connsiteX42" fmla="*/ 5920741 w 7298904"/>
                <a:gd name="connsiteY42" fmla="*/ 118091 h 2537460"/>
                <a:gd name="connsiteX43" fmla="*/ 5980644 w 7298904"/>
                <a:gd name="connsiteY43" fmla="*/ 99060 h 2537460"/>
                <a:gd name="connsiteX44" fmla="*/ 6110184 w 7298904"/>
                <a:gd name="connsiteY44" fmla="*/ 99060 h 2537460"/>
                <a:gd name="connsiteX45" fmla="*/ 6213231 w 7298904"/>
                <a:gd name="connsiteY45" fmla="*/ 83808 h 2537460"/>
                <a:gd name="connsiteX46" fmla="*/ 6331164 w 7298904"/>
                <a:gd name="connsiteY46" fmla="*/ 15240 h 2537460"/>
                <a:gd name="connsiteX47" fmla="*/ 6399744 w 7298904"/>
                <a:gd name="connsiteY47" fmla="*/ 0 h 2537460"/>
                <a:gd name="connsiteX48" fmla="*/ 6605484 w 7298904"/>
                <a:gd name="connsiteY48" fmla="*/ 45720 h 2537460"/>
                <a:gd name="connsiteX49" fmla="*/ 6674064 w 7298904"/>
                <a:gd name="connsiteY49" fmla="*/ 68580 h 2537460"/>
                <a:gd name="connsiteX50" fmla="*/ 6765504 w 7298904"/>
                <a:gd name="connsiteY50" fmla="*/ 121920 h 2537460"/>
                <a:gd name="connsiteX51" fmla="*/ 6876875 w 7298904"/>
                <a:gd name="connsiteY51" fmla="*/ 91414 h 2537460"/>
                <a:gd name="connsiteX52" fmla="*/ 7077924 w 7298904"/>
                <a:gd name="connsiteY52" fmla="*/ 121920 h 2537460"/>
                <a:gd name="connsiteX53" fmla="*/ 7133755 w 7298904"/>
                <a:gd name="connsiteY53" fmla="*/ 103794 h 2537460"/>
                <a:gd name="connsiteX54" fmla="*/ 7298904 w 7298904"/>
                <a:gd name="connsiteY54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858724 w 7298904"/>
                <a:gd name="connsiteY40" fmla="*/ 106680 h 2537460"/>
                <a:gd name="connsiteX41" fmla="*/ 5920741 w 7298904"/>
                <a:gd name="connsiteY41" fmla="*/ 118091 h 2537460"/>
                <a:gd name="connsiteX42" fmla="*/ 5980644 w 7298904"/>
                <a:gd name="connsiteY42" fmla="*/ 99060 h 2537460"/>
                <a:gd name="connsiteX43" fmla="*/ 6110184 w 7298904"/>
                <a:gd name="connsiteY43" fmla="*/ 99060 h 2537460"/>
                <a:gd name="connsiteX44" fmla="*/ 6213231 w 7298904"/>
                <a:gd name="connsiteY44" fmla="*/ 83808 h 2537460"/>
                <a:gd name="connsiteX45" fmla="*/ 6331164 w 7298904"/>
                <a:gd name="connsiteY45" fmla="*/ 15240 h 2537460"/>
                <a:gd name="connsiteX46" fmla="*/ 6399744 w 7298904"/>
                <a:gd name="connsiteY46" fmla="*/ 0 h 2537460"/>
                <a:gd name="connsiteX47" fmla="*/ 6605484 w 7298904"/>
                <a:gd name="connsiteY47" fmla="*/ 45720 h 2537460"/>
                <a:gd name="connsiteX48" fmla="*/ 6674064 w 7298904"/>
                <a:gd name="connsiteY48" fmla="*/ 68580 h 2537460"/>
                <a:gd name="connsiteX49" fmla="*/ 6765504 w 7298904"/>
                <a:gd name="connsiteY49" fmla="*/ 121920 h 2537460"/>
                <a:gd name="connsiteX50" fmla="*/ 6876875 w 7298904"/>
                <a:gd name="connsiteY50" fmla="*/ 91414 h 2537460"/>
                <a:gd name="connsiteX51" fmla="*/ 7077924 w 7298904"/>
                <a:gd name="connsiteY51" fmla="*/ 121920 h 2537460"/>
                <a:gd name="connsiteX52" fmla="*/ 7133755 w 7298904"/>
                <a:gd name="connsiteY52" fmla="*/ 103794 h 2537460"/>
                <a:gd name="connsiteX53" fmla="*/ 7298904 w 7298904"/>
                <a:gd name="connsiteY53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858724 w 7298904"/>
                <a:gd name="connsiteY40" fmla="*/ 106680 h 2537460"/>
                <a:gd name="connsiteX41" fmla="*/ 5980644 w 7298904"/>
                <a:gd name="connsiteY41" fmla="*/ 99060 h 2537460"/>
                <a:gd name="connsiteX42" fmla="*/ 6110184 w 7298904"/>
                <a:gd name="connsiteY42" fmla="*/ 99060 h 2537460"/>
                <a:gd name="connsiteX43" fmla="*/ 6213231 w 7298904"/>
                <a:gd name="connsiteY43" fmla="*/ 83808 h 2537460"/>
                <a:gd name="connsiteX44" fmla="*/ 6331164 w 7298904"/>
                <a:gd name="connsiteY44" fmla="*/ 15240 h 2537460"/>
                <a:gd name="connsiteX45" fmla="*/ 6399744 w 7298904"/>
                <a:gd name="connsiteY45" fmla="*/ 0 h 2537460"/>
                <a:gd name="connsiteX46" fmla="*/ 6605484 w 7298904"/>
                <a:gd name="connsiteY46" fmla="*/ 45720 h 2537460"/>
                <a:gd name="connsiteX47" fmla="*/ 6674064 w 7298904"/>
                <a:gd name="connsiteY47" fmla="*/ 68580 h 2537460"/>
                <a:gd name="connsiteX48" fmla="*/ 6765504 w 7298904"/>
                <a:gd name="connsiteY48" fmla="*/ 121920 h 2537460"/>
                <a:gd name="connsiteX49" fmla="*/ 6876875 w 7298904"/>
                <a:gd name="connsiteY49" fmla="*/ 91414 h 2537460"/>
                <a:gd name="connsiteX50" fmla="*/ 7077924 w 7298904"/>
                <a:gd name="connsiteY50" fmla="*/ 121920 h 2537460"/>
                <a:gd name="connsiteX51" fmla="*/ 7133755 w 7298904"/>
                <a:gd name="connsiteY51" fmla="*/ 103794 h 2537460"/>
                <a:gd name="connsiteX52" fmla="*/ 7298904 w 7298904"/>
                <a:gd name="connsiteY52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980644 w 7298904"/>
                <a:gd name="connsiteY40" fmla="*/ 99060 h 2537460"/>
                <a:gd name="connsiteX41" fmla="*/ 6110184 w 7298904"/>
                <a:gd name="connsiteY41" fmla="*/ 99060 h 2537460"/>
                <a:gd name="connsiteX42" fmla="*/ 6213231 w 7298904"/>
                <a:gd name="connsiteY42" fmla="*/ 83808 h 2537460"/>
                <a:gd name="connsiteX43" fmla="*/ 6331164 w 7298904"/>
                <a:gd name="connsiteY43" fmla="*/ 15240 h 2537460"/>
                <a:gd name="connsiteX44" fmla="*/ 6399744 w 7298904"/>
                <a:gd name="connsiteY44" fmla="*/ 0 h 2537460"/>
                <a:gd name="connsiteX45" fmla="*/ 6605484 w 7298904"/>
                <a:gd name="connsiteY45" fmla="*/ 45720 h 2537460"/>
                <a:gd name="connsiteX46" fmla="*/ 6674064 w 7298904"/>
                <a:gd name="connsiteY46" fmla="*/ 68580 h 2537460"/>
                <a:gd name="connsiteX47" fmla="*/ 6765504 w 7298904"/>
                <a:gd name="connsiteY47" fmla="*/ 121920 h 2537460"/>
                <a:gd name="connsiteX48" fmla="*/ 6876875 w 7298904"/>
                <a:gd name="connsiteY48" fmla="*/ 91414 h 2537460"/>
                <a:gd name="connsiteX49" fmla="*/ 7077924 w 7298904"/>
                <a:gd name="connsiteY49" fmla="*/ 121920 h 2537460"/>
                <a:gd name="connsiteX50" fmla="*/ 7133755 w 7298904"/>
                <a:gd name="connsiteY50" fmla="*/ 103794 h 2537460"/>
                <a:gd name="connsiteX51" fmla="*/ 7298904 w 7298904"/>
                <a:gd name="connsiteY51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5980644 w 7298904"/>
                <a:gd name="connsiteY40" fmla="*/ 99060 h 2537460"/>
                <a:gd name="connsiteX41" fmla="*/ 6213231 w 7298904"/>
                <a:gd name="connsiteY41" fmla="*/ 83808 h 2537460"/>
                <a:gd name="connsiteX42" fmla="*/ 6331164 w 7298904"/>
                <a:gd name="connsiteY42" fmla="*/ 15240 h 2537460"/>
                <a:gd name="connsiteX43" fmla="*/ 6399744 w 7298904"/>
                <a:gd name="connsiteY43" fmla="*/ 0 h 2537460"/>
                <a:gd name="connsiteX44" fmla="*/ 6605484 w 7298904"/>
                <a:gd name="connsiteY44" fmla="*/ 45720 h 2537460"/>
                <a:gd name="connsiteX45" fmla="*/ 6674064 w 7298904"/>
                <a:gd name="connsiteY45" fmla="*/ 68580 h 2537460"/>
                <a:gd name="connsiteX46" fmla="*/ 6765504 w 7298904"/>
                <a:gd name="connsiteY46" fmla="*/ 121920 h 2537460"/>
                <a:gd name="connsiteX47" fmla="*/ 6876875 w 7298904"/>
                <a:gd name="connsiteY47" fmla="*/ 91414 h 2537460"/>
                <a:gd name="connsiteX48" fmla="*/ 7077924 w 7298904"/>
                <a:gd name="connsiteY48" fmla="*/ 121920 h 2537460"/>
                <a:gd name="connsiteX49" fmla="*/ 7133755 w 7298904"/>
                <a:gd name="connsiteY49" fmla="*/ 103794 h 2537460"/>
                <a:gd name="connsiteX50" fmla="*/ 7298904 w 7298904"/>
                <a:gd name="connsiteY50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6213231 w 7298904"/>
                <a:gd name="connsiteY40" fmla="*/ 83808 h 2537460"/>
                <a:gd name="connsiteX41" fmla="*/ 6331164 w 7298904"/>
                <a:gd name="connsiteY41" fmla="*/ 15240 h 2537460"/>
                <a:gd name="connsiteX42" fmla="*/ 6399744 w 7298904"/>
                <a:gd name="connsiteY42" fmla="*/ 0 h 2537460"/>
                <a:gd name="connsiteX43" fmla="*/ 6605484 w 7298904"/>
                <a:gd name="connsiteY43" fmla="*/ 45720 h 2537460"/>
                <a:gd name="connsiteX44" fmla="*/ 6674064 w 7298904"/>
                <a:gd name="connsiteY44" fmla="*/ 68580 h 2537460"/>
                <a:gd name="connsiteX45" fmla="*/ 6765504 w 7298904"/>
                <a:gd name="connsiteY45" fmla="*/ 121920 h 2537460"/>
                <a:gd name="connsiteX46" fmla="*/ 6876875 w 7298904"/>
                <a:gd name="connsiteY46" fmla="*/ 91414 h 2537460"/>
                <a:gd name="connsiteX47" fmla="*/ 7077924 w 7298904"/>
                <a:gd name="connsiteY47" fmla="*/ 121920 h 2537460"/>
                <a:gd name="connsiteX48" fmla="*/ 7133755 w 7298904"/>
                <a:gd name="connsiteY48" fmla="*/ 103794 h 2537460"/>
                <a:gd name="connsiteX49" fmla="*/ 7298904 w 7298904"/>
                <a:gd name="connsiteY49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6331164 w 7298904"/>
                <a:gd name="connsiteY40" fmla="*/ 15240 h 2537460"/>
                <a:gd name="connsiteX41" fmla="*/ 6399744 w 7298904"/>
                <a:gd name="connsiteY41" fmla="*/ 0 h 2537460"/>
                <a:gd name="connsiteX42" fmla="*/ 6605484 w 7298904"/>
                <a:gd name="connsiteY42" fmla="*/ 45720 h 2537460"/>
                <a:gd name="connsiteX43" fmla="*/ 6674064 w 7298904"/>
                <a:gd name="connsiteY43" fmla="*/ 68580 h 2537460"/>
                <a:gd name="connsiteX44" fmla="*/ 6765504 w 7298904"/>
                <a:gd name="connsiteY44" fmla="*/ 121920 h 2537460"/>
                <a:gd name="connsiteX45" fmla="*/ 6876875 w 7298904"/>
                <a:gd name="connsiteY45" fmla="*/ 91414 h 2537460"/>
                <a:gd name="connsiteX46" fmla="*/ 7077924 w 7298904"/>
                <a:gd name="connsiteY46" fmla="*/ 121920 h 2537460"/>
                <a:gd name="connsiteX47" fmla="*/ 7133755 w 7298904"/>
                <a:gd name="connsiteY47" fmla="*/ 103794 h 2537460"/>
                <a:gd name="connsiteX48" fmla="*/ 7298904 w 7298904"/>
                <a:gd name="connsiteY48" fmla="*/ 106680 h 2537460"/>
                <a:gd name="connsiteX0" fmla="*/ 0 w 7298904"/>
                <a:gd name="connsiteY0" fmla="*/ 2537460 h 2537460"/>
                <a:gd name="connsiteX1" fmla="*/ 265644 w 7298904"/>
                <a:gd name="connsiteY1" fmla="*/ 2529840 h 2537460"/>
                <a:gd name="connsiteX2" fmla="*/ 326604 w 7298904"/>
                <a:gd name="connsiteY2" fmla="*/ 2499360 h 2537460"/>
                <a:gd name="connsiteX3" fmla="*/ 425664 w 7298904"/>
                <a:gd name="connsiteY3" fmla="*/ 2491740 h 2537460"/>
                <a:gd name="connsiteX4" fmla="*/ 570444 w 7298904"/>
                <a:gd name="connsiteY4" fmla="*/ 2407920 h 2537460"/>
                <a:gd name="connsiteX5" fmla="*/ 684744 w 7298904"/>
                <a:gd name="connsiteY5" fmla="*/ 2278380 h 2537460"/>
                <a:gd name="connsiteX6" fmla="*/ 776184 w 7298904"/>
                <a:gd name="connsiteY6" fmla="*/ 2255520 h 2537460"/>
                <a:gd name="connsiteX7" fmla="*/ 905724 w 7298904"/>
                <a:gd name="connsiteY7" fmla="*/ 2087880 h 2537460"/>
                <a:gd name="connsiteX8" fmla="*/ 989544 w 7298904"/>
                <a:gd name="connsiteY8" fmla="*/ 2026920 h 2537460"/>
                <a:gd name="connsiteX9" fmla="*/ 1028700 w 7298904"/>
                <a:gd name="connsiteY9" fmla="*/ 1889760 h 2537460"/>
                <a:gd name="connsiteX10" fmla="*/ 1111464 w 7298904"/>
                <a:gd name="connsiteY10" fmla="*/ 1765907 h 2537460"/>
                <a:gd name="connsiteX11" fmla="*/ 1203960 w 7298904"/>
                <a:gd name="connsiteY11" fmla="*/ 1514484 h 2537460"/>
                <a:gd name="connsiteX12" fmla="*/ 1274710 w 7298904"/>
                <a:gd name="connsiteY12" fmla="*/ 1379221 h 2537460"/>
                <a:gd name="connsiteX13" fmla="*/ 1405362 w 7298904"/>
                <a:gd name="connsiteY13" fmla="*/ 1303020 h 2537460"/>
                <a:gd name="connsiteX14" fmla="*/ 1460872 w 7298904"/>
                <a:gd name="connsiteY14" fmla="*/ 1188720 h 2537460"/>
                <a:gd name="connsiteX15" fmla="*/ 1524001 w 7298904"/>
                <a:gd name="connsiteY15" fmla="*/ 1112495 h 2537460"/>
                <a:gd name="connsiteX16" fmla="*/ 1606764 w 7298904"/>
                <a:gd name="connsiteY16" fmla="*/ 1112520 h 2537460"/>
                <a:gd name="connsiteX17" fmla="*/ 1652484 w 7298904"/>
                <a:gd name="connsiteY17" fmla="*/ 1127760 h 2537460"/>
                <a:gd name="connsiteX18" fmla="*/ 1713444 w 7298904"/>
                <a:gd name="connsiteY18" fmla="*/ 1051560 h 2537460"/>
                <a:gd name="connsiteX19" fmla="*/ 1759164 w 7298904"/>
                <a:gd name="connsiteY19" fmla="*/ 1005840 h 2537460"/>
                <a:gd name="connsiteX20" fmla="*/ 1903944 w 7298904"/>
                <a:gd name="connsiteY20" fmla="*/ 1021080 h 2537460"/>
                <a:gd name="connsiteX21" fmla="*/ 2025864 w 7298904"/>
                <a:gd name="connsiteY21" fmla="*/ 1036320 h 2537460"/>
                <a:gd name="connsiteX22" fmla="*/ 2155404 w 7298904"/>
                <a:gd name="connsiteY22" fmla="*/ 1082040 h 2537460"/>
                <a:gd name="connsiteX23" fmla="*/ 2223984 w 7298904"/>
                <a:gd name="connsiteY23" fmla="*/ 1051560 h 2537460"/>
                <a:gd name="connsiteX24" fmla="*/ 2399244 w 7298904"/>
                <a:gd name="connsiteY24" fmla="*/ 1049626 h 2537460"/>
                <a:gd name="connsiteX25" fmla="*/ 2451472 w 7298904"/>
                <a:gd name="connsiteY25" fmla="*/ 1019147 h 2537460"/>
                <a:gd name="connsiteX26" fmla="*/ 2488459 w 7298904"/>
                <a:gd name="connsiteY26" fmla="*/ 937260 h 2537460"/>
                <a:gd name="connsiteX27" fmla="*/ 2611492 w 7298904"/>
                <a:gd name="connsiteY27" fmla="*/ 893434 h 2537460"/>
                <a:gd name="connsiteX28" fmla="*/ 2674268 w 7298904"/>
                <a:gd name="connsiteY28" fmla="*/ 822961 h 2537460"/>
                <a:gd name="connsiteX29" fmla="*/ 2818344 w 7298904"/>
                <a:gd name="connsiteY29" fmla="*/ 822960 h 2537460"/>
                <a:gd name="connsiteX30" fmla="*/ 2932644 w 7298904"/>
                <a:gd name="connsiteY30" fmla="*/ 830580 h 2537460"/>
                <a:gd name="connsiteX31" fmla="*/ 3044367 w 7298904"/>
                <a:gd name="connsiteY31" fmla="*/ 773385 h 2537460"/>
                <a:gd name="connsiteX32" fmla="*/ 3108608 w 7298904"/>
                <a:gd name="connsiteY32" fmla="*/ 720084 h 2537460"/>
                <a:gd name="connsiteX33" fmla="*/ 3222204 w 7298904"/>
                <a:gd name="connsiteY33" fmla="*/ 701040 h 2537460"/>
                <a:gd name="connsiteX34" fmla="*/ 3298404 w 7298904"/>
                <a:gd name="connsiteY34" fmla="*/ 628631 h 2537460"/>
                <a:gd name="connsiteX35" fmla="*/ 3412705 w 7298904"/>
                <a:gd name="connsiteY35" fmla="*/ 567671 h 2537460"/>
                <a:gd name="connsiteX36" fmla="*/ 3481285 w 7298904"/>
                <a:gd name="connsiteY36" fmla="*/ 510515 h 2537460"/>
                <a:gd name="connsiteX37" fmla="*/ 3531342 w 7298904"/>
                <a:gd name="connsiteY37" fmla="*/ 441960 h 2537460"/>
                <a:gd name="connsiteX38" fmla="*/ 3587964 w 7298904"/>
                <a:gd name="connsiteY38" fmla="*/ 419100 h 2537460"/>
                <a:gd name="connsiteX39" fmla="*/ 3649277 w 7298904"/>
                <a:gd name="connsiteY39" fmla="*/ 407651 h 2537460"/>
                <a:gd name="connsiteX40" fmla="*/ 6399744 w 7298904"/>
                <a:gd name="connsiteY40" fmla="*/ 0 h 2537460"/>
                <a:gd name="connsiteX41" fmla="*/ 6605484 w 7298904"/>
                <a:gd name="connsiteY41" fmla="*/ 45720 h 2537460"/>
                <a:gd name="connsiteX42" fmla="*/ 6674064 w 7298904"/>
                <a:gd name="connsiteY42" fmla="*/ 68580 h 2537460"/>
                <a:gd name="connsiteX43" fmla="*/ 6765504 w 7298904"/>
                <a:gd name="connsiteY43" fmla="*/ 121920 h 2537460"/>
                <a:gd name="connsiteX44" fmla="*/ 6876875 w 7298904"/>
                <a:gd name="connsiteY44" fmla="*/ 91414 h 2537460"/>
                <a:gd name="connsiteX45" fmla="*/ 7077924 w 7298904"/>
                <a:gd name="connsiteY45" fmla="*/ 121920 h 2537460"/>
                <a:gd name="connsiteX46" fmla="*/ 7133755 w 7298904"/>
                <a:gd name="connsiteY46" fmla="*/ 103794 h 2537460"/>
                <a:gd name="connsiteX47" fmla="*/ 7298904 w 7298904"/>
                <a:gd name="connsiteY47" fmla="*/ 106680 h 2537460"/>
                <a:gd name="connsiteX0" fmla="*/ 0 w 7298904"/>
                <a:gd name="connsiteY0" fmla="*/ 2491740 h 2491740"/>
                <a:gd name="connsiteX1" fmla="*/ 265644 w 7298904"/>
                <a:gd name="connsiteY1" fmla="*/ 2484120 h 2491740"/>
                <a:gd name="connsiteX2" fmla="*/ 326604 w 7298904"/>
                <a:gd name="connsiteY2" fmla="*/ 2453640 h 2491740"/>
                <a:gd name="connsiteX3" fmla="*/ 425664 w 7298904"/>
                <a:gd name="connsiteY3" fmla="*/ 2446020 h 2491740"/>
                <a:gd name="connsiteX4" fmla="*/ 570444 w 7298904"/>
                <a:gd name="connsiteY4" fmla="*/ 2362200 h 2491740"/>
                <a:gd name="connsiteX5" fmla="*/ 684744 w 7298904"/>
                <a:gd name="connsiteY5" fmla="*/ 2232660 h 2491740"/>
                <a:gd name="connsiteX6" fmla="*/ 776184 w 7298904"/>
                <a:gd name="connsiteY6" fmla="*/ 2209800 h 2491740"/>
                <a:gd name="connsiteX7" fmla="*/ 905724 w 7298904"/>
                <a:gd name="connsiteY7" fmla="*/ 2042160 h 2491740"/>
                <a:gd name="connsiteX8" fmla="*/ 989544 w 7298904"/>
                <a:gd name="connsiteY8" fmla="*/ 1981200 h 2491740"/>
                <a:gd name="connsiteX9" fmla="*/ 1028700 w 7298904"/>
                <a:gd name="connsiteY9" fmla="*/ 1844040 h 2491740"/>
                <a:gd name="connsiteX10" fmla="*/ 1111464 w 7298904"/>
                <a:gd name="connsiteY10" fmla="*/ 1720187 h 2491740"/>
                <a:gd name="connsiteX11" fmla="*/ 1203960 w 7298904"/>
                <a:gd name="connsiteY11" fmla="*/ 1468764 h 2491740"/>
                <a:gd name="connsiteX12" fmla="*/ 1274710 w 7298904"/>
                <a:gd name="connsiteY12" fmla="*/ 1333501 h 2491740"/>
                <a:gd name="connsiteX13" fmla="*/ 1405362 w 7298904"/>
                <a:gd name="connsiteY13" fmla="*/ 1257300 h 2491740"/>
                <a:gd name="connsiteX14" fmla="*/ 1460872 w 7298904"/>
                <a:gd name="connsiteY14" fmla="*/ 1143000 h 2491740"/>
                <a:gd name="connsiteX15" fmla="*/ 1524001 w 7298904"/>
                <a:gd name="connsiteY15" fmla="*/ 1066775 h 2491740"/>
                <a:gd name="connsiteX16" fmla="*/ 1606764 w 7298904"/>
                <a:gd name="connsiteY16" fmla="*/ 1066800 h 2491740"/>
                <a:gd name="connsiteX17" fmla="*/ 1652484 w 7298904"/>
                <a:gd name="connsiteY17" fmla="*/ 1082040 h 2491740"/>
                <a:gd name="connsiteX18" fmla="*/ 1713444 w 7298904"/>
                <a:gd name="connsiteY18" fmla="*/ 1005840 h 2491740"/>
                <a:gd name="connsiteX19" fmla="*/ 1759164 w 7298904"/>
                <a:gd name="connsiteY19" fmla="*/ 960120 h 2491740"/>
                <a:gd name="connsiteX20" fmla="*/ 1903944 w 7298904"/>
                <a:gd name="connsiteY20" fmla="*/ 975360 h 2491740"/>
                <a:gd name="connsiteX21" fmla="*/ 2025864 w 7298904"/>
                <a:gd name="connsiteY21" fmla="*/ 990600 h 2491740"/>
                <a:gd name="connsiteX22" fmla="*/ 2155404 w 7298904"/>
                <a:gd name="connsiteY22" fmla="*/ 1036320 h 2491740"/>
                <a:gd name="connsiteX23" fmla="*/ 2223984 w 7298904"/>
                <a:gd name="connsiteY23" fmla="*/ 1005840 h 2491740"/>
                <a:gd name="connsiteX24" fmla="*/ 2399244 w 7298904"/>
                <a:gd name="connsiteY24" fmla="*/ 1003906 h 2491740"/>
                <a:gd name="connsiteX25" fmla="*/ 2451472 w 7298904"/>
                <a:gd name="connsiteY25" fmla="*/ 973427 h 2491740"/>
                <a:gd name="connsiteX26" fmla="*/ 2488459 w 7298904"/>
                <a:gd name="connsiteY26" fmla="*/ 891540 h 2491740"/>
                <a:gd name="connsiteX27" fmla="*/ 2611492 w 7298904"/>
                <a:gd name="connsiteY27" fmla="*/ 847714 h 2491740"/>
                <a:gd name="connsiteX28" fmla="*/ 2674268 w 7298904"/>
                <a:gd name="connsiteY28" fmla="*/ 777241 h 2491740"/>
                <a:gd name="connsiteX29" fmla="*/ 2818344 w 7298904"/>
                <a:gd name="connsiteY29" fmla="*/ 777240 h 2491740"/>
                <a:gd name="connsiteX30" fmla="*/ 2932644 w 7298904"/>
                <a:gd name="connsiteY30" fmla="*/ 784860 h 2491740"/>
                <a:gd name="connsiteX31" fmla="*/ 3044367 w 7298904"/>
                <a:gd name="connsiteY31" fmla="*/ 727665 h 2491740"/>
                <a:gd name="connsiteX32" fmla="*/ 3108608 w 7298904"/>
                <a:gd name="connsiteY32" fmla="*/ 674364 h 2491740"/>
                <a:gd name="connsiteX33" fmla="*/ 3222204 w 7298904"/>
                <a:gd name="connsiteY33" fmla="*/ 655320 h 2491740"/>
                <a:gd name="connsiteX34" fmla="*/ 3298404 w 7298904"/>
                <a:gd name="connsiteY34" fmla="*/ 582911 h 2491740"/>
                <a:gd name="connsiteX35" fmla="*/ 3412705 w 7298904"/>
                <a:gd name="connsiteY35" fmla="*/ 521951 h 2491740"/>
                <a:gd name="connsiteX36" fmla="*/ 3481285 w 7298904"/>
                <a:gd name="connsiteY36" fmla="*/ 464795 h 2491740"/>
                <a:gd name="connsiteX37" fmla="*/ 3531342 w 7298904"/>
                <a:gd name="connsiteY37" fmla="*/ 396240 h 2491740"/>
                <a:gd name="connsiteX38" fmla="*/ 3587964 w 7298904"/>
                <a:gd name="connsiteY38" fmla="*/ 373380 h 2491740"/>
                <a:gd name="connsiteX39" fmla="*/ 3649277 w 7298904"/>
                <a:gd name="connsiteY39" fmla="*/ 361931 h 2491740"/>
                <a:gd name="connsiteX40" fmla="*/ 6605484 w 7298904"/>
                <a:gd name="connsiteY40" fmla="*/ 0 h 2491740"/>
                <a:gd name="connsiteX41" fmla="*/ 6674064 w 7298904"/>
                <a:gd name="connsiteY41" fmla="*/ 22860 h 2491740"/>
                <a:gd name="connsiteX42" fmla="*/ 6765504 w 7298904"/>
                <a:gd name="connsiteY42" fmla="*/ 76200 h 2491740"/>
                <a:gd name="connsiteX43" fmla="*/ 6876875 w 7298904"/>
                <a:gd name="connsiteY43" fmla="*/ 45694 h 2491740"/>
                <a:gd name="connsiteX44" fmla="*/ 7077924 w 7298904"/>
                <a:gd name="connsiteY44" fmla="*/ 76200 h 2491740"/>
                <a:gd name="connsiteX45" fmla="*/ 7133755 w 7298904"/>
                <a:gd name="connsiteY45" fmla="*/ 58074 h 2491740"/>
                <a:gd name="connsiteX46" fmla="*/ 7298904 w 7298904"/>
                <a:gd name="connsiteY46" fmla="*/ 60960 h 2491740"/>
                <a:gd name="connsiteX0" fmla="*/ 0 w 7298904"/>
                <a:gd name="connsiteY0" fmla="*/ 2468879 h 2468879"/>
                <a:gd name="connsiteX1" fmla="*/ 265644 w 7298904"/>
                <a:gd name="connsiteY1" fmla="*/ 2461259 h 2468879"/>
                <a:gd name="connsiteX2" fmla="*/ 326604 w 7298904"/>
                <a:gd name="connsiteY2" fmla="*/ 2430779 h 2468879"/>
                <a:gd name="connsiteX3" fmla="*/ 425664 w 7298904"/>
                <a:gd name="connsiteY3" fmla="*/ 2423159 h 2468879"/>
                <a:gd name="connsiteX4" fmla="*/ 570444 w 7298904"/>
                <a:gd name="connsiteY4" fmla="*/ 2339339 h 2468879"/>
                <a:gd name="connsiteX5" fmla="*/ 684744 w 7298904"/>
                <a:gd name="connsiteY5" fmla="*/ 2209799 h 2468879"/>
                <a:gd name="connsiteX6" fmla="*/ 776184 w 7298904"/>
                <a:gd name="connsiteY6" fmla="*/ 2186939 h 2468879"/>
                <a:gd name="connsiteX7" fmla="*/ 905724 w 7298904"/>
                <a:gd name="connsiteY7" fmla="*/ 2019299 h 2468879"/>
                <a:gd name="connsiteX8" fmla="*/ 989544 w 7298904"/>
                <a:gd name="connsiteY8" fmla="*/ 1958339 h 2468879"/>
                <a:gd name="connsiteX9" fmla="*/ 1028700 w 7298904"/>
                <a:gd name="connsiteY9" fmla="*/ 1821179 h 2468879"/>
                <a:gd name="connsiteX10" fmla="*/ 1111464 w 7298904"/>
                <a:gd name="connsiteY10" fmla="*/ 1697326 h 2468879"/>
                <a:gd name="connsiteX11" fmla="*/ 1203960 w 7298904"/>
                <a:gd name="connsiteY11" fmla="*/ 1445903 h 2468879"/>
                <a:gd name="connsiteX12" fmla="*/ 1274710 w 7298904"/>
                <a:gd name="connsiteY12" fmla="*/ 1310640 h 2468879"/>
                <a:gd name="connsiteX13" fmla="*/ 1405362 w 7298904"/>
                <a:gd name="connsiteY13" fmla="*/ 1234439 h 2468879"/>
                <a:gd name="connsiteX14" fmla="*/ 1460872 w 7298904"/>
                <a:gd name="connsiteY14" fmla="*/ 1120139 h 2468879"/>
                <a:gd name="connsiteX15" fmla="*/ 1524001 w 7298904"/>
                <a:gd name="connsiteY15" fmla="*/ 1043914 h 2468879"/>
                <a:gd name="connsiteX16" fmla="*/ 1606764 w 7298904"/>
                <a:gd name="connsiteY16" fmla="*/ 1043939 h 2468879"/>
                <a:gd name="connsiteX17" fmla="*/ 1652484 w 7298904"/>
                <a:gd name="connsiteY17" fmla="*/ 1059179 h 2468879"/>
                <a:gd name="connsiteX18" fmla="*/ 1713444 w 7298904"/>
                <a:gd name="connsiteY18" fmla="*/ 982979 h 2468879"/>
                <a:gd name="connsiteX19" fmla="*/ 1759164 w 7298904"/>
                <a:gd name="connsiteY19" fmla="*/ 937259 h 2468879"/>
                <a:gd name="connsiteX20" fmla="*/ 1903944 w 7298904"/>
                <a:gd name="connsiteY20" fmla="*/ 952499 h 2468879"/>
                <a:gd name="connsiteX21" fmla="*/ 2025864 w 7298904"/>
                <a:gd name="connsiteY21" fmla="*/ 967739 h 2468879"/>
                <a:gd name="connsiteX22" fmla="*/ 2155404 w 7298904"/>
                <a:gd name="connsiteY22" fmla="*/ 1013459 h 2468879"/>
                <a:gd name="connsiteX23" fmla="*/ 2223984 w 7298904"/>
                <a:gd name="connsiteY23" fmla="*/ 982979 h 2468879"/>
                <a:gd name="connsiteX24" fmla="*/ 2399244 w 7298904"/>
                <a:gd name="connsiteY24" fmla="*/ 981045 h 2468879"/>
                <a:gd name="connsiteX25" fmla="*/ 2451472 w 7298904"/>
                <a:gd name="connsiteY25" fmla="*/ 950566 h 2468879"/>
                <a:gd name="connsiteX26" fmla="*/ 2488459 w 7298904"/>
                <a:gd name="connsiteY26" fmla="*/ 868679 h 2468879"/>
                <a:gd name="connsiteX27" fmla="*/ 2611492 w 7298904"/>
                <a:gd name="connsiteY27" fmla="*/ 824853 h 2468879"/>
                <a:gd name="connsiteX28" fmla="*/ 2674268 w 7298904"/>
                <a:gd name="connsiteY28" fmla="*/ 754380 h 2468879"/>
                <a:gd name="connsiteX29" fmla="*/ 2818344 w 7298904"/>
                <a:gd name="connsiteY29" fmla="*/ 754379 h 2468879"/>
                <a:gd name="connsiteX30" fmla="*/ 2932644 w 7298904"/>
                <a:gd name="connsiteY30" fmla="*/ 761999 h 2468879"/>
                <a:gd name="connsiteX31" fmla="*/ 3044367 w 7298904"/>
                <a:gd name="connsiteY31" fmla="*/ 704804 h 2468879"/>
                <a:gd name="connsiteX32" fmla="*/ 3108608 w 7298904"/>
                <a:gd name="connsiteY32" fmla="*/ 651503 h 2468879"/>
                <a:gd name="connsiteX33" fmla="*/ 3222204 w 7298904"/>
                <a:gd name="connsiteY33" fmla="*/ 632459 h 2468879"/>
                <a:gd name="connsiteX34" fmla="*/ 3298404 w 7298904"/>
                <a:gd name="connsiteY34" fmla="*/ 560050 h 2468879"/>
                <a:gd name="connsiteX35" fmla="*/ 3412705 w 7298904"/>
                <a:gd name="connsiteY35" fmla="*/ 499090 h 2468879"/>
                <a:gd name="connsiteX36" fmla="*/ 3481285 w 7298904"/>
                <a:gd name="connsiteY36" fmla="*/ 441934 h 2468879"/>
                <a:gd name="connsiteX37" fmla="*/ 3531342 w 7298904"/>
                <a:gd name="connsiteY37" fmla="*/ 373379 h 2468879"/>
                <a:gd name="connsiteX38" fmla="*/ 3587964 w 7298904"/>
                <a:gd name="connsiteY38" fmla="*/ 350519 h 2468879"/>
                <a:gd name="connsiteX39" fmla="*/ 3649277 w 7298904"/>
                <a:gd name="connsiteY39" fmla="*/ 339070 h 2468879"/>
                <a:gd name="connsiteX40" fmla="*/ 6674064 w 7298904"/>
                <a:gd name="connsiteY40" fmla="*/ -1 h 2468879"/>
                <a:gd name="connsiteX41" fmla="*/ 6765504 w 7298904"/>
                <a:gd name="connsiteY41" fmla="*/ 53339 h 2468879"/>
                <a:gd name="connsiteX42" fmla="*/ 6876875 w 7298904"/>
                <a:gd name="connsiteY42" fmla="*/ 22833 h 2468879"/>
                <a:gd name="connsiteX43" fmla="*/ 7077924 w 7298904"/>
                <a:gd name="connsiteY43" fmla="*/ 53339 h 2468879"/>
                <a:gd name="connsiteX44" fmla="*/ 7133755 w 7298904"/>
                <a:gd name="connsiteY44" fmla="*/ 35213 h 2468879"/>
                <a:gd name="connsiteX45" fmla="*/ 7298904 w 7298904"/>
                <a:gd name="connsiteY45" fmla="*/ 38099 h 2468879"/>
                <a:gd name="connsiteX0" fmla="*/ 0 w 7298904"/>
                <a:gd name="connsiteY0" fmla="*/ 2446047 h 2446047"/>
                <a:gd name="connsiteX1" fmla="*/ 265644 w 7298904"/>
                <a:gd name="connsiteY1" fmla="*/ 2438427 h 2446047"/>
                <a:gd name="connsiteX2" fmla="*/ 326604 w 7298904"/>
                <a:gd name="connsiteY2" fmla="*/ 2407947 h 2446047"/>
                <a:gd name="connsiteX3" fmla="*/ 425664 w 7298904"/>
                <a:gd name="connsiteY3" fmla="*/ 2400327 h 2446047"/>
                <a:gd name="connsiteX4" fmla="*/ 570444 w 7298904"/>
                <a:gd name="connsiteY4" fmla="*/ 2316507 h 2446047"/>
                <a:gd name="connsiteX5" fmla="*/ 684744 w 7298904"/>
                <a:gd name="connsiteY5" fmla="*/ 2186967 h 2446047"/>
                <a:gd name="connsiteX6" fmla="*/ 776184 w 7298904"/>
                <a:gd name="connsiteY6" fmla="*/ 2164107 h 2446047"/>
                <a:gd name="connsiteX7" fmla="*/ 905724 w 7298904"/>
                <a:gd name="connsiteY7" fmla="*/ 1996467 h 2446047"/>
                <a:gd name="connsiteX8" fmla="*/ 989544 w 7298904"/>
                <a:gd name="connsiteY8" fmla="*/ 1935507 h 2446047"/>
                <a:gd name="connsiteX9" fmla="*/ 1028700 w 7298904"/>
                <a:gd name="connsiteY9" fmla="*/ 1798347 h 2446047"/>
                <a:gd name="connsiteX10" fmla="*/ 1111464 w 7298904"/>
                <a:gd name="connsiteY10" fmla="*/ 1674494 h 2446047"/>
                <a:gd name="connsiteX11" fmla="*/ 1203960 w 7298904"/>
                <a:gd name="connsiteY11" fmla="*/ 1423071 h 2446047"/>
                <a:gd name="connsiteX12" fmla="*/ 1274710 w 7298904"/>
                <a:gd name="connsiteY12" fmla="*/ 1287808 h 2446047"/>
                <a:gd name="connsiteX13" fmla="*/ 1405362 w 7298904"/>
                <a:gd name="connsiteY13" fmla="*/ 1211607 h 2446047"/>
                <a:gd name="connsiteX14" fmla="*/ 1460872 w 7298904"/>
                <a:gd name="connsiteY14" fmla="*/ 1097307 h 2446047"/>
                <a:gd name="connsiteX15" fmla="*/ 1524001 w 7298904"/>
                <a:gd name="connsiteY15" fmla="*/ 1021082 h 2446047"/>
                <a:gd name="connsiteX16" fmla="*/ 1606764 w 7298904"/>
                <a:gd name="connsiteY16" fmla="*/ 1021107 h 2446047"/>
                <a:gd name="connsiteX17" fmla="*/ 1652484 w 7298904"/>
                <a:gd name="connsiteY17" fmla="*/ 1036347 h 2446047"/>
                <a:gd name="connsiteX18" fmla="*/ 1713444 w 7298904"/>
                <a:gd name="connsiteY18" fmla="*/ 960147 h 2446047"/>
                <a:gd name="connsiteX19" fmla="*/ 1759164 w 7298904"/>
                <a:gd name="connsiteY19" fmla="*/ 914427 h 2446047"/>
                <a:gd name="connsiteX20" fmla="*/ 1903944 w 7298904"/>
                <a:gd name="connsiteY20" fmla="*/ 929667 h 2446047"/>
                <a:gd name="connsiteX21" fmla="*/ 2025864 w 7298904"/>
                <a:gd name="connsiteY21" fmla="*/ 944907 h 2446047"/>
                <a:gd name="connsiteX22" fmla="*/ 2155404 w 7298904"/>
                <a:gd name="connsiteY22" fmla="*/ 990627 h 2446047"/>
                <a:gd name="connsiteX23" fmla="*/ 2223984 w 7298904"/>
                <a:gd name="connsiteY23" fmla="*/ 960147 h 2446047"/>
                <a:gd name="connsiteX24" fmla="*/ 2399244 w 7298904"/>
                <a:gd name="connsiteY24" fmla="*/ 958213 h 2446047"/>
                <a:gd name="connsiteX25" fmla="*/ 2451472 w 7298904"/>
                <a:gd name="connsiteY25" fmla="*/ 927734 h 2446047"/>
                <a:gd name="connsiteX26" fmla="*/ 2488459 w 7298904"/>
                <a:gd name="connsiteY26" fmla="*/ 845847 h 2446047"/>
                <a:gd name="connsiteX27" fmla="*/ 2611492 w 7298904"/>
                <a:gd name="connsiteY27" fmla="*/ 802021 h 2446047"/>
                <a:gd name="connsiteX28" fmla="*/ 2674268 w 7298904"/>
                <a:gd name="connsiteY28" fmla="*/ 731548 h 2446047"/>
                <a:gd name="connsiteX29" fmla="*/ 2818344 w 7298904"/>
                <a:gd name="connsiteY29" fmla="*/ 731547 h 2446047"/>
                <a:gd name="connsiteX30" fmla="*/ 2932644 w 7298904"/>
                <a:gd name="connsiteY30" fmla="*/ 739167 h 2446047"/>
                <a:gd name="connsiteX31" fmla="*/ 3044367 w 7298904"/>
                <a:gd name="connsiteY31" fmla="*/ 681972 h 2446047"/>
                <a:gd name="connsiteX32" fmla="*/ 3108608 w 7298904"/>
                <a:gd name="connsiteY32" fmla="*/ 628671 h 2446047"/>
                <a:gd name="connsiteX33" fmla="*/ 3222204 w 7298904"/>
                <a:gd name="connsiteY33" fmla="*/ 609627 h 2446047"/>
                <a:gd name="connsiteX34" fmla="*/ 3298404 w 7298904"/>
                <a:gd name="connsiteY34" fmla="*/ 537218 h 2446047"/>
                <a:gd name="connsiteX35" fmla="*/ 3412705 w 7298904"/>
                <a:gd name="connsiteY35" fmla="*/ 476258 h 2446047"/>
                <a:gd name="connsiteX36" fmla="*/ 3481285 w 7298904"/>
                <a:gd name="connsiteY36" fmla="*/ 419102 h 2446047"/>
                <a:gd name="connsiteX37" fmla="*/ 3531342 w 7298904"/>
                <a:gd name="connsiteY37" fmla="*/ 350547 h 2446047"/>
                <a:gd name="connsiteX38" fmla="*/ 3587964 w 7298904"/>
                <a:gd name="connsiteY38" fmla="*/ 327687 h 2446047"/>
                <a:gd name="connsiteX39" fmla="*/ 3649277 w 7298904"/>
                <a:gd name="connsiteY39" fmla="*/ 316238 h 2446047"/>
                <a:gd name="connsiteX40" fmla="*/ 6765504 w 7298904"/>
                <a:gd name="connsiteY40" fmla="*/ 30507 h 2446047"/>
                <a:gd name="connsiteX41" fmla="*/ 6876875 w 7298904"/>
                <a:gd name="connsiteY41" fmla="*/ 1 h 2446047"/>
                <a:gd name="connsiteX42" fmla="*/ 7077924 w 7298904"/>
                <a:gd name="connsiteY42" fmla="*/ 30507 h 2446047"/>
                <a:gd name="connsiteX43" fmla="*/ 7133755 w 7298904"/>
                <a:gd name="connsiteY43" fmla="*/ 12381 h 2446047"/>
                <a:gd name="connsiteX44" fmla="*/ 7298904 w 7298904"/>
                <a:gd name="connsiteY44" fmla="*/ 15267 h 2446047"/>
                <a:gd name="connsiteX0" fmla="*/ 0 w 7298904"/>
                <a:gd name="connsiteY0" fmla="*/ 2446047 h 2446047"/>
                <a:gd name="connsiteX1" fmla="*/ 265644 w 7298904"/>
                <a:gd name="connsiteY1" fmla="*/ 2438427 h 2446047"/>
                <a:gd name="connsiteX2" fmla="*/ 326604 w 7298904"/>
                <a:gd name="connsiteY2" fmla="*/ 2407947 h 2446047"/>
                <a:gd name="connsiteX3" fmla="*/ 425664 w 7298904"/>
                <a:gd name="connsiteY3" fmla="*/ 2400327 h 2446047"/>
                <a:gd name="connsiteX4" fmla="*/ 570444 w 7298904"/>
                <a:gd name="connsiteY4" fmla="*/ 2316507 h 2446047"/>
                <a:gd name="connsiteX5" fmla="*/ 684744 w 7298904"/>
                <a:gd name="connsiteY5" fmla="*/ 2186967 h 2446047"/>
                <a:gd name="connsiteX6" fmla="*/ 776184 w 7298904"/>
                <a:gd name="connsiteY6" fmla="*/ 2164107 h 2446047"/>
                <a:gd name="connsiteX7" fmla="*/ 905724 w 7298904"/>
                <a:gd name="connsiteY7" fmla="*/ 1996467 h 2446047"/>
                <a:gd name="connsiteX8" fmla="*/ 989544 w 7298904"/>
                <a:gd name="connsiteY8" fmla="*/ 1935507 h 2446047"/>
                <a:gd name="connsiteX9" fmla="*/ 1028700 w 7298904"/>
                <a:gd name="connsiteY9" fmla="*/ 1798347 h 2446047"/>
                <a:gd name="connsiteX10" fmla="*/ 1111464 w 7298904"/>
                <a:gd name="connsiteY10" fmla="*/ 1674494 h 2446047"/>
                <a:gd name="connsiteX11" fmla="*/ 1203960 w 7298904"/>
                <a:gd name="connsiteY11" fmla="*/ 1423071 h 2446047"/>
                <a:gd name="connsiteX12" fmla="*/ 1274710 w 7298904"/>
                <a:gd name="connsiteY12" fmla="*/ 1287808 h 2446047"/>
                <a:gd name="connsiteX13" fmla="*/ 1405362 w 7298904"/>
                <a:gd name="connsiteY13" fmla="*/ 1211607 h 2446047"/>
                <a:gd name="connsiteX14" fmla="*/ 1460872 w 7298904"/>
                <a:gd name="connsiteY14" fmla="*/ 1097307 h 2446047"/>
                <a:gd name="connsiteX15" fmla="*/ 1524001 w 7298904"/>
                <a:gd name="connsiteY15" fmla="*/ 1021082 h 2446047"/>
                <a:gd name="connsiteX16" fmla="*/ 1606764 w 7298904"/>
                <a:gd name="connsiteY16" fmla="*/ 1021107 h 2446047"/>
                <a:gd name="connsiteX17" fmla="*/ 1652484 w 7298904"/>
                <a:gd name="connsiteY17" fmla="*/ 1036347 h 2446047"/>
                <a:gd name="connsiteX18" fmla="*/ 1713444 w 7298904"/>
                <a:gd name="connsiteY18" fmla="*/ 960147 h 2446047"/>
                <a:gd name="connsiteX19" fmla="*/ 1759164 w 7298904"/>
                <a:gd name="connsiteY19" fmla="*/ 914427 h 2446047"/>
                <a:gd name="connsiteX20" fmla="*/ 1903944 w 7298904"/>
                <a:gd name="connsiteY20" fmla="*/ 929667 h 2446047"/>
                <a:gd name="connsiteX21" fmla="*/ 2025864 w 7298904"/>
                <a:gd name="connsiteY21" fmla="*/ 944907 h 2446047"/>
                <a:gd name="connsiteX22" fmla="*/ 2155404 w 7298904"/>
                <a:gd name="connsiteY22" fmla="*/ 990627 h 2446047"/>
                <a:gd name="connsiteX23" fmla="*/ 2223984 w 7298904"/>
                <a:gd name="connsiteY23" fmla="*/ 960147 h 2446047"/>
                <a:gd name="connsiteX24" fmla="*/ 2399244 w 7298904"/>
                <a:gd name="connsiteY24" fmla="*/ 958213 h 2446047"/>
                <a:gd name="connsiteX25" fmla="*/ 2451472 w 7298904"/>
                <a:gd name="connsiteY25" fmla="*/ 927734 h 2446047"/>
                <a:gd name="connsiteX26" fmla="*/ 2488459 w 7298904"/>
                <a:gd name="connsiteY26" fmla="*/ 845847 h 2446047"/>
                <a:gd name="connsiteX27" fmla="*/ 2611492 w 7298904"/>
                <a:gd name="connsiteY27" fmla="*/ 802021 h 2446047"/>
                <a:gd name="connsiteX28" fmla="*/ 2674268 w 7298904"/>
                <a:gd name="connsiteY28" fmla="*/ 731548 h 2446047"/>
                <a:gd name="connsiteX29" fmla="*/ 2818344 w 7298904"/>
                <a:gd name="connsiteY29" fmla="*/ 731547 h 2446047"/>
                <a:gd name="connsiteX30" fmla="*/ 2932644 w 7298904"/>
                <a:gd name="connsiteY30" fmla="*/ 739167 h 2446047"/>
                <a:gd name="connsiteX31" fmla="*/ 3044367 w 7298904"/>
                <a:gd name="connsiteY31" fmla="*/ 681972 h 2446047"/>
                <a:gd name="connsiteX32" fmla="*/ 3108608 w 7298904"/>
                <a:gd name="connsiteY32" fmla="*/ 628671 h 2446047"/>
                <a:gd name="connsiteX33" fmla="*/ 3222204 w 7298904"/>
                <a:gd name="connsiteY33" fmla="*/ 609627 h 2446047"/>
                <a:gd name="connsiteX34" fmla="*/ 3298404 w 7298904"/>
                <a:gd name="connsiteY34" fmla="*/ 537218 h 2446047"/>
                <a:gd name="connsiteX35" fmla="*/ 3412705 w 7298904"/>
                <a:gd name="connsiteY35" fmla="*/ 476258 h 2446047"/>
                <a:gd name="connsiteX36" fmla="*/ 3481285 w 7298904"/>
                <a:gd name="connsiteY36" fmla="*/ 419102 h 2446047"/>
                <a:gd name="connsiteX37" fmla="*/ 3531342 w 7298904"/>
                <a:gd name="connsiteY37" fmla="*/ 350547 h 2446047"/>
                <a:gd name="connsiteX38" fmla="*/ 3587964 w 7298904"/>
                <a:gd name="connsiteY38" fmla="*/ 327687 h 2446047"/>
                <a:gd name="connsiteX39" fmla="*/ 3649277 w 7298904"/>
                <a:gd name="connsiteY39" fmla="*/ 316238 h 2446047"/>
                <a:gd name="connsiteX40" fmla="*/ 6876875 w 7298904"/>
                <a:gd name="connsiteY40" fmla="*/ 1 h 2446047"/>
                <a:gd name="connsiteX41" fmla="*/ 7077924 w 7298904"/>
                <a:gd name="connsiteY41" fmla="*/ 30507 h 2446047"/>
                <a:gd name="connsiteX42" fmla="*/ 7133755 w 7298904"/>
                <a:gd name="connsiteY42" fmla="*/ 12381 h 2446047"/>
                <a:gd name="connsiteX43" fmla="*/ 7298904 w 7298904"/>
                <a:gd name="connsiteY43" fmla="*/ 15267 h 2446047"/>
                <a:gd name="connsiteX0" fmla="*/ 0 w 7298904"/>
                <a:gd name="connsiteY0" fmla="*/ 2433671 h 2433671"/>
                <a:gd name="connsiteX1" fmla="*/ 265644 w 7298904"/>
                <a:gd name="connsiteY1" fmla="*/ 2426051 h 2433671"/>
                <a:gd name="connsiteX2" fmla="*/ 326604 w 7298904"/>
                <a:gd name="connsiteY2" fmla="*/ 2395571 h 2433671"/>
                <a:gd name="connsiteX3" fmla="*/ 425664 w 7298904"/>
                <a:gd name="connsiteY3" fmla="*/ 2387951 h 2433671"/>
                <a:gd name="connsiteX4" fmla="*/ 570444 w 7298904"/>
                <a:gd name="connsiteY4" fmla="*/ 2304131 h 2433671"/>
                <a:gd name="connsiteX5" fmla="*/ 684744 w 7298904"/>
                <a:gd name="connsiteY5" fmla="*/ 2174591 h 2433671"/>
                <a:gd name="connsiteX6" fmla="*/ 776184 w 7298904"/>
                <a:gd name="connsiteY6" fmla="*/ 2151731 h 2433671"/>
                <a:gd name="connsiteX7" fmla="*/ 905724 w 7298904"/>
                <a:gd name="connsiteY7" fmla="*/ 1984091 h 2433671"/>
                <a:gd name="connsiteX8" fmla="*/ 989544 w 7298904"/>
                <a:gd name="connsiteY8" fmla="*/ 1923131 h 2433671"/>
                <a:gd name="connsiteX9" fmla="*/ 1028700 w 7298904"/>
                <a:gd name="connsiteY9" fmla="*/ 1785971 h 2433671"/>
                <a:gd name="connsiteX10" fmla="*/ 1111464 w 7298904"/>
                <a:gd name="connsiteY10" fmla="*/ 1662118 h 2433671"/>
                <a:gd name="connsiteX11" fmla="*/ 1203960 w 7298904"/>
                <a:gd name="connsiteY11" fmla="*/ 1410695 h 2433671"/>
                <a:gd name="connsiteX12" fmla="*/ 1274710 w 7298904"/>
                <a:gd name="connsiteY12" fmla="*/ 1275432 h 2433671"/>
                <a:gd name="connsiteX13" fmla="*/ 1405362 w 7298904"/>
                <a:gd name="connsiteY13" fmla="*/ 1199231 h 2433671"/>
                <a:gd name="connsiteX14" fmla="*/ 1460872 w 7298904"/>
                <a:gd name="connsiteY14" fmla="*/ 1084931 h 2433671"/>
                <a:gd name="connsiteX15" fmla="*/ 1524001 w 7298904"/>
                <a:gd name="connsiteY15" fmla="*/ 1008706 h 2433671"/>
                <a:gd name="connsiteX16" fmla="*/ 1606764 w 7298904"/>
                <a:gd name="connsiteY16" fmla="*/ 1008731 h 2433671"/>
                <a:gd name="connsiteX17" fmla="*/ 1652484 w 7298904"/>
                <a:gd name="connsiteY17" fmla="*/ 1023971 h 2433671"/>
                <a:gd name="connsiteX18" fmla="*/ 1713444 w 7298904"/>
                <a:gd name="connsiteY18" fmla="*/ 947771 h 2433671"/>
                <a:gd name="connsiteX19" fmla="*/ 1759164 w 7298904"/>
                <a:gd name="connsiteY19" fmla="*/ 902051 h 2433671"/>
                <a:gd name="connsiteX20" fmla="*/ 1903944 w 7298904"/>
                <a:gd name="connsiteY20" fmla="*/ 917291 h 2433671"/>
                <a:gd name="connsiteX21" fmla="*/ 2025864 w 7298904"/>
                <a:gd name="connsiteY21" fmla="*/ 932531 h 2433671"/>
                <a:gd name="connsiteX22" fmla="*/ 2155404 w 7298904"/>
                <a:gd name="connsiteY22" fmla="*/ 978251 h 2433671"/>
                <a:gd name="connsiteX23" fmla="*/ 2223984 w 7298904"/>
                <a:gd name="connsiteY23" fmla="*/ 947771 h 2433671"/>
                <a:gd name="connsiteX24" fmla="*/ 2399244 w 7298904"/>
                <a:gd name="connsiteY24" fmla="*/ 945837 h 2433671"/>
                <a:gd name="connsiteX25" fmla="*/ 2451472 w 7298904"/>
                <a:gd name="connsiteY25" fmla="*/ 915358 h 2433671"/>
                <a:gd name="connsiteX26" fmla="*/ 2488459 w 7298904"/>
                <a:gd name="connsiteY26" fmla="*/ 833471 h 2433671"/>
                <a:gd name="connsiteX27" fmla="*/ 2611492 w 7298904"/>
                <a:gd name="connsiteY27" fmla="*/ 789645 h 2433671"/>
                <a:gd name="connsiteX28" fmla="*/ 2674268 w 7298904"/>
                <a:gd name="connsiteY28" fmla="*/ 719172 h 2433671"/>
                <a:gd name="connsiteX29" fmla="*/ 2818344 w 7298904"/>
                <a:gd name="connsiteY29" fmla="*/ 719171 h 2433671"/>
                <a:gd name="connsiteX30" fmla="*/ 2932644 w 7298904"/>
                <a:gd name="connsiteY30" fmla="*/ 726791 h 2433671"/>
                <a:gd name="connsiteX31" fmla="*/ 3044367 w 7298904"/>
                <a:gd name="connsiteY31" fmla="*/ 669596 h 2433671"/>
                <a:gd name="connsiteX32" fmla="*/ 3108608 w 7298904"/>
                <a:gd name="connsiteY32" fmla="*/ 616295 h 2433671"/>
                <a:gd name="connsiteX33" fmla="*/ 3222204 w 7298904"/>
                <a:gd name="connsiteY33" fmla="*/ 597251 h 2433671"/>
                <a:gd name="connsiteX34" fmla="*/ 3298404 w 7298904"/>
                <a:gd name="connsiteY34" fmla="*/ 524842 h 2433671"/>
                <a:gd name="connsiteX35" fmla="*/ 3412705 w 7298904"/>
                <a:gd name="connsiteY35" fmla="*/ 463882 h 2433671"/>
                <a:gd name="connsiteX36" fmla="*/ 3481285 w 7298904"/>
                <a:gd name="connsiteY36" fmla="*/ 406726 h 2433671"/>
                <a:gd name="connsiteX37" fmla="*/ 3531342 w 7298904"/>
                <a:gd name="connsiteY37" fmla="*/ 338171 h 2433671"/>
                <a:gd name="connsiteX38" fmla="*/ 3587964 w 7298904"/>
                <a:gd name="connsiteY38" fmla="*/ 315311 h 2433671"/>
                <a:gd name="connsiteX39" fmla="*/ 3649277 w 7298904"/>
                <a:gd name="connsiteY39" fmla="*/ 303862 h 2433671"/>
                <a:gd name="connsiteX40" fmla="*/ 7077924 w 7298904"/>
                <a:gd name="connsiteY40" fmla="*/ 18131 h 2433671"/>
                <a:gd name="connsiteX41" fmla="*/ 7133755 w 7298904"/>
                <a:gd name="connsiteY41" fmla="*/ 5 h 2433671"/>
                <a:gd name="connsiteX42" fmla="*/ 7298904 w 7298904"/>
                <a:gd name="connsiteY42" fmla="*/ 2891 h 2433671"/>
                <a:gd name="connsiteX0" fmla="*/ 0 w 7298904"/>
                <a:gd name="connsiteY0" fmla="*/ 2433666 h 2433666"/>
                <a:gd name="connsiteX1" fmla="*/ 265644 w 7298904"/>
                <a:gd name="connsiteY1" fmla="*/ 2426046 h 2433666"/>
                <a:gd name="connsiteX2" fmla="*/ 326604 w 7298904"/>
                <a:gd name="connsiteY2" fmla="*/ 2395566 h 2433666"/>
                <a:gd name="connsiteX3" fmla="*/ 425664 w 7298904"/>
                <a:gd name="connsiteY3" fmla="*/ 2387946 h 2433666"/>
                <a:gd name="connsiteX4" fmla="*/ 570444 w 7298904"/>
                <a:gd name="connsiteY4" fmla="*/ 2304126 h 2433666"/>
                <a:gd name="connsiteX5" fmla="*/ 684744 w 7298904"/>
                <a:gd name="connsiteY5" fmla="*/ 2174586 h 2433666"/>
                <a:gd name="connsiteX6" fmla="*/ 776184 w 7298904"/>
                <a:gd name="connsiteY6" fmla="*/ 2151726 h 2433666"/>
                <a:gd name="connsiteX7" fmla="*/ 905724 w 7298904"/>
                <a:gd name="connsiteY7" fmla="*/ 1984086 h 2433666"/>
                <a:gd name="connsiteX8" fmla="*/ 989544 w 7298904"/>
                <a:gd name="connsiteY8" fmla="*/ 1923126 h 2433666"/>
                <a:gd name="connsiteX9" fmla="*/ 1028700 w 7298904"/>
                <a:gd name="connsiteY9" fmla="*/ 1785966 h 2433666"/>
                <a:gd name="connsiteX10" fmla="*/ 1111464 w 7298904"/>
                <a:gd name="connsiteY10" fmla="*/ 1662113 h 2433666"/>
                <a:gd name="connsiteX11" fmla="*/ 1203960 w 7298904"/>
                <a:gd name="connsiteY11" fmla="*/ 1410690 h 2433666"/>
                <a:gd name="connsiteX12" fmla="*/ 1274710 w 7298904"/>
                <a:gd name="connsiteY12" fmla="*/ 1275427 h 2433666"/>
                <a:gd name="connsiteX13" fmla="*/ 1405362 w 7298904"/>
                <a:gd name="connsiteY13" fmla="*/ 1199226 h 2433666"/>
                <a:gd name="connsiteX14" fmla="*/ 1460872 w 7298904"/>
                <a:gd name="connsiteY14" fmla="*/ 1084926 h 2433666"/>
                <a:gd name="connsiteX15" fmla="*/ 1524001 w 7298904"/>
                <a:gd name="connsiteY15" fmla="*/ 1008701 h 2433666"/>
                <a:gd name="connsiteX16" fmla="*/ 1606764 w 7298904"/>
                <a:gd name="connsiteY16" fmla="*/ 1008726 h 2433666"/>
                <a:gd name="connsiteX17" fmla="*/ 1652484 w 7298904"/>
                <a:gd name="connsiteY17" fmla="*/ 1023966 h 2433666"/>
                <a:gd name="connsiteX18" fmla="*/ 1713444 w 7298904"/>
                <a:gd name="connsiteY18" fmla="*/ 947766 h 2433666"/>
                <a:gd name="connsiteX19" fmla="*/ 1759164 w 7298904"/>
                <a:gd name="connsiteY19" fmla="*/ 902046 h 2433666"/>
                <a:gd name="connsiteX20" fmla="*/ 1903944 w 7298904"/>
                <a:gd name="connsiteY20" fmla="*/ 917286 h 2433666"/>
                <a:gd name="connsiteX21" fmla="*/ 2025864 w 7298904"/>
                <a:gd name="connsiteY21" fmla="*/ 932526 h 2433666"/>
                <a:gd name="connsiteX22" fmla="*/ 2155404 w 7298904"/>
                <a:gd name="connsiteY22" fmla="*/ 978246 h 2433666"/>
                <a:gd name="connsiteX23" fmla="*/ 2223984 w 7298904"/>
                <a:gd name="connsiteY23" fmla="*/ 947766 h 2433666"/>
                <a:gd name="connsiteX24" fmla="*/ 2399244 w 7298904"/>
                <a:gd name="connsiteY24" fmla="*/ 945832 h 2433666"/>
                <a:gd name="connsiteX25" fmla="*/ 2451472 w 7298904"/>
                <a:gd name="connsiteY25" fmla="*/ 915353 h 2433666"/>
                <a:gd name="connsiteX26" fmla="*/ 2488459 w 7298904"/>
                <a:gd name="connsiteY26" fmla="*/ 833466 h 2433666"/>
                <a:gd name="connsiteX27" fmla="*/ 2611492 w 7298904"/>
                <a:gd name="connsiteY27" fmla="*/ 789640 h 2433666"/>
                <a:gd name="connsiteX28" fmla="*/ 2674268 w 7298904"/>
                <a:gd name="connsiteY28" fmla="*/ 719167 h 2433666"/>
                <a:gd name="connsiteX29" fmla="*/ 2818344 w 7298904"/>
                <a:gd name="connsiteY29" fmla="*/ 719166 h 2433666"/>
                <a:gd name="connsiteX30" fmla="*/ 2932644 w 7298904"/>
                <a:gd name="connsiteY30" fmla="*/ 726786 h 2433666"/>
                <a:gd name="connsiteX31" fmla="*/ 3044367 w 7298904"/>
                <a:gd name="connsiteY31" fmla="*/ 669591 h 2433666"/>
                <a:gd name="connsiteX32" fmla="*/ 3108608 w 7298904"/>
                <a:gd name="connsiteY32" fmla="*/ 616290 h 2433666"/>
                <a:gd name="connsiteX33" fmla="*/ 3222204 w 7298904"/>
                <a:gd name="connsiteY33" fmla="*/ 597246 h 2433666"/>
                <a:gd name="connsiteX34" fmla="*/ 3298404 w 7298904"/>
                <a:gd name="connsiteY34" fmla="*/ 524837 h 2433666"/>
                <a:gd name="connsiteX35" fmla="*/ 3412705 w 7298904"/>
                <a:gd name="connsiteY35" fmla="*/ 463877 h 2433666"/>
                <a:gd name="connsiteX36" fmla="*/ 3481285 w 7298904"/>
                <a:gd name="connsiteY36" fmla="*/ 406721 h 2433666"/>
                <a:gd name="connsiteX37" fmla="*/ 3531342 w 7298904"/>
                <a:gd name="connsiteY37" fmla="*/ 338166 h 2433666"/>
                <a:gd name="connsiteX38" fmla="*/ 3587964 w 7298904"/>
                <a:gd name="connsiteY38" fmla="*/ 315306 h 2433666"/>
                <a:gd name="connsiteX39" fmla="*/ 3649277 w 7298904"/>
                <a:gd name="connsiteY39" fmla="*/ 303857 h 2433666"/>
                <a:gd name="connsiteX40" fmla="*/ 7133755 w 7298904"/>
                <a:gd name="connsiteY40" fmla="*/ 0 h 2433666"/>
                <a:gd name="connsiteX41" fmla="*/ 7298904 w 7298904"/>
                <a:gd name="connsiteY41" fmla="*/ 2886 h 2433666"/>
                <a:gd name="connsiteX0" fmla="*/ 0 w 7298904"/>
                <a:gd name="connsiteY0" fmla="*/ 2430781 h 2430781"/>
                <a:gd name="connsiteX1" fmla="*/ 265644 w 7298904"/>
                <a:gd name="connsiteY1" fmla="*/ 2423161 h 2430781"/>
                <a:gd name="connsiteX2" fmla="*/ 326604 w 7298904"/>
                <a:gd name="connsiteY2" fmla="*/ 2392681 h 2430781"/>
                <a:gd name="connsiteX3" fmla="*/ 425664 w 7298904"/>
                <a:gd name="connsiteY3" fmla="*/ 2385061 h 2430781"/>
                <a:gd name="connsiteX4" fmla="*/ 570444 w 7298904"/>
                <a:gd name="connsiteY4" fmla="*/ 2301241 h 2430781"/>
                <a:gd name="connsiteX5" fmla="*/ 684744 w 7298904"/>
                <a:gd name="connsiteY5" fmla="*/ 2171701 h 2430781"/>
                <a:gd name="connsiteX6" fmla="*/ 776184 w 7298904"/>
                <a:gd name="connsiteY6" fmla="*/ 2148841 h 2430781"/>
                <a:gd name="connsiteX7" fmla="*/ 905724 w 7298904"/>
                <a:gd name="connsiteY7" fmla="*/ 1981201 h 2430781"/>
                <a:gd name="connsiteX8" fmla="*/ 989544 w 7298904"/>
                <a:gd name="connsiteY8" fmla="*/ 1920241 h 2430781"/>
                <a:gd name="connsiteX9" fmla="*/ 1028700 w 7298904"/>
                <a:gd name="connsiteY9" fmla="*/ 1783081 h 2430781"/>
                <a:gd name="connsiteX10" fmla="*/ 1111464 w 7298904"/>
                <a:gd name="connsiteY10" fmla="*/ 1659228 h 2430781"/>
                <a:gd name="connsiteX11" fmla="*/ 1203960 w 7298904"/>
                <a:gd name="connsiteY11" fmla="*/ 1407805 h 2430781"/>
                <a:gd name="connsiteX12" fmla="*/ 1274710 w 7298904"/>
                <a:gd name="connsiteY12" fmla="*/ 1272542 h 2430781"/>
                <a:gd name="connsiteX13" fmla="*/ 1405362 w 7298904"/>
                <a:gd name="connsiteY13" fmla="*/ 1196341 h 2430781"/>
                <a:gd name="connsiteX14" fmla="*/ 1460872 w 7298904"/>
                <a:gd name="connsiteY14" fmla="*/ 1082041 h 2430781"/>
                <a:gd name="connsiteX15" fmla="*/ 1524001 w 7298904"/>
                <a:gd name="connsiteY15" fmla="*/ 1005816 h 2430781"/>
                <a:gd name="connsiteX16" fmla="*/ 1606764 w 7298904"/>
                <a:gd name="connsiteY16" fmla="*/ 1005841 h 2430781"/>
                <a:gd name="connsiteX17" fmla="*/ 1652484 w 7298904"/>
                <a:gd name="connsiteY17" fmla="*/ 1021081 h 2430781"/>
                <a:gd name="connsiteX18" fmla="*/ 1713444 w 7298904"/>
                <a:gd name="connsiteY18" fmla="*/ 944881 h 2430781"/>
                <a:gd name="connsiteX19" fmla="*/ 1759164 w 7298904"/>
                <a:gd name="connsiteY19" fmla="*/ 899161 h 2430781"/>
                <a:gd name="connsiteX20" fmla="*/ 1903944 w 7298904"/>
                <a:gd name="connsiteY20" fmla="*/ 914401 h 2430781"/>
                <a:gd name="connsiteX21" fmla="*/ 2025864 w 7298904"/>
                <a:gd name="connsiteY21" fmla="*/ 929641 h 2430781"/>
                <a:gd name="connsiteX22" fmla="*/ 2155404 w 7298904"/>
                <a:gd name="connsiteY22" fmla="*/ 975361 h 2430781"/>
                <a:gd name="connsiteX23" fmla="*/ 2223984 w 7298904"/>
                <a:gd name="connsiteY23" fmla="*/ 944881 h 2430781"/>
                <a:gd name="connsiteX24" fmla="*/ 2399244 w 7298904"/>
                <a:gd name="connsiteY24" fmla="*/ 942947 h 2430781"/>
                <a:gd name="connsiteX25" fmla="*/ 2451472 w 7298904"/>
                <a:gd name="connsiteY25" fmla="*/ 912468 h 2430781"/>
                <a:gd name="connsiteX26" fmla="*/ 2488459 w 7298904"/>
                <a:gd name="connsiteY26" fmla="*/ 830581 h 2430781"/>
                <a:gd name="connsiteX27" fmla="*/ 2611492 w 7298904"/>
                <a:gd name="connsiteY27" fmla="*/ 786755 h 2430781"/>
                <a:gd name="connsiteX28" fmla="*/ 2674268 w 7298904"/>
                <a:gd name="connsiteY28" fmla="*/ 716282 h 2430781"/>
                <a:gd name="connsiteX29" fmla="*/ 2818344 w 7298904"/>
                <a:gd name="connsiteY29" fmla="*/ 716281 h 2430781"/>
                <a:gd name="connsiteX30" fmla="*/ 2932644 w 7298904"/>
                <a:gd name="connsiteY30" fmla="*/ 723901 h 2430781"/>
                <a:gd name="connsiteX31" fmla="*/ 3044367 w 7298904"/>
                <a:gd name="connsiteY31" fmla="*/ 666706 h 2430781"/>
                <a:gd name="connsiteX32" fmla="*/ 3108608 w 7298904"/>
                <a:gd name="connsiteY32" fmla="*/ 613405 h 2430781"/>
                <a:gd name="connsiteX33" fmla="*/ 3222204 w 7298904"/>
                <a:gd name="connsiteY33" fmla="*/ 594361 h 2430781"/>
                <a:gd name="connsiteX34" fmla="*/ 3298404 w 7298904"/>
                <a:gd name="connsiteY34" fmla="*/ 521952 h 2430781"/>
                <a:gd name="connsiteX35" fmla="*/ 3412705 w 7298904"/>
                <a:gd name="connsiteY35" fmla="*/ 460992 h 2430781"/>
                <a:gd name="connsiteX36" fmla="*/ 3481285 w 7298904"/>
                <a:gd name="connsiteY36" fmla="*/ 403836 h 2430781"/>
                <a:gd name="connsiteX37" fmla="*/ 3531342 w 7298904"/>
                <a:gd name="connsiteY37" fmla="*/ 335281 h 2430781"/>
                <a:gd name="connsiteX38" fmla="*/ 3587964 w 7298904"/>
                <a:gd name="connsiteY38" fmla="*/ 312421 h 2430781"/>
                <a:gd name="connsiteX39" fmla="*/ 3649277 w 7298904"/>
                <a:gd name="connsiteY39" fmla="*/ 300972 h 2430781"/>
                <a:gd name="connsiteX40" fmla="*/ 7298904 w 7298904"/>
                <a:gd name="connsiteY40" fmla="*/ 1 h 2430781"/>
                <a:gd name="connsiteX0" fmla="*/ 0 w 3649277"/>
                <a:gd name="connsiteY0" fmla="*/ 2129809 h 2129809"/>
                <a:gd name="connsiteX1" fmla="*/ 265644 w 3649277"/>
                <a:gd name="connsiteY1" fmla="*/ 2122189 h 2129809"/>
                <a:gd name="connsiteX2" fmla="*/ 326604 w 3649277"/>
                <a:gd name="connsiteY2" fmla="*/ 2091709 h 2129809"/>
                <a:gd name="connsiteX3" fmla="*/ 425664 w 3649277"/>
                <a:gd name="connsiteY3" fmla="*/ 2084089 h 2129809"/>
                <a:gd name="connsiteX4" fmla="*/ 570444 w 3649277"/>
                <a:gd name="connsiteY4" fmla="*/ 2000269 h 2129809"/>
                <a:gd name="connsiteX5" fmla="*/ 684744 w 3649277"/>
                <a:gd name="connsiteY5" fmla="*/ 1870729 h 2129809"/>
                <a:gd name="connsiteX6" fmla="*/ 776184 w 3649277"/>
                <a:gd name="connsiteY6" fmla="*/ 1847869 h 2129809"/>
                <a:gd name="connsiteX7" fmla="*/ 905724 w 3649277"/>
                <a:gd name="connsiteY7" fmla="*/ 1680229 h 2129809"/>
                <a:gd name="connsiteX8" fmla="*/ 989544 w 3649277"/>
                <a:gd name="connsiteY8" fmla="*/ 1619269 h 2129809"/>
                <a:gd name="connsiteX9" fmla="*/ 1028700 w 3649277"/>
                <a:gd name="connsiteY9" fmla="*/ 1482109 h 2129809"/>
                <a:gd name="connsiteX10" fmla="*/ 1111464 w 3649277"/>
                <a:gd name="connsiteY10" fmla="*/ 1358256 h 2129809"/>
                <a:gd name="connsiteX11" fmla="*/ 1203960 w 3649277"/>
                <a:gd name="connsiteY11" fmla="*/ 1106833 h 2129809"/>
                <a:gd name="connsiteX12" fmla="*/ 1274710 w 3649277"/>
                <a:gd name="connsiteY12" fmla="*/ 971570 h 2129809"/>
                <a:gd name="connsiteX13" fmla="*/ 1405362 w 3649277"/>
                <a:gd name="connsiteY13" fmla="*/ 895369 h 2129809"/>
                <a:gd name="connsiteX14" fmla="*/ 1460872 w 3649277"/>
                <a:gd name="connsiteY14" fmla="*/ 781069 h 2129809"/>
                <a:gd name="connsiteX15" fmla="*/ 1524001 w 3649277"/>
                <a:gd name="connsiteY15" fmla="*/ 704844 h 2129809"/>
                <a:gd name="connsiteX16" fmla="*/ 1606764 w 3649277"/>
                <a:gd name="connsiteY16" fmla="*/ 704869 h 2129809"/>
                <a:gd name="connsiteX17" fmla="*/ 1652484 w 3649277"/>
                <a:gd name="connsiteY17" fmla="*/ 720109 h 2129809"/>
                <a:gd name="connsiteX18" fmla="*/ 1713444 w 3649277"/>
                <a:gd name="connsiteY18" fmla="*/ 643909 h 2129809"/>
                <a:gd name="connsiteX19" fmla="*/ 1759164 w 3649277"/>
                <a:gd name="connsiteY19" fmla="*/ 598189 h 2129809"/>
                <a:gd name="connsiteX20" fmla="*/ 1903944 w 3649277"/>
                <a:gd name="connsiteY20" fmla="*/ 613429 h 2129809"/>
                <a:gd name="connsiteX21" fmla="*/ 2025864 w 3649277"/>
                <a:gd name="connsiteY21" fmla="*/ 628669 h 2129809"/>
                <a:gd name="connsiteX22" fmla="*/ 2155404 w 3649277"/>
                <a:gd name="connsiteY22" fmla="*/ 674389 h 2129809"/>
                <a:gd name="connsiteX23" fmla="*/ 2223984 w 3649277"/>
                <a:gd name="connsiteY23" fmla="*/ 643909 h 2129809"/>
                <a:gd name="connsiteX24" fmla="*/ 2399244 w 3649277"/>
                <a:gd name="connsiteY24" fmla="*/ 641975 h 2129809"/>
                <a:gd name="connsiteX25" fmla="*/ 2451472 w 3649277"/>
                <a:gd name="connsiteY25" fmla="*/ 611496 h 2129809"/>
                <a:gd name="connsiteX26" fmla="*/ 2488459 w 3649277"/>
                <a:gd name="connsiteY26" fmla="*/ 529609 h 2129809"/>
                <a:gd name="connsiteX27" fmla="*/ 2611492 w 3649277"/>
                <a:gd name="connsiteY27" fmla="*/ 485783 h 2129809"/>
                <a:gd name="connsiteX28" fmla="*/ 2674268 w 3649277"/>
                <a:gd name="connsiteY28" fmla="*/ 415310 h 2129809"/>
                <a:gd name="connsiteX29" fmla="*/ 2818344 w 3649277"/>
                <a:gd name="connsiteY29" fmla="*/ 415309 h 2129809"/>
                <a:gd name="connsiteX30" fmla="*/ 2932644 w 3649277"/>
                <a:gd name="connsiteY30" fmla="*/ 422929 h 2129809"/>
                <a:gd name="connsiteX31" fmla="*/ 3044367 w 3649277"/>
                <a:gd name="connsiteY31" fmla="*/ 365734 h 2129809"/>
                <a:gd name="connsiteX32" fmla="*/ 3108608 w 3649277"/>
                <a:gd name="connsiteY32" fmla="*/ 312433 h 2129809"/>
                <a:gd name="connsiteX33" fmla="*/ 3222204 w 3649277"/>
                <a:gd name="connsiteY33" fmla="*/ 293389 h 2129809"/>
                <a:gd name="connsiteX34" fmla="*/ 3298404 w 3649277"/>
                <a:gd name="connsiteY34" fmla="*/ 220980 h 2129809"/>
                <a:gd name="connsiteX35" fmla="*/ 3412705 w 3649277"/>
                <a:gd name="connsiteY35" fmla="*/ 160020 h 2129809"/>
                <a:gd name="connsiteX36" fmla="*/ 3481285 w 3649277"/>
                <a:gd name="connsiteY36" fmla="*/ 102864 h 2129809"/>
                <a:gd name="connsiteX37" fmla="*/ 3531342 w 3649277"/>
                <a:gd name="connsiteY37" fmla="*/ 34309 h 2129809"/>
                <a:gd name="connsiteX38" fmla="*/ 3587964 w 3649277"/>
                <a:gd name="connsiteY38" fmla="*/ 11449 h 2129809"/>
                <a:gd name="connsiteX39" fmla="*/ 3649277 w 3649277"/>
                <a:gd name="connsiteY39" fmla="*/ 0 h 2129809"/>
                <a:gd name="connsiteX0" fmla="*/ 3370808 w 3383633"/>
                <a:gd name="connsiteY0" fmla="*/ 155488 h 2122189"/>
                <a:gd name="connsiteX1" fmla="*/ 0 w 3383633"/>
                <a:gd name="connsiteY1" fmla="*/ 2122189 h 2122189"/>
                <a:gd name="connsiteX2" fmla="*/ 60960 w 3383633"/>
                <a:gd name="connsiteY2" fmla="*/ 2091709 h 2122189"/>
                <a:gd name="connsiteX3" fmla="*/ 160020 w 3383633"/>
                <a:gd name="connsiteY3" fmla="*/ 2084089 h 2122189"/>
                <a:gd name="connsiteX4" fmla="*/ 304800 w 3383633"/>
                <a:gd name="connsiteY4" fmla="*/ 2000269 h 2122189"/>
                <a:gd name="connsiteX5" fmla="*/ 419100 w 3383633"/>
                <a:gd name="connsiteY5" fmla="*/ 1870729 h 2122189"/>
                <a:gd name="connsiteX6" fmla="*/ 510540 w 3383633"/>
                <a:gd name="connsiteY6" fmla="*/ 1847869 h 2122189"/>
                <a:gd name="connsiteX7" fmla="*/ 640080 w 3383633"/>
                <a:gd name="connsiteY7" fmla="*/ 1680229 h 2122189"/>
                <a:gd name="connsiteX8" fmla="*/ 723900 w 3383633"/>
                <a:gd name="connsiteY8" fmla="*/ 1619269 h 2122189"/>
                <a:gd name="connsiteX9" fmla="*/ 763056 w 3383633"/>
                <a:gd name="connsiteY9" fmla="*/ 1482109 h 2122189"/>
                <a:gd name="connsiteX10" fmla="*/ 845820 w 3383633"/>
                <a:gd name="connsiteY10" fmla="*/ 1358256 h 2122189"/>
                <a:gd name="connsiteX11" fmla="*/ 938316 w 3383633"/>
                <a:gd name="connsiteY11" fmla="*/ 1106833 h 2122189"/>
                <a:gd name="connsiteX12" fmla="*/ 1009066 w 3383633"/>
                <a:gd name="connsiteY12" fmla="*/ 971570 h 2122189"/>
                <a:gd name="connsiteX13" fmla="*/ 1139718 w 3383633"/>
                <a:gd name="connsiteY13" fmla="*/ 895369 h 2122189"/>
                <a:gd name="connsiteX14" fmla="*/ 1195228 w 3383633"/>
                <a:gd name="connsiteY14" fmla="*/ 781069 h 2122189"/>
                <a:gd name="connsiteX15" fmla="*/ 1258357 w 3383633"/>
                <a:gd name="connsiteY15" fmla="*/ 704844 h 2122189"/>
                <a:gd name="connsiteX16" fmla="*/ 1341120 w 3383633"/>
                <a:gd name="connsiteY16" fmla="*/ 704869 h 2122189"/>
                <a:gd name="connsiteX17" fmla="*/ 1386840 w 3383633"/>
                <a:gd name="connsiteY17" fmla="*/ 720109 h 2122189"/>
                <a:gd name="connsiteX18" fmla="*/ 1447800 w 3383633"/>
                <a:gd name="connsiteY18" fmla="*/ 643909 h 2122189"/>
                <a:gd name="connsiteX19" fmla="*/ 1493520 w 3383633"/>
                <a:gd name="connsiteY19" fmla="*/ 598189 h 2122189"/>
                <a:gd name="connsiteX20" fmla="*/ 1638300 w 3383633"/>
                <a:gd name="connsiteY20" fmla="*/ 613429 h 2122189"/>
                <a:gd name="connsiteX21" fmla="*/ 1760220 w 3383633"/>
                <a:gd name="connsiteY21" fmla="*/ 628669 h 2122189"/>
                <a:gd name="connsiteX22" fmla="*/ 1889760 w 3383633"/>
                <a:gd name="connsiteY22" fmla="*/ 674389 h 2122189"/>
                <a:gd name="connsiteX23" fmla="*/ 1958340 w 3383633"/>
                <a:gd name="connsiteY23" fmla="*/ 643909 h 2122189"/>
                <a:gd name="connsiteX24" fmla="*/ 2133600 w 3383633"/>
                <a:gd name="connsiteY24" fmla="*/ 641975 h 2122189"/>
                <a:gd name="connsiteX25" fmla="*/ 2185828 w 3383633"/>
                <a:gd name="connsiteY25" fmla="*/ 611496 h 2122189"/>
                <a:gd name="connsiteX26" fmla="*/ 2222815 w 3383633"/>
                <a:gd name="connsiteY26" fmla="*/ 529609 h 2122189"/>
                <a:gd name="connsiteX27" fmla="*/ 2345848 w 3383633"/>
                <a:gd name="connsiteY27" fmla="*/ 485783 h 2122189"/>
                <a:gd name="connsiteX28" fmla="*/ 2408624 w 3383633"/>
                <a:gd name="connsiteY28" fmla="*/ 415310 h 2122189"/>
                <a:gd name="connsiteX29" fmla="*/ 2552700 w 3383633"/>
                <a:gd name="connsiteY29" fmla="*/ 415309 h 2122189"/>
                <a:gd name="connsiteX30" fmla="*/ 2667000 w 3383633"/>
                <a:gd name="connsiteY30" fmla="*/ 422929 h 2122189"/>
                <a:gd name="connsiteX31" fmla="*/ 2778723 w 3383633"/>
                <a:gd name="connsiteY31" fmla="*/ 365734 h 2122189"/>
                <a:gd name="connsiteX32" fmla="*/ 2842964 w 3383633"/>
                <a:gd name="connsiteY32" fmla="*/ 312433 h 2122189"/>
                <a:gd name="connsiteX33" fmla="*/ 2956560 w 3383633"/>
                <a:gd name="connsiteY33" fmla="*/ 293389 h 2122189"/>
                <a:gd name="connsiteX34" fmla="*/ 3032760 w 3383633"/>
                <a:gd name="connsiteY34" fmla="*/ 220980 h 2122189"/>
                <a:gd name="connsiteX35" fmla="*/ 3147061 w 3383633"/>
                <a:gd name="connsiteY35" fmla="*/ 160020 h 2122189"/>
                <a:gd name="connsiteX36" fmla="*/ 3215641 w 3383633"/>
                <a:gd name="connsiteY36" fmla="*/ 102864 h 2122189"/>
                <a:gd name="connsiteX37" fmla="*/ 3265698 w 3383633"/>
                <a:gd name="connsiteY37" fmla="*/ 34309 h 2122189"/>
                <a:gd name="connsiteX38" fmla="*/ 3322320 w 3383633"/>
                <a:gd name="connsiteY38" fmla="*/ 11449 h 2122189"/>
                <a:gd name="connsiteX39" fmla="*/ 3383633 w 3383633"/>
                <a:gd name="connsiteY39" fmla="*/ 0 h 2122189"/>
                <a:gd name="connsiteX0" fmla="*/ 3309848 w 3322673"/>
                <a:gd name="connsiteY0" fmla="*/ 155488 h 2091708"/>
                <a:gd name="connsiteX1" fmla="*/ 1460135 w 3322673"/>
                <a:gd name="connsiteY1" fmla="*/ 1106164 h 2091708"/>
                <a:gd name="connsiteX2" fmla="*/ 0 w 3322673"/>
                <a:gd name="connsiteY2" fmla="*/ 2091709 h 2091708"/>
                <a:gd name="connsiteX3" fmla="*/ 99060 w 3322673"/>
                <a:gd name="connsiteY3" fmla="*/ 2084089 h 2091708"/>
                <a:gd name="connsiteX4" fmla="*/ 243840 w 3322673"/>
                <a:gd name="connsiteY4" fmla="*/ 2000269 h 2091708"/>
                <a:gd name="connsiteX5" fmla="*/ 358140 w 3322673"/>
                <a:gd name="connsiteY5" fmla="*/ 1870729 h 2091708"/>
                <a:gd name="connsiteX6" fmla="*/ 449580 w 3322673"/>
                <a:gd name="connsiteY6" fmla="*/ 1847869 h 2091708"/>
                <a:gd name="connsiteX7" fmla="*/ 579120 w 3322673"/>
                <a:gd name="connsiteY7" fmla="*/ 1680229 h 2091708"/>
                <a:gd name="connsiteX8" fmla="*/ 662940 w 3322673"/>
                <a:gd name="connsiteY8" fmla="*/ 1619269 h 2091708"/>
                <a:gd name="connsiteX9" fmla="*/ 702096 w 3322673"/>
                <a:gd name="connsiteY9" fmla="*/ 1482109 h 2091708"/>
                <a:gd name="connsiteX10" fmla="*/ 784860 w 3322673"/>
                <a:gd name="connsiteY10" fmla="*/ 1358256 h 2091708"/>
                <a:gd name="connsiteX11" fmla="*/ 877356 w 3322673"/>
                <a:gd name="connsiteY11" fmla="*/ 1106833 h 2091708"/>
                <a:gd name="connsiteX12" fmla="*/ 948106 w 3322673"/>
                <a:gd name="connsiteY12" fmla="*/ 971570 h 2091708"/>
                <a:gd name="connsiteX13" fmla="*/ 1078758 w 3322673"/>
                <a:gd name="connsiteY13" fmla="*/ 895369 h 2091708"/>
                <a:gd name="connsiteX14" fmla="*/ 1134268 w 3322673"/>
                <a:gd name="connsiteY14" fmla="*/ 781069 h 2091708"/>
                <a:gd name="connsiteX15" fmla="*/ 1197397 w 3322673"/>
                <a:gd name="connsiteY15" fmla="*/ 704844 h 2091708"/>
                <a:gd name="connsiteX16" fmla="*/ 1280160 w 3322673"/>
                <a:gd name="connsiteY16" fmla="*/ 704869 h 2091708"/>
                <a:gd name="connsiteX17" fmla="*/ 1325880 w 3322673"/>
                <a:gd name="connsiteY17" fmla="*/ 720109 h 2091708"/>
                <a:gd name="connsiteX18" fmla="*/ 1386840 w 3322673"/>
                <a:gd name="connsiteY18" fmla="*/ 643909 h 2091708"/>
                <a:gd name="connsiteX19" fmla="*/ 1432560 w 3322673"/>
                <a:gd name="connsiteY19" fmla="*/ 598189 h 2091708"/>
                <a:gd name="connsiteX20" fmla="*/ 1577340 w 3322673"/>
                <a:gd name="connsiteY20" fmla="*/ 613429 h 2091708"/>
                <a:gd name="connsiteX21" fmla="*/ 1699260 w 3322673"/>
                <a:gd name="connsiteY21" fmla="*/ 628669 h 2091708"/>
                <a:gd name="connsiteX22" fmla="*/ 1828800 w 3322673"/>
                <a:gd name="connsiteY22" fmla="*/ 674389 h 2091708"/>
                <a:gd name="connsiteX23" fmla="*/ 1897380 w 3322673"/>
                <a:gd name="connsiteY23" fmla="*/ 643909 h 2091708"/>
                <a:gd name="connsiteX24" fmla="*/ 2072640 w 3322673"/>
                <a:gd name="connsiteY24" fmla="*/ 641975 h 2091708"/>
                <a:gd name="connsiteX25" fmla="*/ 2124868 w 3322673"/>
                <a:gd name="connsiteY25" fmla="*/ 611496 h 2091708"/>
                <a:gd name="connsiteX26" fmla="*/ 2161855 w 3322673"/>
                <a:gd name="connsiteY26" fmla="*/ 529609 h 2091708"/>
                <a:gd name="connsiteX27" fmla="*/ 2284888 w 3322673"/>
                <a:gd name="connsiteY27" fmla="*/ 485783 h 2091708"/>
                <a:gd name="connsiteX28" fmla="*/ 2347664 w 3322673"/>
                <a:gd name="connsiteY28" fmla="*/ 415310 h 2091708"/>
                <a:gd name="connsiteX29" fmla="*/ 2491740 w 3322673"/>
                <a:gd name="connsiteY29" fmla="*/ 415309 h 2091708"/>
                <a:gd name="connsiteX30" fmla="*/ 2606040 w 3322673"/>
                <a:gd name="connsiteY30" fmla="*/ 422929 h 2091708"/>
                <a:gd name="connsiteX31" fmla="*/ 2717763 w 3322673"/>
                <a:gd name="connsiteY31" fmla="*/ 365734 h 2091708"/>
                <a:gd name="connsiteX32" fmla="*/ 2782004 w 3322673"/>
                <a:gd name="connsiteY32" fmla="*/ 312433 h 2091708"/>
                <a:gd name="connsiteX33" fmla="*/ 2895600 w 3322673"/>
                <a:gd name="connsiteY33" fmla="*/ 293389 h 2091708"/>
                <a:gd name="connsiteX34" fmla="*/ 2971800 w 3322673"/>
                <a:gd name="connsiteY34" fmla="*/ 220980 h 2091708"/>
                <a:gd name="connsiteX35" fmla="*/ 3086101 w 3322673"/>
                <a:gd name="connsiteY35" fmla="*/ 160020 h 2091708"/>
                <a:gd name="connsiteX36" fmla="*/ 3154681 w 3322673"/>
                <a:gd name="connsiteY36" fmla="*/ 102864 h 2091708"/>
                <a:gd name="connsiteX37" fmla="*/ 3204738 w 3322673"/>
                <a:gd name="connsiteY37" fmla="*/ 34309 h 2091708"/>
                <a:gd name="connsiteX38" fmla="*/ 3261360 w 3322673"/>
                <a:gd name="connsiteY38" fmla="*/ 11449 h 2091708"/>
                <a:gd name="connsiteX39" fmla="*/ 3322673 w 3322673"/>
                <a:gd name="connsiteY39" fmla="*/ 0 h 2091708"/>
                <a:gd name="connsiteX0" fmla="*/ 3210788 w 3223613"/>
                <a:gd name="connsiteY0" fmla="*/ 155488 h 2084088"/>
                <a:gd name="connsiteX1" fmla="*/ 1361075 w 3223613"/>
                <a:gd name="connsiteY1" fmla="*/ 1106164 h 2084088"/>
                <a:gd name="connsiteX2" fmla="*/ 1141260 w 3223613"/>
                <a:gd name="connsiteY2" fmla="*/ 1277734 h 2084088"/>
                <a:gd name="connsiteX3" fmla="*/ 0 w 3223613"/>
                <a:gd name="connsiteY3" fmla="*/ 2084089 h 2084088"/>
                <a:gd name="connsiteX4" fmla="*/ 144780 w 3223613"/>
                <a:gd name="connsiteY4" fmla="*/ 2000269 h 2084088"/>
                <a:gd name="connsiteX5" fmla="*/ 259080 w 3223613"/>
                <a:gd name="connsiteY5" fmla="*/ 1870729 h 2084088"/>
                <a:gd name="connsiteX6" fmla="*/ 350520 w 3223613"/>
                <a:gd name="connsiteY6" fmla="*/ 1847869 h 2084088"/>
                <a:gd name="connsiteX7" fmla="*/ 480060 w 3223613"/>
                <a:gd name="connsiteY7" fmla="*/ 1680229 h 2084088"/>
                <a:gd name="connsiteX8" fmla="*/ 563880 w 3223613"/>
                <a:gd name="connsiteY8" fmla="*/ 1619269 h 2084088"/>
                <a:gd name="connsiteX9" fmla="*/ 603036 w 3223613"/>
                <a:gd name="connsiteY9" fmla="*/ 1482109 h 2084088"/>
                <a:gd name="connsiteX10" fmla="*/ 685800 w 3223613"/>
                <a:gd name="connsiteY10" fmla="*/ 1358256 h 2084088"/>
                <a:gd name="connsiteX11" fmla="*/ 778296 w 3223613"/>
                <a:gd name="connsiteY11" fmla="*/ 1106833 h 2084088"/>
                <a:gd name="connsiteX12" fmla="*/ 849046 w 3223613"/>
                <a:gd name="connsiteY12" fmla="*/ 971570 h 2084088"/>
                <a:gd name="connsiteX13" fmla="*/ 979698 w 3223613"/>
                <a:gd name="connsiteY13" fmla="*/ 895369 h 2084088"/>
                <a:gd name="connsiteX14" fmla="*/ 1035208 w 3223613"/>
                <a:gd name="connsiteY14" fmla="*/ 781069 h 2084088"/>
                <a:gd name="connsiteX15" fmla="*/ 1098337 w 3223613"/>
                <a:gd name="connsiteY15" fmla="*/ 704844 h 2084088"/>
                <a:gd name="connsiteX16" fmla="*/ 1181100 w 3223613"/>
                <a:gd name="connsiteY16" fmla="*/ 704869 h 2084088"/>
                <a:gd name="connsiteX17" fmla="*/ 1226820 w 3223613"/>
                <a:gd name="connsiteY17" fmla="*/ 720109 h 2084088"/>
                <a:gd name="connsiteX18" fmla="*/ 1287780 w 3223613"/>
                <a:gd name="connsiteY18" fmla="*/ 643909 h 2084088"/>
                <a:gd name="connsiteX19" fmla="*/ 1333500 w 3223613"/>
                <a:gd name="connsiteY19" fmla="*/ 598189 h 2084088"/>
                <a:gd name="connsiteX20" fmla="*/ 1478280 w 3223613"/>
                <a:gd name="connsiteY20" fmla="*/ 613429 h 2084088"/>
                <a:gd name="connsiteX21" fmla="*/ 1600200 w 3223613"/>
                <a:gd name="connsiteY21" fmla="*/ 628669 h 2084088"/>
                <a:gd name="connsiteX22" fmla="*/ 1729740 w 3223613"/>
                <a:gd name="connsiteY22" fmla="*/ 674389 h 2084088"/>
                <a:gd name="connsiteX23" fmla="*/ 1798320 w 3223613"/>
                <a:gd name="connsiteY23" fmla="*/ 643909 h 2084088"/>
                <a:gd name="connsiteX24" fmla="*/ 1973580 w 3223613"/>
                <a:gd name="connsiteY24" fmla="*/ 641975 h 2084088"/>
                <a:gd name="connsiteX25" fmla="*/ 2025808 w 3223613"/>
                <a:gd name="connsiteY25" fmla="*/ 611496 h 2084088"/>
                <a:gd name="connsiteX26" fmla="*/ 2062795 w 3223613"/>
                <a:gd name="connsiteY26" fmla="*/ 529609 h 2084088"/>
                <a:gd name="connsiteX27" fmla="*/ 2185828 w 3223613"/>
                <a:gd name="connsiteY27" fmla="*/ 485783 h 2084088"/>
                <a:gd name="connsiteX28" fmla="*/ 2248604 w 3223613"/>
                <a:gd name="connsiteY28" fmla="*/ 415310 h 2084088"/>
                <a:gd name="connsiteX29" fmla="*/ 2392680 w 3223613"/>
                <a:gd name="connsiteY29" fmla="*/ 415309 h 2084088"/>
                <a:gd name="connsiteX30" fmla="*/ 2506980 w 3223613"/>
                <a:gd name="connsiteY30" fmla="*/ 422929 h 2084088"/>
                <a:gd name="connsiteX31" fmla="*/ 2618703 w 3223613"/>
                <a:gd name="connsiteY31" fmla="*/ 365734 h 2084088"/>
                <a:gd name="connsiteX32" fmla="*/ 2682944 w 3223613"/>
                <a:gd name="connsiteY32" fmla="*/ 312433 h 2084088"/>
                <a:gd name="connsiteX33" fmla="*/ 2796540 w 3223613"/>
                <a:gd name="connsiteY33" fmla="*/ 293389 h 2084088"/>
                <a:gd name="connsiteX34" fmla="*/ 2872740 w 3223613"/>
                <a:gd name="connsiteY34" fmla="*/ 220980 h 2084088"/>
                <a:gd name="connsiteX35" fmla="*/ 2987041 w 3223613"/>
                <a:gd name="connsiteY35" fmla="*/ 160020 h 2084088"/>
                <a:gd name="connsiteX36" fmla="*/ 3055621 w 3223613"/>
                <a:gd name="connsiteY36" fmla="*/ 102864 h 2084088"/>
                <a:gd name="connsiteX37" fmla="*/ 3105678 w 3223613"/>
                <a:gd name="connsiteY37" fmla="*/ 34309 h 2084088"/>
                <a:gd name="connsiteX38" fmla="*/ 3162300 w 3223613"/>
                <a:gd name="connsiteY38" fmla="*/ 11449 h 2084088"/>
                <a:gd name="connsiteX39" fmla="*/ 3223613 w 3223613"/>
                <a:gd name="connsiteY39" fmla="*/ 0 h 2084088"/>
                <a:gd name="connsiteX0" fmla="*/ 3066008 w 3078833"/>
                <a:gd name="connsiteY0" fmla="*/ 155488 h 2003269"/>
                <a:gd name="connsiteX1" fmla="*/ 1216295 w 3078833"/>
                <a:gd name="connsiteY1" fmla="*/ 1106164 h 2003269"/>
                <a:gd name="connsiteX2" fmla="*/ 996480 w 3078833"/>
                <a:gd name="connsiteY2" fmla="*/ 1277734 h 2003269"/>
                <a:gd name="connsiteX3" fmla="*/ 506728 w 3078833"/>
                <a:gd name="connsiteY3" fmla="*/ 2003269 h 2003269"/>
                <a:gd name="connsiteX4" fmla="*/ 0 w 3078833"/>
                <a:gd name="connsiteY4" fmla="*/ 2000269 h 2003269"/>
                <a:gd name="connsiteX5" fmla="*/ 114300 w 3078833"/>
                <a:gd name="connsiteY5" fmla="*/ 1870729 h 2003269"/>
                <a:gd name="connsiteX6" fmla="*/ 205740 w 3078833"/>
                <a:gd name="connsiteY6" fmla="*/ 1847869 h 2003269"/>
                <a:gd name="connsiteX7" fmla="*/ 335280 w 3078833"/>
                <a:gd name="connsiteY7" fmla="*/ 1680229 h 2003269"/>
                <a:gd name="connsiteX8" fmla="*/ 419100 w 3078833"/>
                <a:gd name="connsiteY8" fmla="*/ 1619269 h 2003269"/>
                <a:gd name="connsiteX9" fmla="*/ 458256 w 3078833"/>
                <a:gd name="connsiteY9" fmla="*/ 1482109 h 2003269"/>
                <a:gd name="connsiteX10" fmla="*/ 541020 w 3078833"/>
                <a:gd name="connsiteY10" fmla="*/ 1358256 h 2003269"/>
                <a:gd name="connsiteX11" fmla="*/ 633516 w 3078833"/>
                <a:gd name="connsiteY11" fmla="*/ 1106833 h 2003269"/>
                <a:gd name="connsiteX12" fmla="*/ 704266 w 3078833"/>
                <a:gd name="connsiteY12" fmla="*/ 971570 h 2003269"/>
                <a:gd name="connsiteX13" fmla="*/ 834918 w 3078833"/>
                <a:gd name="connsiteY13" fmla="*/ 895369 h 2003269"/>
                <a:gd name="connsiteX14" fmla="*/ 890428 w 3078833"/>
                <a:gd name="connsiteY14" fmla="*/ 781069 h 2003269"/>
                <a:gd name="connsiteX15" fmla="*/ 953557 w 3078833"/>
                <a:gd name="connsiteY15" fmla="*/ 704844 h 2003269"/>
                <a:gd name="connsiteX16" fmla="*/ 1036320 w 3078833"/>
                <a:gd name="connsiteY16" fmla="*/ 704869 h 2003269"/>
                <a:gd name="connsiteX17" fmla="*/ 1082040 w 3078833"/>
                <a:gd name="connsiteY17" fmla="*/ 720109 h 2003269"/>
                <a:gd name="connsiteX18" fmla="*/ 1143000 w 3078833"/>
                <a:gd name="connsiteY18" fmla="*/ 643909 h 2003269"/>
                <a:gd name="connsiteX19" fmla="*/ 1188720 w 3078833"/>
                <a:gd name="connsiteY19" fmla="*/ 598189 h 2003269"/>
                <a:gd name="connsiteX20" fmla="*/ 1333500 w 3078833"/>
                <a:gd name="connsiteY20" fmla="*/ 613429 h 2003269"/>
                <a:gd name="connsiteX21" fmla="*/ 1455420 w 3078833"/>
                <a:gd name="connsiteY21" fmla="*/ 628669 h 2003269"/>
                <a:gd name="connsiteX22" fmla="*/ 1584960 w 3078833"/>
                <a:gd name="connsiteY22" fmla="*/ 674389 h 2003269"/>
                <a:gd name="connsiteX23" fmla="*/ 1653540 w 3078833"/>
                <a:gd name="connsiteY23" fmla="*/ 643909 h 2003269"/>
                <a:gd name="connsiteX24" fmla="*/ 1828800 w 3078833"/>
                <a:gd name="connsiteY24" fmla="*/ 641975 h 2003269"/>
                <a:gd name="connsiteX25" fmla="*/ 1881028 w 3078833"/>
                <a:gd name="connsiteY25" fmla="*/ 611496 h 2003269"/>
                <a:gd name="connsiteX26" fmla="*/ 1918015 w 3078833"/>
                <a:gd name="connsiteY26" fmla="*/ 529609 h 2003269"/>
                <a:gd name="connsiteX27" fmla="*/ 2041048 w 3078833"/>
                <a:gd name="connsiteY27" fmla="*/ 485783 h 2003269"/>
                <a:gd name="connsiteX28" fmla="*/ 2103824 w 3078833"/>
                <a:gd name="connsiteY28" fmla="*/ 415310 h 2003269"/>
                <a:gd name="connsiteX29" fmla="*/ 2247900 w 3078833"/>
                <a:gd name="connsiteY29" fmla="*/ 415309 h 2003269"/>
                <a:gd name="connsiteX30" fmla="*/ 2362200 w 3078833"/>
                <a:gd name="connsiteY30" fmla="*/ 422929 h 2003269"/>
                <a:gd name="connsiteX31" fmla="*/ 2473923 w 3078833"/>
                <a:gd name="connsiteY31" fmla="*/ 365734 h 2003269"/>
                <a:gd name="connsiteX32" fmla="*/ 2538164 w 3078833"/>
                <a:gd name="connsiteY32" fmla="*/ 312433 h 2003269"/>
                <a:gd name="connsiteX33" fmla="*/ 2651760 w 3078833"/>
                <a:gd name="connsiteY33" fmla="*/ 293389 h 2003269"/>
                <a:gd name="connsiteX34" fmla="*/ 2727960 w 3078833"/>
                <a:gd name="connsiteY34" fmla="*/ 220980 h 2003269"/>
                <a:gd name="connsiteX35" fmla="*/ 2842261 w 3078833"/>
                <a:gd name="connsiteY35" fmla="*/ 160020 h 2003269"/>
                <a:gd name="connsiteX36" fmla="*/ 2910841 w 3078833"/>
                <a:gd name="connsiteY36" fmla="*/ 102864 h 2003269"/>
                <a:gd name="connsiteX37" fmla="*/ 2960898 w 3078833"/>
                <a:gd name="connsiteY37" fmla="*/ 34309 h 2003269"/>
                <a:gd name="connsiteX38" fmla="*/ 3017520 w 3078833"/>
                <a:gd name="connsiteY38" fmla="*/ 11449 h 2003269"/>
                <a:gd name="connsiteX39" fmla="*/ 3078833 w 3078833"/>
                <a:gd name="connsiteY39" fmla="*/ 0 h 2003269"/>
                <a:gd name="connsiteX0" fmla="*/ 3066008 w 3078833"/>
                <a:gd name="connsiteY0" fmla="*/ 155488 h 2003269"/>
                <a:gd name="connsiteX1" fmla="*/ 1216295 w 3078833"/>
                <a:gd name="connsiteY1" fmla="*/ 1106164 h 2003269"/>
                <a:gd name="connsiteX2" fmla="*/ 1468073 w 3078833"/>
                <a:gd name="connsiteY2" fmla="*/ 1554831 h 2003269"/>
                <a:gd name="connsiteX3" fmla="*/ 506728 w 3078833"/>
                <a:gd name="connsiteY3" fmla="*/ 2003269 h 2003269"/>
                <a:gd name="connsiteX4" fmla="*/ 0 w 3078833"/>
                <a:gd name="connsiteY4" fmla="*/ 2000269 h 2003269"/>
                <a:gd name="connsiteX5" fmla="*/ 114300 w 3078833"/>
                <a:gd name="connsiteY5" fmla="*/ 1870729 h 2003269"/>
                <a:gd name="connsiteX6" fmla="*/ 205740 w 3078833"/>
                <a:gd name="connsiteY6" fmla="*/ 1847869 h 2003269"/>
                <a:gd name="connsiteX7" fmla="*/ 335280 w 3078833"/>
                <a:gd name="connsiteY7" fmla="*/ 1680229 h 2003269"/>
                <a:gd name="connsiteX8" fmla="*/ 419100 w 3078833"/>
                <a:gd name="connsiteY8" fmla="*/ 1619269 h 2003269"/>
                <a:gd name="connsiteX9" fmla="*/ 458256 w 3078833"/>
                <a:gd name="connsiteY9" fmla="*/ 1482109 h 2003269"/>
                <a:gd name="connsiteX10" fmla="*/ 541020 w 3078833"/>
                <a:gd name="connsiteY10" fmla="*/ 1358256 h 2003269"/>
                <a:gd name="connsiteX11" fmla="*/ 633516 w 3078833"/>
                <a:gd name="connsiteY11" fmla="*/ 1106833 h 2003269"/>
                <a:gd name="connsiteX12" fmla="*/ 704266 w 3078833"/>
                <a:gd name="connsiteY12" fmla="*/ 971570 h 2003269"/>
                <a:gd name="connsiteX13" fmla="*/ 834918 w 3078833"/>
                <a:gd name="connsiteY13" fmla="*/ 895369 h 2003269"/>
                <a:gd name="connsiteX14" fmla="*/ 890428 w 3078833"/>
                <a:gd name="connsiteY14" fmla="*/ 781069 h 2003269"/>
                <a:gd name="connsiteX15" fmla="*/ 953557 w 3078833"/>
                <a:gd name="connsiteY15" fmla="*/ 704844 h 2003269"/>
                <a:gd name="connsiteX16" fmla="*/ 1036320 w 3078833"/>
                <a:gd name="connsiteY16" fmla="*/ 704869 h 2003269"/>
                <a:gd name="connsiteX17" fmla="*/ 1082040 w 3078833"/>
                <a:gd name="connsiteY17" fmla="*/ 720109 h 2003269"/>
                <a:gd name="connsiteX18" fmla="*/ 1143000 w 3078833"/>
                <a:gd name="connsiteY18" fmla="*/ 643909 h 2003269"/>
                <a:gd name="connsiteX19" fmla="*/ 1188720 w 3078833"/>
                <a:gd name="connsiteY19" fmla="*/ 598189 h 2003269"/>
                <a:gd name="connsiteX20" fmla="*/ 1333500 w 3078833"/>
                <a:gd name="connsiteY20" fmla="*/ 613429 h 2003269"/>
                <a:gd name="connsiteX21" fmla="*/ 1455420 w 3078833"/>
                <a:gd name="connsiteY21" fmla="*/ 628669 h 2003269"/>
                <a:gd name="connsiteX22" fmla="*/ 1584960 w 3078833"/>
                <a:gd name="connsiteY22" fmla="*/ 674389 h 2003269"/>
                <a:gd name="connsiteX23" fmla="*/ 1653540 w 3078833"/>
                <a:gd name="connsiteY23" fmla="*/ 643909 h 2003269"/>
                <a:gd name="connsiteX24" fmla="*/ 1828800 w 3078833"/>
                <a:gd name="connsiteY24" fmla="*/ 641975 h 2003269"/>
                <a:gd name="connsiteX25" fmla="*/ 1881028 w 3078833"/>
                <a:gd name="connsiteY25" fmla="*/ 611496 h 2003269"/>
                <a:gd name="connsiteX26" fmla="*/ 1918015 w 3078833"/>
                <a:gd name="connsiteY26" fmla="*/ 529609 h 2003269"/>
                <a:gd name="connsiteX27" fmla="*/ 2041048 w 3078833"/>
                <a:gd name="connsiteY27" fmla="*/ 485783 h 2003269"/>
                <a:gd name="connsiteX28" fmla="*/ 2103824 w 3078833"/>
                <a:gd name="connsiteY28" fmla="*/ 415310 h 2003269"/>
                <a:gd name="connsiteX29" fmla="*/ 2247900 w 3078833"/>
                <a:gd name="connsiteY29" fmla="*/ 415309 h 2003269"/>
                <a:gd name="connsiteX30" fmla="*/ 2362200 w 3078833"/>
                <a:gd name="connsiteY30" fmla="*/ 422929 h 2003269"/>
                <a:gd name="connsiteX31" fmla="*/ 2473923 w 3078833"/>
                <a:gd name="connsiteY31" fmla="*/ 365734 h 2003269"/>
                <a:gd name="connsiteX32" fmla="*/ 2538164 w 3078833"/>
                <a:gd name="connsiteY32" fmla="*/ 312433 h 2003269"/>
                <a:gd name="connsiteX33" fmla="*/ 2651760 w 3078833"/>
                <a:gd name="connsiteY33" fmla="*/ 293389 h 2003269"/>
                <a:gd name="connsiteX34" fmla="*/ 2727960 w 3078833"/>
                <a:gd name="connsiteY34" fmla="*/ 220980 h 2003269"/>
                <a:gd name="connsiteX35" fmla="*/ 2842261 w 3078833"/>
                <a:gd name="connsiteY35" fmla="*/ 160020 h 2003269"/>
                <a:gd name="connsiteX36" fmla="*/ 2910841 w 3078833"/>
                <a:gd name="connsiteY36" fmla="*/ 102864 h 2003269"/>
                <a:gd name="connsiteX37" fmla="*/ 2960898 w 3078833"/>
                <a:gd name="connsiteY37" fmla="*/ 34309 h 2003269"/>
                <a:gd name="connsiteX38" fmla="*/ 3017520 w 3078833"/>
                <a:gd name="connsiteY38" fmla="*/ 11449 h 2003269"/>
                <a:gd name="connsiteX39" fmla="*/ 3078833 w 3078833"/>
                <a:gd name="connsiteY39" fmla="*/ 0 h 2003269"/>
                <a:gd name="connsiteX0" fmla="*/ 3066008 w 3078833"/>
                <a:gd name="connsiteY0" fmla="*/ 155488 h 2000270"/>
                <a:gd name="connsiteX1" fmla="*/ 1216295 w 3078833"/>
                <a:gd name="connsiteY1" fmla="*/ 1106164 h 2000270"/>
                <a:gd name="connsiteX2" fmla="*/ 1468073 w 3078833"/>
                <a:gd name="connsiteY2" fmla="*/ 1554831 h 2000270"/>
                <a:gd name="connsiteX3" fmla="*/ 1365411 w 3078833"/>
                <a:gd name="connsiteY3" fmla="*/ 1910903 h 2000270"/>
                <a:gd name="connsiteX4" fmla="*/ 0 w 3078833"/>
                <a:gd name="connsiteY4" fmla="*/ 2000269 h 2000270"/>
                <a:gd name="connsiteX5" fmla="*/ 114300 w 3078833"/>
                <a:gd name="connsiteY5" fmla="*/ 1870729 h 2000270"/>
                <a:gd name="connsiteX6" fmla="*/ 205740 w 3078833"/>
                <a:gd name="connsiteY6" fmla="*/ 1847869 h 2000270"/>
                <a:gd name="connsiteX7" fmla="*/ 335280 w 3078833"/>
                <a:gd name="connsiteY7" fmla="*/ 1680229 h 2000270"/>
                <a:gd name="connsiteX8" fmla="*/ 419100 w 3078833"/>
                <a:gd name="connsiteY8" fmla="*/ 1619269 h 2000270"/>
                <a:gd name="connsiteX9" fmla="*/ 458256 w 3078833"/>
                <a:gd name="connsiteY9" fmla="*/ 1482109 h 2000270"/>
                <a:gd name="connsiteX10" fmla="*/ 541020 w 3078833"/>
                <a:gd name="connsiteY10" fmla="*/ 1358256 h 2000270"/>
                <a:gd name="connsiteX11" fmla="*/ 633516 w 3078833"/>
                <a:gd name="connsiteY11" fmla="*/ 1106833 h 2000270"/>
                <a:gd name="connsiteX12" fmla="*/ 704266 w 3078833"/>
                <a:gd name="connsiteY12" fmla="*/ 971570 h 2000270"/>
                <a:gd name="connsiteX13" fmla="*/ 834918 w 3078833"/>
                <a:gd name="connsiteY13" fmla="*/ 895369 h 2000270"/>
                <a:gd name="connsiteX14" fmla="*/ 890428 w 3078833"/>
                <a:gd name="connsiteY14" fmla="*/ 781069 h 2000270"/>
                <a:gd name="connsiteX15" fmla="*/ 953557 w 3078833"/>
                <a:gd name="connsiteY15" fmla="*/ 704844 h 2000270"/>
                <a:gd name="connsiteX16" fmla="*/ 1036320 w 3078833"/>
                <a:gd name="connsiteY16" fmla="*/ 704869 h 2000270"/>
                <a:gd name="connsiteX17" fmla="*/ 1082040 w 3078833"/>
                <a:gd name="connsiteY17" fmla="*/ 720109 h 2000270"/>
                <a:gd name="connsiteX18" fmla="*/ 1143000 w 3078833"/>
                <a:gd name="connsiteY18" fmla="*/ 643909 h 2000270"/>
                <a:gd name="connsiteX19" fmla="*/ 1188720 w 3078833"/>
                <a:gd name="connsiteY19" fmla="*/ 598189 h 2000270"/>
                <a:gd name="connsiteX20" fmla="*/ 1333500 w 3078833"/>
                <a:gd name="connsiteY20" fmla="*/ 613429 h 2000270"/>
                <a:gd name="connsiteX21" fmla="*/ 1455420 w 3078833"/>
                <a:gd name="connsiteY21" fmla="*/ 628669 h 2000270"/>
                <a:gd name="connsiteX22" fmla="*/ 1584960 w 3078833"/>
                <a:gd name="connsiteY22" fmla="*/ 674389 h 2000270"/>
                <a:gd name="connsiteX23" fmla="*/ 1653540 w 3078833"/>
                <a:gd name="connsiteY23" fmla="*/ 643909 h 2000270"/>
                <a:gd name="connsiteX24" fmla="*/ 1828800 w 3078833"/>
                <a:gd name="connsiteY24" fmla="*/ 641975 h 2000270"/>
                <a:gd name="connsiteX25" fmla="*/ 1881028 w 3078833"/>
                <a:gd name="connsiteY25" fmla="*/ 611496 h 2000270"/>
                <a:gd name="connsiteX26" fmla="*/ 1918015 w 3078833"/>
                <a:gd name="connsiteY26" fmla="*/ 529609 h 2000270"/>
                <a:gd name="connsiteX27" fmla="*/ 2041048 w 3078833"/>
                <a:gd name="connsiteY27" fmla="*/ 485783 h 2000270"/>
                <a:gd name="connsiteX28" fmla="*/ 2103824 w 3078833"/>
                <a:gd name="connsiteY28" fmla="*/ 415310 h 2000270"/>
                <a:gd name="connsiteX29" fmla="*/ 2247900 w 3078833"/>
                <a:gd name="connsiteY29" fmla="*/ 415309 h 2000270"/>
                <a:gd name="connsiteX30" fmla="*/ 2362200 w 3078833"/>
                <a:gd name="connsiteY30" fmla="*/ 422929 h 2000270"/>
                <a:gd name="connsiteX31" fmla="*/ 2473923 w 3078833"/>
                <a:gd name="connsiteY31" fmla="*/ 365734 h 2000270"/>
                <a:gd name="connsiteX32" fmla="*/ 2538164 w 3078833"/>
                <a:gd name="connsiteY32" fmla="*/ 312433 h 2000270"/>
                <a:gd name="connsiteX33" fmla="*/ 2651760 w 3078833"/>
                <a:gd name="connsiteY33" fmla="*/ 293389 h 2000270"/>
                <a:gd name="connsiteX34" fmla="*/ 2727960 w 3078833"/>
                <a:gd name="connsiteY34" fmla="*/ 220980 h 2000270"/>
                <a:gd name="connsiteX35" fmla="*/ 2842261 w 3078833"/>
                <a:gd name="connsiteY35" fmla="*/ 160020 h 2000270"/>
                <a:gd name="connsiteX36" fmla="*/ 2910841 w 3078833"/>
                <a:gd name="connsiteY36" fmla="*/ 102864 h 2000270"/>
                <a:gd name="connsiteX37" fmla="*/ 2960898 w 3078833"/>
                <a:gd name="connsiteY37" fmla="*/ 34309 h 2000270"/>
                <a:gd name="connsiteX38" fmla="*/ 3017520 w 3078833"/>
                <a:gd name="connsiteY38" fmla="*/ 11449 h 2000270"/>
                <a:gd name="connsiteX39" fmla="*/ 3078833 w 3078833"/>
                <a:gd name="connsiteY39" fmla="*/ 0 h 2000270"/>
                <a:gd name="connsiteX0" fmla="*/ 2951708 w 2964533"/>
                <a:gd name="connsiteY0" fmla="*/ 155488 h 1965634"/>
                <a:gd name="connsiteX1" fmla="*/ 1101995 w 2964533"/>
                <a:gd name="connsiteY1" fmla="*/ 1106164 h 1965634"/>
                <a:gd name="connsiteX2" fmla="*/ 1353773 w 2964533"/>
                <a:gd name="connsiteY2" fmla="*/ 1554831 h 1965634"/>
                <a:gd name="connsiteX3" fmla="*/ 1251111 w 2964533"/>
                <a:gd name="connsiteY3" fmla="*/ 1910903 h 1965634"/>
                <a:gd name="connsiteX4" fmla="*/ 986995 w 2964533"/>
                <a:gd name="connsiteY4" fmla="*/ 1965634 h 1965634"/>
                <a:gd name="connsiteX5" fmla="*/ 0 w 2964533"/>
                <a:gd name="connsiteY5" fmla="*/ 1870729 h 1965634"/>
                <a:gd name="connsiteX6" fmla="*/ 91440 w 2964533"/>
                <a:gd name="connsiteY6" fmla="*/ 1847869 h 1965634"/>
                <a:gd name="connsiteX7" fmla="*/ 220980 w 2964533"/>
                <a:gd name="connsiteY7" fmla="*/ 1680229 h 1965634"/>
                <a:gd name="connsiteX8" fmla="*/ 304800 w 2964533"/>
                <a:gd name="connsiteY8" fmla="*/ 1619269 h 1965634"/>
                <a:gd name="connsiteX9" fmla="*/ 343956 w 2964533"/>
                <a:gd name="connsiteY9" fmla="*/ 1482109 h 1965634"/>
                <a:gd name="connsiteX10" fmla="*/ 426720 w 2964533"/>
                <a:gd name="connsiteY10" fmla="*/ 1358256 h 1965634"/>
                <a:gd name="connsiteX11" fmla="*/ 519216 w 2964533"/>
                <a:gd name="connsiteY11" fmla="*/ 1106833 h 1965634"/>
                <a:gd name="connsiteX12" fmla="*/ 589966 w 2964533"/>
                <a:gd name="connsiteY12" fmla="*/ 971570 h 1965634"/>
                <a:gd name="connsiteX13" fmla="*/ 720618 w 2964533"/>
                <a:gd name="connsiteY13" fmla="*/ 895369 h 1965634"/>
                <a:gd name="connsiteX14" fmla="*/ 776128 w 2964533"/>
                <a:gd name="connsiteY14" fmla="*/ 781069 h 1965634"/>
                <a:gd name="connsiteX15" fmla="*/ 839257 w 2964533"/>
                <a:gd name="connsiteY15" fmla="*/ 704844 h 1965634"/>
                <a:gd name="connsiteX16" fmla="*/ 922020 w 2964533"/>
                <a:gd name="connsiteY16" fmla="*/ 704869 h 1965634"/>
                <a:gd name="connsiteX17" fmla="*/ 967740 w 2964533"/>
                <a:gd name="connsiteY17" fmla="*/ 720109 h 1965634"/>
                <a:gd name="connsiteX18" fmla="*/ 1028700 w 2964533"/>
                <a:gd name="connsiteY18" fmla="*/ 643909 h 1965634"/>
                <a:gd name="connsiteX19" fmla="*/ 1074420 w 2964533"/>
                <a:gd name="connsiteY19" fmla="*/ 598189 h 1965634"/>
                <a:gd name="connsiteX20" fmla="*/ 1219200 w 2964533"/>
                <a:gd name="connsiteY20" fmla="*/ 613429 h 1965634"/>
                <a:gd name="connsiteX21" fmla="*/ 1341120 w 2964533"/>
                <a:gd name="connsiteY21" fmla="*/ 628669 h 1965634"/>
                <a:gd name="connsiteX22" fmla="*/ 1470660 w 2964533"/>
                <a:gd name="connsiteY22" fmla="*/ 674389 h 1965634"/>
                <a:gd name="connsiteX23" fmla="*/ 1539240 w 2964533"/>
                <a:gd name="connsiteY23" fmla="*/ 643909 h 1965634"/>
                <a:gd name="connsiteX24" fmla="*/ 1714500 w 2964533"/>
                <a:gd name="connsiteY24" fmla="*/ 641975 h 1965634"/>
                <a:gd name="connsiteX25" fmla="*/ 1766728 w 2964533"/>
                <a:gd name="connsiteY25" fmla="*/ 611496 h 1965634"/>
                <a:gd name="connsiteX26" fmla="*/ 1803715 w 2964533"/>
                <a:gd name="connsiteY26" fmla="*/ 529609 h 1965634"/>
                <a:gd name="connsiteX27" fmla="*/ 1926748 w 2964533"/>
                <a:gd name="connsiteY27" fmla="*/ 485783 h 1965634"/>
                <a:gd name="connsiteX28" fmla="*/ 1989524 w 2964533"/>
                <a:gd name="connsiteY28" fmla="*/ 415310 h 1965634"/>
                <a:gd name="connsiteX29" fmla="*/ 2133600 w 2964533"/>
                <a:gd name="connsiteY29" fmla="*/ 415309 h 1965634"/>
                <a:gd name="connsiteX30" fmla="*/ 2247900 w 2964533"/>
                <a:gd name="connsiteY30" fmla="*/ 422929 h 1965634"/>
                <a:gd name="connsiteX31" fmla="*/ 2359623 w 2964533"/>
                <a:gd name="connsiteY31" fmla="*/ 365734 h 1965634"/>
                <a:gd name="connsiteX32" fmla="*/ 2423864 w 2964533"/>
                <a:gd name="connsiteY32" fmla="*/ 312433 h 1965634"/>
                <a:gd name="connsiteX33" fmla="*/ 2537460 w 2964533"/>
                <a:gd name="connsiteY33" fmla="*/ 293389 h 1965634"/>
                <a:gd name="connsiteX34" fmla="*/ 2613660 w 2964533"/>
                <a:gd name="connsiteY34" fmla="*/ 220980 h 1965634"/>
                <a:gd name="connsiteX35" fmla="*/ 2727961 w 2964533"/>
                <a:gd name="connsiteY35" fmla="*/ 160020 h 1965634"/>
                <a:gd name="connsiteX36" fmla="*/ 2796541 w 2964533"/>
                <a:gd name="connsiteY36" fmla="*/ 102864 h 1965634"/>
                <a:gd name="connsiteX37" fmla="*/ 2846598 w 2964533"/>
                <a:gd name="connsiteY37" fmla="*/ 34309 h 1965634"/>
                <a:gd name="connsiteX38" fmla="*/ 2903220 w 2964533"/>
                <a:gd name="connsiteY38" fmla="*/ 11449 h 1965634"/>
                <a:gd name="connsiteX39" fmla="*/ 2964533 w 2964533"/>
                <a:gd name="connsiteY39" fmla="*/ 0 h 1965634"/>
                <a:gd name="connsiteX0" fmla="*/ 2860269 w 2873094"/>
                <a:gd name="connsiteY0" fmla="*/ 155488 h 2130508"/>
                <a:gd name="connsiteX1" fmla="*/ 1010556 w 2873094"/>
                <a:gd name="connsiteY1" fmla="*/ 1106164 h 2130508"/>
                <a:gd name="connsiteX2" fmla="*/ 1262334 w 2873094"/>
                <a:gd name="connsiteY2" fmla="*/ 1554831 h 2130508"/>
                <a:gd name="connsiteX3" fmla="*/ 1159672 w 2873094"/>
                <a:gd name="connsiteY3" fmla="*/ 1910903 h 2130508"/>
                <a:gd name="connsiteX4" fmla="*/ 895556 w 2873094"/>
                <a:gd name="connsiteY4" fmla="*/ 1965634 h 2130508"/>
                <a:gd name="connsiteX5" fmla="*/ 595507 w 2873094"/>
                <a:gd name="connsiteY5" fmla="*/ 2130508 h 2130508"/>
                <a:gd name="connsiteX6" fmla="*/ 1 w 2873094"/>
                <a:gd name="connsiteY6" fmla="*/ 1847869 h 2130508"/>
                <a:gd name="connsiteX7" fmla="*/ 129541 w 2873094"/>
                <a:gd name="connsiteY7" fmla="*/ 1680229 h 2130508"/>
                <a:gd name="connsiteX8" fmla="*/ 213361 w 2873094"/>
                <a:gd name="connsiteY8" fmla="*/ 1619269 h 2130508"/>
                <a:gd name="connsiteX9" fmla="*/ 252517 w 2873094"/>
                <a:gd name="connsiteY9" fmla="*/ 1482109 h 2130508"/>
                <a:gd name="connsiteX10" fmla="*/ 335281 w 2873094"/>
                <a:gd name="connsiteY10" fmla="*/ 1358256 h 2130508"/>
                <a:gd name="connsiteX11" fmla="*/ 427777 w 2873094"/>
                <a:gd name="connsiteY11" fmla="*/ 1106833 h 2130508"/>
                <a:gd name="connsiteX12" fmla="*/ 498527 w 2873094"/>
                <a:gd name="connsiteY12" fmla="*/ 971570 h 2130508"/>
                <a:gd name="connsiteX13" fmla="*/ 629179 w 2873094"/>
                <a:gd name="connsiteY13" fmla="*/ 895369 h 2130508"/>
                <a:gd name="connsiteX14" fmla="*/ 684689 w 2873094"/>
                <a:gd name="connsiteY14" fmla="*/ 781069 h 2130508"/>
                <a:gd name="connsiteX15" fmla="*/ 747818 w 2873094"/>
                <a:gd name="connsiteY15" fmla="*/ 704844 h 2130508"/>
                <a:gd name="connsiteX16" fmla="*/ 830581 w 2873094"/>
                <a:gd name="connsiteY16" fmla="*/ 704869 h 2130508"/>
                <a:gd name="connsiteX17" fmla="*/ 876301 w 2873094"/>
                <a:gd name="connsiteY17" fmla="*/ 720109 h 2130508"/>
                <a:gd name="connsiteX18" fmla="*/ 937261 w 2873094"/>
                <a:gd name="connsiteY18" fmla="*/ 643909 h 2130508"/>
                <a:gd name="connsiteX19" fmla="*/ 982981 w 2873094"/>
                <a:gd name="connsiteY19" fmla="*/ 598189 h 2130508"/>
                <a:gd name="connsiteX20" fmla="*/ 1127761 w 2873094"/>
                <a:gd name="connsiteY20" fmla="*/ 613429 h 2130508"/>
                <a:gd name="connsiteX21" fmla="*/ 1249681 w 2873094"/>
                <a:gd name="connsiteY21" fmla="*/ 628669 h 2130508"/>
                <a:gd name="connsiteX22" fmla="*/ 1379221 w 2873094"/>
                <a:gd name="connsiteY22" fmla="*/ 674389 h 2130508"/>
                <a:gd name="connsiteX23" fmla="*/ 1447801 w 2873094"/>
                <a:gd name="connsiteY23" fmla="*/ 643909 h 2130508"/>
                <a:gd name="connsiteX24" fmla="*/ 1623061 w 2873094"/>
                <a:gd name="connsiteY24" fmla="*/ 641975 h 2130508"/>
                <a:gd name="connsiteX25" fmla="*/ 1675289 w 2873094"/>
                <a:gd name="connsiteY25" fmla="*/ 611496 h 2130508"/>
                <a:gd name="connsiteX26" fmla="*/ 1712276 w 2873094"/>
                <a:gd name="connsiteY26" fmla="*/ 529609 h 2130508"/>
                <a:gd name="connsiteX27" fmla="*/ 1835309 w 2873094"/>
                <a:gd name="connsiteY27" fmla="*/ 485783 h 2130508"/>
                <a:gd name="connsiteX28" fmla="*/ 1898085 w 2873094"/>
                <a:gd name="connsiteY28" fmla="*/ 415310 h 2130508"/>
                <a:gd name="connsiteX29" fmla="*/ 2042161 w 2873094"/>
                <a:gd name="connsiteY29" fmla="*/ 415309 h 2130508"/>
                <a:gd name="connsiteX30" fmla="*/ 2156461 w 2873094"/>
                <a:gd name="connsiteY30" fmla="*/ 422929 h 2130508"/>
                <a:gd name="connsiteX31" fmla="*/ 2268184 w 2873094"/>
                <a:gd name="connsiteY31" fmla="*/ 365734 h 2130508"/>
                <a:gd name="connsiteX32" fmla="*/ 2332425 w 2873094"/>
                <a:gd name="connsiteY32" fmla="*/ 312433 h 2130508"/>
                <a:gd name="connsiteX33" fmla="*/ 2446021 w 2873094"/>
                <a:gd name="connsiteY33" fmla="*/ 293389 h 2130508"/>
                <a:gd name="connsiteX34" fmla="*/ 2522221 w 2873094"/>
                <a:gd name="connsiteY34" fmla="*/ 220980 h 2130508"/>
                <a:gd name="connsiteX35" fmla="*/ 2636522 w 2873094"/>
                <a:gd name="connsiteY35" fmla="*/ 160020 h 2130508"/>
                <a:gd name="connsiteX36" fmla="*/ 2705102 w 2873094"/>
                <a:gd name="connsiteY36" fmla="*/ 102864 h 2130508"/>
                <a:gd name="connsiteX37" fmla="*/ 2755159 w 2873094"/>
                <a:gd name="connsiteY37" fmla="*/ 34309 h 2130508"/>
                <a:gd name="connsiteX38" fmla="*/ 2811781 w 2873094"/>
                <a:gd name="connsiteY38" fmla="*/ 11449 h 2130508"/>
                <a:gd name="connsiteX39" fmla="*/ 2873094 w 2873094"/>
                <a:gd name="connsiteY39" fmla="*/ 0 h 2130508"/>
                <a:gd name="connsiteX0" fmla="*/ 2957160 w 2969985"/>
                <a:gd name="connsiteY0" fmla="*/ 155488 h 1965634"/>
                <a:gd name="connsiteX1" fmla="*/ 1107447 w 2969985"/>
                <a:gd name="connsiteY1" fmla="*/ 1106164 h 1965634"/>
                <a:gd name="connsiteX2" fmla="*/ 1359225 w 2969985"/>
                <a:gd name="connsiteY2" fmla="*/ 1554831 h 1965634"/>
                <a:gd name="connsiteX3" fmla="*/ 1256563 w 2969985"/>
                <a:gd name="connsiteY3" fmla="*/ 1910903 h 1965634"/>
                <a:gd name="connsiteX4" fmla="*/ 992447 w 2969985"/>
                <a:gd name="connsiteY4" fmla="*/ 1965634 h 1965634"/>
                <a:gd name="connsiteX5" fmla="*/ 0 w 2969985"/>
                <a:gd name="connsiteY5" fmla="*/ 1859185 h 1965634"/>
                <a:gd name="connsiteX6" fmla="*/ 96892 w 2969985"/>
                <a:gd name="connsiteY6" fmla="*/ 1847869 h 1965634"/>
                <a:gd name="connsiteX7" fmla="*/ 226432 w 2969985"/>
                <a:gd name="connsiteY7" fmla="*/ 1680229 h 1965634"/>
                <a:gd name="connsiteX8" fmla="*/ 310252 w 2969985"/>
                <a:gd name="connsiteY8" fmla="*/ 1619269 h 1965634"/>
                <a:gd name="connsiteX9" fmla="*/ 349408 w 2969985"/>
                <a:gd name="connsiteY9" fmla="*/ 1482109 h 1965634"/>
                <a:gd name="connsiteX10" fmla="*/ 432172 w 2969985"/>
                <a:gd name="connsiteY10" fmla="*/ 1358256 h 1965634"/>
                <a:gd name="connsiteX11" fmla="*/ 524668 w 2969985"/>
                <a:gd name="connsiteY11" fmla="*/ 1106833 h 1965634"/>
                <a:gd name="connsiteX12" fmla="*/ 595418 w 2969985"/>
                <a:gd name="connsiteY12" fmla="*/ 971570 h 1965634"/>
                <a:gd name="connsiteX13" fmla="*/ 726070 w 2969985"/>
                <a:gd name="connsiteY13" fmla="*/ 895369 h 1965634"/>
                <a:gd name="connsiteX14" fmla="*/ 781580 w 2969985"/>
                <a:gd name="connsiteY14" fmla="*/ 781069 h 1965634"/>
                <a:gd name="connsiteX15" fmla="*/ 844709 w 2969985"/>
                <a:gd name="connsiteY15" fmla="*/ 704844 h 1965634"/>
                <a:gd name="connsiteX16" fmla="*/ 927472 w 2969985"/>
                <a:gd name="connsiteY16" fmla="*/ 704869 h 1965634"/>
                <a:gd name="connsiteX17" fmla="*/ 973192 w 2969985"/>
                <a:gd name="connsiteY17" fmla="*/ 720109 h 1965634"/>
                <a:gd name="connsiteX18" fmla="*/ 1034152 w 2969985"/>
                <a:gd name="connsiteY18" fmla="*/ 643909 h 1965634"/>
                <a:gd name="connsiteX19" fmla="*/ 1079872 w 2969985"/>
                <a:gd name="connsiteY19" fmla="*/ 598189 h 1965634"/>
                <a:gd name="connsiteX20" fmla="*/ 1224652 w 2969985"/>
                <a:gd name="connsiteY20" fmla="*/ 613429 h 1965634"/>
                <a:gd name="connsiteX21" fmla="*/ 1346572 w 2969985"/>
                <a:gd name="connsiteY21" fmla="*/ 628669 h 1965634"/>
                <a:gd name="connsiteX22" fmla="*/ 1476112 w 2969985"/>
                <a:gd name="connsiteY22" fmla="*/ 674389 h 1965634"/>
                <a:gd name="connsiteX23" fmla="*/ 1544692 w 2969985"/>
                <a:gd name="connsiteY23" fmla="*/ 643909 h 1965634"/>
                <a:gd name="connsiteX24" fmla="*/ 1719952 w 2969985"/>
                <a:gd name="connsiteY24" fmla="*/ 641975 h 1965634"/>
                <a:gd name="connsiteX25" fmla="*/ 1772180 w 2969985"/>
                <a:gd name="connsiteY25" fmla="*/ 611496 h 1965634"/>
                <a:gd name="connsiteX26" fmla="*/ 1809167 w 2969985"/>
                <a:gd name="connsiteY26" fmla="*/ 529609 h 1965634"/>
                <a:gd name="connsiteX27" fmla="*/ 1932200 w 2969985"/>
                <a:gd name="connsiteY27" fmla="*/ 485783 h 1965634"/>
                <a:gd name="connsiteX28" fmla="*/ 1994976 w 2969985"/>
                <a:gd name="connsiteY28" fmla="*/ 415310 h 1965634"/>
                <a:gd name="connsiteX29" fmla="*/ 2139052 w 2969985"/>
                <a:gd name="connsiteY29" fmla="*/ 415309 h 1965634"/>
                <a:gd name="connsiteX30" fmla="*/ 2253352 w 2969985"/>
                <a:gd name="connsiteY30" fmla="*/ 422929 h 1965634"/>
                <a:gd name="connsiteX31" fmla="*/ 2365075 w 2969985"/>
                <a:gd name="connsiteY31" fmla="*/ 365734 h 1965634"/>
                <a:gd name="connsiteX32" fmla="*/ 2429316 w 2969985"/>
                <a:gd name="connsiteY32" fmla="*/ 312433 h 1965634"/>
                <a:gd name="connsiteX33" fmla="*/ 2542912 w 2969985"/>
                <a:gd name="connsiteY33" fmla="*/ 293389 h 1965634"/>
                <a:gd name="connsiteX34" fmla="*/ 2619112 w 2969985"/>
                <a:gd name="connsiteY34" fmla="*/ 220980 h 1965634"/>
                <a:gd name="connsiteX35" fmla="*/ 2733413 w 2969985"/>
                <a:gd name="connsiteY35" fmla="*/ 160020 h 1965634"/>
                <a:gd name="connsiteX36" fmla="*/ 2801993 w 2969985"/>
                <a:gd name="connsiteY36" fmla="*/ 102864 h 1965634"/>
                <a:gd name="connsiteX37" fmla="*/ 2852050 w 2969985"/>
                <a:gd name="connsiteY37" fmla="*/ 34309 h 1965634"/>
                <a:gd name="connsiteX38" fmla="*/ 2908672 w 2969985"/>
                <a:gd name="connsiteY38" fmla="*/ 11449 h 1965634"/>
                <a:gd name="connsiteX39" fmla="*/ 2969985 w 2969985"/>
                <a:gd name="connsiteY39" fmla="*/ 0 h 1965634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468073 w 3078833"/>
                <a:gd name="connsiteY2" fmla="*/ 1554831 h 1954089"/>
                <a:gd name="connsiteX3" fmla="*/ 1365411 w 3078833"/>
                <a:gd name="connsiteY3" fmla="*/ 1910903 h 1954089"/>
                <a:gd name="connsiteX4" fmla="*/ 0 w 3078833"/>
                <a:gd name="connsiteY4" fmla="*/ 1954089 h 1954089"/>
                <a:gd name="connsiteX5" fmla="*/ 108848 w 3078833"/>
                <a:gd name="connsiteY5" fmla="*/ 1859185 h 1954089"/>
                <a:gd name="connsiteX6" fmla="*/ 205740 w 3078833"/>
                <a:gd name="connsiteY6" fmla="*/ 1847869 h 1954089"/>
                <a:gd name="connsiteX7" fmla="*/ 335280 w 3078833"/>
                <a:gd name="connsiteY7" fmla="*/ 1680229 h 1954089"/>
                <a:gd name="connsiteX8" fmla="*/ 419100 w 3078833"/>
                <a:gd name="connsiteY8" fmla="*/ 1619269 h 1954089"/>
                <a:gd name="connsiteX9" fmla="*/ 458256 w 3078833"/>
                <a:gd name="connsiteY9" fmla="*/ 1482109 h 1954089"/>
                <a:gd name="connsiteX10" fmla="*/ 541020 w 3078833"/>
                <a:gd name="connsiteY10" fmla="*/ 1358256 h 1954089"/>
                <a:gd name="connsiteX11" fmla="*/ 633516 w 3078833"/>
                <a:gd name="connsiteY11" fmla="*/ 1106833 h 1954089"/>
                <a:gd name="connsiteX12" fmla="*/ 704266 w 3078833"/>
                <a:gd name="connsiteY12" fmla="*/ 971570 h 1954089"/>
                <a:gd name="connsiteX13" fmla="*/ 834918 w 3078833"/>
                <a:gd name="connsiteY13" fmla="*/ 895369 h 1954089"/>
                <a:gd name="connsiteX14" fmla="*/ 890428 w 3078833"/>
                <a:gd name="connsiteY14" fmla="*/ 781069 h 1954089"/>
                <a:gd name="connsiteX15" fmla="*/ 953557 w 3078833"/>
                <a:gd name="connsiteY15" fmla="*/ 704844 h 1954089"/>
                <a:gd name="connsiteX16" fmla="*/ 1036320 w 3078833"/>
                <a:gd name="connsiteY16" fmla="*/ 704869 h 1954089"/>
                <a:gd name="connsiteX17" fmla="*/ 1082040 w 3078833"/>
                <a:gd name="connsiteY17" fmla="*/ 720109 h 1954089"/>
                <a:gd name="connsiteX18" fmla="*/ 1143000 w 3078833"/>
                <a:gd name="connsiteY18" fmla="*/ 643909 h 1954089"/>
                <a:gd name="connsiteX19" fmla="*/ 1188720 w 3078833"/>
                <a:gd name="connsiteY19" fmla="*/ 598189 h 1954089"/>
                <a:gd name="connsiteX20" fmla="*/ 1333500 w 3078833"/>
                <a:gd name="connsiteY20" fmla="*/ 613429 h 1954089"/>
                <a:gd name="connsiteX21" fmla="*/ 1455420 w 3078833"/>
                <a:gd name="connsiteY21" fmla="*/ 628669 h 1954089"/>
                <a:gd name="connsiteX22" fmla="*/ 1584960 w 3078833"/>
                <a:gd name="connsiteY22" fmla="*/ 674389 h 1954089"/>
                <a:gd name="connsiteX23" fmla="*/ 1653540 w 3078833"/>
                <a:gd name="connsiteY23" fmla="*/ 643909 h 1954089"/>
                <a:gd name="connsiteX24" fmla="*/ 1828800 w 3078833"/>
                <a:gd name="connsiteY24" fmla="*/ 641975 h 1954089"/>
                <a:gd name="connsiteX25" fmla="*/ 1881028 w 3078833"/>
                <a:gd name="connsiteY25" fmla="*/ 611496 h 1954089"/>
                <a:gd name="connsiteX26" fmla="*/ 1918015 w 3078833"/>
                <a:gd name="connsiteY26" fmla="*/ 529609 h 1954089"/>
                <a:gd name="connsiteX27" fmla="*/ 2041048 w 3078833"/>
                <a:gd name="connsiteY27" fmla="*/ 485783 h 1954089"/>
                <a:gd name="connsiteX28" fmla="*/ 2103824 w 3078833"/>
                <a:gd name="connsiteY28" fmla="*/ 415310 h 1954089"/>
                <a:gd name="connsiteX29" fmla="*/ 2247900 w 3078833"/>
                <a:gd name="connsiteY29" fmla="*/ 415309 h 1954089"/>
                <a:gd name="connsiteX30" fmla="*/ 2362200 w 3078833"/>
                <a:gd name="connsiteY30" fmla="*/ 422929 h 1954089"/>
                <a:gd name="connsiteX31" fmla="*/ 2473923 w 3078833"/>
                <a:gd name="connsiteY31" fmla="*/ 365734 h 1954089"/>
                <a:gd name="connsiteX32" fmla="*/ 2538164 w 3078833"/>
                <a:gd name="connsiteY32" fmla="*/ 312433 h 1954089"/>
                <a:gd name="connsiteX33" fmla="*/ 2651760 w 3078833"/>
                <a:gd name="connsiteY33" fmla="*/ 293389 h 1954089"/>
                <a:gd name="connsiteX34" fmla="*/ 2727960 w 3078833"/>
                <a:gd name="connsiteY34" fmla="*/ 220980 h 1954089"/>
                <a:gd name="connsiteX35" fmla="*/ 2842261 w 3078833"/>
                <a:gd name="connsiteY35" fmla="*/ 160020 h 1954089"/>
                <a:gd name="connsiteX36" fmla="*/ 2910841 w 3078833"/>
                <a:gd name="connsiteY36" fmla="*/ 102864 h 1954089"/>
                <a:gd name="connsiteX37" fmla="*/ 2960898 w 3078833"/>
                <a:gd name="connsiteY37" fmla="*/ 34309 h 1954089"/>
                <a:gd name="connsiteX38" fmla="*/ 3017520 w 3078833"/>
                <a:gd name="connsiteY38" fmla="*/ 11449 h 1954089"/>
                <a:gd name="connsiteX39" fmla="*/ 3078833 w 3078833"/>
                <a:gd name="connsiteY39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468073 w 3078833"/>
                <a:gd name="connsiteY2" fmla="*/ 1554831 h 1954089"/>
                <a:gd name="connsiteX3" fmla="*/ 73298 w 3078833"/>
                <a:gd name="connsiteY3" fmla="*/ 1928219 h 1954089"/>
                <a:gd name="connsiteX4" fmla="*/ 0 w 3078833"/>
                <a:gd name="connsiteY4" fmla="*/ 1954089 h 1954089"/>
                <a:gd name="connsiteX5" fmla="*/ 108848 w 3078833"/>
                <a:gd name="connsiteY5" fmla="*/ 1859185 h 1954089"/>
                <a:gd name="connsiteX6" fmla="*/ 205740 w 3078833"/>
                <a:gd name="connsiteY6" fmla="*/ 1847869 h 1954089"/>
                <a:gd name="connsiteX7" fmla="*/ 335280 w 3078833"/>
                <a:gd name="connsiteY7" fmla="*/ 1680229 h 1954089"/>
                <a:gd name="connsiteX8" fmla="*/ 419100 w 3078833"/>
                <a:gd name="connsiteY8" fmla="*/ 1619269 h 1954089"/>
                <a:gd name="connsiteX9" fmla="*/ 458256 w 3078833"/>
                <a:gd name="connsiteY9" fmla="*/ 1482109 h 1954089"/>
                <a:gd name="connsiteX10" fmla="*/ 541020 w 3078833"/>
                <a:gd name="connsiteY10" fmla="*/ 1358256 h 1954089"/>
                <a:gd name="connsiteX11" fmla="*/ 633516 w 3078833"/>
                <a:gd name="connsiteY11" fmla="*/ 1106833 h 1954089"/>
                <a:gd name="connsiteX12" fmla="*/ 704266 w 3078833"/>
                <a:gd name="connsiteY12" fmla="*/ 971570 h 1954089"/>
                <a:gd name="connsiteX13" fmla="*/ 834918 w 3078833"/>
                <a:gd name="connsiteY13" fmla="*/ 895369 h 1954089"/>
                <a:gd name="connsiteX14" fmla="*/ 890428 w 3078833"/>
                <a:gd name="connsiteY14" fmla="*/ 781069 h 1954089"/>
                <a:gd name="connsiteX15" fmla="*/ 953557 w 3078833"/>
                <a:gd name="connsiteY15" fmla="*/ 704844 h 1954089"/>
                <a:gd name="connsiteX16" fmla="*/ 1036320 w 3078833"/>
                <a:gd name="connsiteY16" fmla="*/ 704869 h 1954089"/>
                <a:gd name="connsiteX17" fmla="*/ 1082040 w 3078833"/>
                <a:gd name="connsiteY17" fmla="*/ 720109 h 1954089"/>
                <a:gd name="connsiteX18" fmla="*/ 1143000 w 3078833"/>
                <a:gd name="connsiteY18" fmla="*/ 643909 h 1954089"/>
                <a:gd name="connsiteX19" fmla="*/ 1188720 w 3078833"/>
                <a:gd name="connsiteY19" fmla="*/ 598189 h 1954089"/>
                <a:gd name="connsiteX20" fmla="*/ 1333500 w 3078833"/>
                <a:gd name="connsiteY20" fmla="*/ 613429 h 1954089"/>
                <a:gd name="connsiteX21" fmla="*/ 1455420 w 3078833"/>
                <a:gd name="connsiteY21" fmla="*/ 628669 h 1954089"/>
                <a:gd name="connsiteX22" fmla="*/ 1584960 w 3078833"/>
                <a:gd name="connsiteY22" fmla="*/ 674389 h 1954089"/>
                <a:gd name="connsiteX23" fmla="*/ 1653540 w 3078833"/>
                <a:gd name="connsiteY23" fmla="*/ 643909 h 1954089"/>
                <a:gd name="connsiteX24" fmla="*/ 1828800 w 3078833"/>
                <a:gd name="connsiteY24" fmla="*/ 641975 h 1954089"/>
                <a:gd name="connsiteX25" fmla="*/ 1881028 w 3078833"/>
                <a:gd name="connsiteY25" fmla="*/ 611496 h 1954089"/>
                <a:gd name="connsiteX26" fmla="*/ 1918015 w 3078833"/>
                <a:gd name="connsiteY26" fmla="*/ 529609 h 1954089"/>
                <a:gd name="connsiteX27" fmla="*/ 2041048 w 3078833"/>
                <a:gd name="connsiteY27" fmla="*/ 485783 h 1954089"/>
                <a:gd name="connsiteX28" fmla="*/ 2103824 w 3078833"/>
                <a:gd name="connsiteY28" fmla="*/ 415310 h 1954089"/>
                <a:gd name="connsiteX29" fmla="*/ 2247900 w 3078833"/>
                <a:gd name="connsiteY29" fmla="*/ 415309 h 1954089"/>
                <a:gd name="connsiteX30" fmla="*/ 2362200 w 3078833"/>
                <a:gd name="connsiteY30" fmla="*/ 422929 h 1954089"/>
                <a:gd name="connsiteX31" fmla="*/ 2473923 w 3078833"/>
                <a:gd name="connsiteY31" fmla="*/ 365734 h 1954089"/>
                <a:gd name="connsiteX32" fmla="*/ 2538164 w 3078833"/>
                <a:gd name="connsiteY32" fmla="*/ 312433 h 1954089"/>
                <a:gd name="connsiteX33" fmla="*/ 2651760 w 3078833"/>
                <a:gd name="connsiteY33" fmla="*/ 293389 h 1954089"/>
                <a:gd name="connsiteX34" fmla="*/ 2727960 w 3078833"/>
                <a:gd name="connsiteY34" fmla="*/ 220980 h 1954089"/>
                <a:gd name="connsiteX35" fmla="*/ 2842261 w 3078833"/>
                <a:gd name="connsiteY35" fmla="*/ 160020 h 1954089"/>
                <a:gd name="connsiteX36" fmla="*/ 2910841 w 3078833"/>
                <a:gd name="connsiteY36" fmla="*/ 102864 h 1954089"/>
                <a:gd name="connsiteX37" fmla="*/ 2960898 w 3078833"/>
                <a:gd name="connsiteY37" fmla="*/ 34309 h 1954089"/>
                <a:gd name="connsiteX38" fmla="*/ 3017520 w 3078833"/>
                <a:gd name="connsiteY38" fmla="*/ 11449 h 1954089"/>
                <a:gd name="connsiteX39" fmla="*/ 3078833 w 3078833"/>
                <a:gd name="connsiteY39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89590 w 3078833"/>
                <a:gd name="connsiteY2" fmla="*/ 1843475 h 1954089"/>
                <a:gd name="connsiteX3" fmla="*/ 73298 w 3078833"/>
                <a:gd name="connsiteY3" fmla="*/ 1928219 h 1954089"/>
                <a:gd name="connsiteX4" fmla="*/ 0 w 3078833"/>
                <a:gd name="connsiteY4" fmla="*/ 1954089 h 1954089"/>
                <a:gd name="connsiteX5" fmla="*/ 108848 w 3078833"/>
                <a:gd name="connsiteY5" fmla="*/ 1859185 h 1954089"/>
                <a:gd name="connsiteX6" fmla="*/ 205740 w 3078833"/>
                <a:gd name="connsiteY6" fmla="*/ 1847869 h 1954089"/>
                <a:gd name="connsiteX7" fmla="*/ 335280 w 3078833"/>
                <a:gd name="connsiteY7" fmla="*/ 1680229 h 1954089"/>
                <a:gd name="connsiteX8" fmla="*/ 419100 w 3078833"/>
                <a:gd name="connsiteY8" fmla="*/ 1619269 h 1954089"/>
                <a:gd name="connsiteX9" fmla="*/ 458256 w 3078833"/>
                <a:gd name="connsiteY9" fmla="*/ 1482109 h 1954089"/>
                <a:gd name="connsiteX10" fmla="*/ 541020 w 3078833"/>
                <a:gd name="connsiteY10" fmla="*/ 1358256 h 1954089"/>
                <a:gd name="connsiteX11" fmla="*/ 633516 w 3078833"/>
                <a:gd name="connsiteY11" fmla="*/ 1106833 h 1954089"/>
                <a:gd name="connsiteX12" fmla="*/ 704266 w 3078833"/>
                <a:gd name="connsiteY12" fmla="*/ 971570 h 1954089"/>
                <a:gd name="connsiteX13" fmla="*/ 834918 w 3078833"/>
                <a:gd name="connsiteY13" fmla="*/ 895369 h 1954089"/>
                <a:gd name="connsiteX14" fmla="*/ 890428 w 3078833"/>
                <a:gd name="connsiteY14" fmla="*/ 781069 h 1954089"/>
                <a:gd name="connsiteX15" fmla="*/ 953557 w 3078833"/>
                <a:gd name="connsiteY15" fmla="*/ 704844 h 1954089"/>
                <a:gd name="connsiteX16" fmla="*/ 1036320 w 3078833"/>
                <a:gd name="connsiteY16" fmla="*/ 704869 h 1954089"/>
                <a:gd name="connsiteX17" fmla="*/ 1082040 w 3078833"/>
                <a:gd name="connsiteY17" fmla="*/ 720109 h 1954089"/>
                <a:gd name="connsiteX18" fmla="*/ 1143000 w 3078833"/>
                <a:gd name="connsiteY18" fmla="*/ 643909 h 1954089"/>
                <a:gd name="connsiteX19" fmla="*/ 1188720 w 3078833"/>
                <a:gd name="connsiteY19" fmla="*/ 598189 h 1954089"/>
                <a:gd name="connsiteX20" fmla="*/ 1333500 w 3078833"/>
                <a:gd name="connsiteY20" fmla="*/ 613429 h 1954089"/>
                <a:gd name="connsiteX21" fmla="*/ 1455420 w 3078833"/>
                <a:gd name="connsiteY21" fmla="*/ 628669 h 1954089"/>
                <a:gd name="connsiteX22" fmla="*/ 1584960 w 3078833"/>
                <a:gd name="connsiteY22" fmla="*/ 674389 h 1954089"/>
                <a:gd name="connsiteX23" fmla="*/ 1653540 w 3078833"/>
                <a:gd name="connsiteY23" fmla="*/ 643909 h 1954089"/>
                <a:gd name="connsiteX24" fmla="*/ 1828800 w 3078833"/>
                <a:gd name="connsiteY24" fmla="*/ 641975 h 1954089"/>
                <a:gd name="connsiteX25" fmla="*/ 1881028 w 3078833"/>
                <a:gd name="connsiteY25" fmla="*/ 611496 h 1954089"/>
                <a:gd name="connsiteX26" fmla="*/ 1918015 w 3078833"/>
                <a:gd name="connsiteY26" fmla="*/ 529609 h 1954089"/>
                <a:gd name="connsiteX27" fmla="*/ 2041048 w 3078833"/>
                <a:gd name="connsiteY27" fmla="*/ 485783 h 1954089"/>
                <a:gd name="connsiteX28" fmla="*/ 2103824 w 3078833"/>
                <a:gd name="connsiteY28" fmla="*/ 415310 h 1954089"/>
                <a:gd name="connsiteX29" fmla="*/ 2247900 w 3078833"/>
                <a:gd name="connsiteY29" fmla="*/ 415309 h 1954089"/>
                <a:gd name="connsiteX30" fmla="*/ 2362200 w 3078833"/>
                <a:gd name="connsiteY30" fmla="*/ 422929 h 1954089"/>
                <a:gd name="connsiteX31" fmla="*/ 2473923 w 3078833"/>
                <a:gd name="connsiteY31" fmla="*/ 365734 h 1954089"/>
                <a:gd name="connsiteX32" fmla="*/ 2538164 w 3078833"/>
                <a:gd name="connsiteY32" fmla="*/ 312433 h 1954089"/>
                <a:gd name="connsiteX33" fmla="*/ 2651760 w 3078833"/>
                <a:gd name="connsiteY33" fmla="*/ 293389 h 1954089"/>
                <a:gd name="connsiteX34" fmla="*/ 2727960 w 3078833"/>
                <a:gd name="connsiteY34" fmla="*/ 220980 h 1954089"/>
                <a:gd name="connsiteX35" fmla="*/ 2842261 w 3078833"/>
                <a:gd name="connsiteY35" fmla="*/ 160020 h 1954089"/>
                <a:gd name="connsiteX36" fmla="*/ 2910841 w 3078833"/>
                <a:gd name="connsiteY36" fmla="*/ 102864 h 1954089"/>
                <a:gd name="connsiteX37" fmla="*/ 2960898 w 3078833"/>
                <a:gd name="connsiteY37" fmla="*/ 34309 h 1954089"/>
                <a:gd name="connsiteX38" fmla="*/ 3017520 w 3078833"/>
                <a:gd name="connsiteY38" fmla="*/ 11449 h 1954089"/>
                <a:gd name="connsiteX39" fmla="*/ 3078833 w 3078833"/>
                <a:gd name="connsiteY39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295111 w 3078833"/>
                <a:gd name="connsiteY2" fmla="*/ 1753556 h 1954089"/>
                <a:gd name="connsiteX3" fmla="*/ 189590 w 3078833"/>
                <a:gd name="connsiteY3" fmla="*/ 1843475 h 1954089"/>
                <a:gd name="connsiteX4" fmla="*/ 73298 w 3078833"/>
                <a:gd name="connsiteY4" fmla="*/ 1928219 h 1954089"/>
                <a:gd name="connsiteX5" fmla="*/ 0 w 3078833"/>
                <a:gd name="connsiteY5" fmla="*/ 1954089 h 1954089"/>
                <a:gd name="connsiteX6" fmla="*/ 108848 w 3078833"/>
                <a:gd name="connsiteY6" fmla="*/ 1859185 h 1954089"/>
                <a:gd name="connsiteX7" fmla="*/ 205740 w 3078833"/>
                <a:gd name="connsiteY7" fmla="*/ 1847869 h 1954089"/>
                <a:gd name="connsiteX8" fmla="*/ 335280 w 3078833"/>
                <a:gd name="connsiteY8" fmla="*/ 1680229 h 1954089"/>
                <a:gd name="connsiteX9" fmla="*/ 419100 w 3078833"/>
                <a:gd name="connsiteY9" fmla="*/ 1619269 h 1954089"/>
                <a:gd name="connsiteX10" fmla="*/ 458256 w 3078833"/>
                <a:gd name="connsiteY10" fmla="*/ 1482109 h 1954089"/>
                <a:gd name="connsiteX11" fmla="*/ 541020 w 3078833"/>
                <a:gd name="connsiteY11" fmla="*/ 1358256 h 1954089"/>
                <a:gd name="connsiteX12" fmla="*/ 633516 w 3078833"/>
                <a:gd name="connsiteY12" fmla="*/ 1106833 h 1954089"/>
                <a:gd name="connsiteX13" fmla="*/ 704266 w 3078833"/>
                <a:gd name="connsiteY13" fmla="*/ 971570 h 1954089"/>
                <a:gd name="connsiteX14" fmla="*/ 834918 w 3078833"/>
                <a:gd name="connsiteY14" fmla="*/ 895369 h 1954089"/>
                <a:gd name="connsiteX15" fmla="*/ 890428 w 3078833"/>
                <a:gd name="connsiteY15" fmla="*/ 781069 h 1954089"/>
                <a:gd name="connsiteX16" fmla="*/ 953557 w 3078833"/>
                <a:gd name="connsiteY16" fmla="*/ 704844 h 1954089"/>
                <a:gd name="connsiteX17" fmla="*/ 1036320 w 3078833"/>
                <a:gd name="connsiteY17" fmla="*/ 704869 h 1954089"/>
                <a:gd name="connsiteX18" fmla="*/ 1082040 w 3078833"/>
                <a:gd name="connsiteY18" fmla="*/ 720109 h 1954089"/>
                <a:gd name="connsiteX19" fmla="*/ 1143000 w 3078833"/>
                <a:gd name="connsiteY19" fmla="*/ 643909 h 1954089"/>
                <a:gd name="connsiteX20" fmla="*/ 1188720 w 3078833"/>
                <a:gd name="connsiteY20" fmla="*/ 598189 h 1954089"/>
                <a:gd name="connsiteX21" fmla="*/ 1333500 w 3078833"/>
                <a:gd name="connsiteY21" fmla="*/ 613429 h 1954089"/>
                <a:gd name="connsiteX22" fmla="*/ 1455420 w 3078833"/>
                <a:gd name="connsiteY22" fmla="*/ 628669 h 1954089"/>
                <a:gd name="connsiteX23" fmla="*/ 1584960 w 3078833"/>
                <a:gd name="connsiteY23" fmla="*/ 674389 h 1954089"/>
                <a:gd name="connsiteX24" fmla="*/ 1653540 w 3078833"/>
                <a:gd name="connsiteY24" fmla="*/ 643909 h 1954089"/>
                <a:gd name="connsiteX25" fmla="*/ 1828800 w 3078833"/>
                <a:gd name="connsiteY25" fmla="*/ 641975 h 1954089"/>
                <a:gd name="connsiteX26" fmla="*/ 1881028 w 3078833"/>
                <a:gd name="connsiteY26" fmla="*/ 611496 h 1954089"/>
                <a:gd name="connsiteX27" fmla="*/ 1918015 w 3078833"/>
                <a:gd name="connsiteY27" fmla="*/ 529609 h 1954089"/>
                <a:gd name="connsiteX28" fmla="*/ 2041048 w 3078833"/>
                <a:gd name="connsiteY28" fmla="*/ 485783 h 1954089"/>
                <a:gd name="connsiteX29" fmla="*/ 2103824 w 3078833"/>
                <a:gd name="connsiteY29" fmla="*/ 415310 h 1954089"/>
                <a:gd name="connsiteX30" fmla="*/ 2247900 w 3078833"/>
                <a:gd name="connsiteY30" fmla="*/ 415309 h 1954089"/>
                <a:gd name="connsiteX31" fmla="*/ 2362200 w 3078833"/>
                <a:gd name="connsiteY31" fmla="*/ 422929 h 1954089"/>
                <a:gd name="connsiteX32" fmla="*/ 2473923 w 3078833"/>
                <a:gd name="connsiteY32" fmla="*/ 365734 h 1954089"/>
                <a:gd name="connsiteX33" fmla="*/ 2538164 w 3078833"/>
                <a:gd name="connsiteY33" fmla="*/ 312433 h 1954089"/>
                <a:gd name="connsiteX34" fmla="*/ 2651760 w 3078833"/>
                <a:gd name="connsiteY34" fmla="*/ 293389 h 1954089"/>
                <a:gd name="connsiteX35" fmla="*/ 2727960 w 3078833"/>
                <a:gd name="connsiteY35" fmla="*/ 220980 h 1954089"/>
                <a:gd name="connsiteX36" fmla="*/ 2842261 w 3078833"/>
                <a:gd name="connsiteY36" fmla="*/ 160020 h 1954089"/>
                <a:gd name="connsiteX37" fmla="*/ 2910841 w 3078833"/>
                <a:gd name="connsiteY37" fmla="*/ 102864 h 1954089"/>
                <a:gd name="connsiteX38" fmla="*/ 2960898 w 3078833"/>
                <a:gd name="connsiteY38" fmla="*/ 34309 h 1954089"/>
                <a:gd name="connsiteX39" fmla="*/ 3017520 w 3078833"/>
                <a:gd name="connsiteY39" fmla="*/ 11449 h 1954089"/>
                <a:gd name="connsiteX40" fmla="*/ 3078833 w 3078833"/>
                <a:gd name="connsiteY40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676748 w 3078833"/>
                <a:gd name="connsiteY2" fmla="*/ 1418730 h 1954089"/>
                <a:gd name="connsiteX3" fmla="*/ 295111 w 3078833"/>
                <a:gd name="connsiteY3" fmla="*/ 1753556 h 1954089"/>
                <a:gd name="connsiteX4" fmla="*/ 189590 w 3078833"/>
                <a:gd name="connsiteY4" fmla="*/ 1843475 h 1954089"/>
                <a:gd name="connsiteX5" fmla="*/ 73298 w 3078833"/>
                <a:gd name="connsiteY5" fmla="*/ 1928219 h 1954089"/>
                <a:gd name="connsiteX6" fmla="*/ 0 w 3078833"/>
                <a:gd name="connsiteY6" fmla="*/ 1954089 h 1954089"/>
                <a:gd name="connsiteX7" fmla="*/ 108848 w 3078833"/>
                <a:gd name="connsiteY7" fmla="*/ 1859185 h 1954089"/>
                <a:gd name="connsiteX8" fmla="*/ 205740 w 3078833"/>
                <a:gd name="connsiteY8" fmla="*/ 1847869 h 1954089"/>
                <a:gd name="connsiteX9" fmla="*/ 335280 w 3078833"/>
                <a:gd name="connsiteY9" fmla="*/ 1680229 h 1954089"/>
                <a:gd name="connsiteX10" fmla="*/ 419100 w 3078833"/>
                <a:gd name="connsiteY10" fmla="*/ 1619269 h 1954089"/>
                <a:gd name="connsiteX11" fmla="*/ 458256 w 3078833"/>
                <a:gd name="connsiteY11" fmla="*/ 1482109 h 1954089"/>
                <a:gd name="connsiteX12" fmla="*/ 541020 w 3078833"/>
                <a:gd name="connsiteY12" fmla="*/ 1358256 h 1954089"/>
                <a:gd name="connsiteX13" fmla="*/ 633516 w 3078833"/>
                <a:gd name="connsiteY13" fmla="*/ 1106833 h 1954089"/>
                <a:gd name="connsiteX14" fmla="*/ 704266 w 3078833"/>
                <a:gd name="connsiteY14" fmla="*/ 971570 h 1954089"/>
                <a:gd name="connsiteX15" fmla="*/ 834918 w 3078833"/>
                <a:gd name="connsiteY15" fmla="*/ 895369 h 1954089"/>
                <a:gd name="connsiteX16" fmla="*/ 890428 w 3078833"/>
                <a:gd name="connsiteY16" fmla="*/ 781069 h 1954089"/>
                <a:gd name="connsiteX17" fmla="*/ 953557 w 3078833"/>
                <a:gd name="connsiteY17" fmla="*/ 704844 h 1954089"/>
                <a:gd name="connsiteX18" fmla="*/ 1036320 w 3078833"/>
                <a:gd name="connsiteY18" fmla="*/ 704869 h 1954089"/>
                <a:gd name="connsiteX19" fmla="*/ 1082040 w 3078833"/>
                <a:gd name="connsiteY19" fmla="*/ 720109 h 1954089"/>
                <a:gd name="connsiteX20" fmla="*/ 1143000 w 3078833"/>
                <a:gd name="connsiteY20" fmla="*/ 643909 h 1954089"/>
                <a:gd name="connsiteX21" fmla="*/ 1188720 w 3078833"/>
                <a:gd name="connsiteY21" fmla="*/ 598189 h 1954089"/>
                <a:gd name="connsiteX22" fmla="*/ 1333500 w 3078833"/>
                <a:gd name="connsiteY22" fmla="*/ 613429 h 1954089"/>
                <a:gd name="connsiteX23" fmla="*/ 1455420 w 3078833"/>
                <a:gd name="connsiteY23" fmla="*/ 628669 h 1954089"/>
                <a:gd name="connsiteX24" fmla="*/ 1584960 w 3078833"/>
                <a:gd name="connsiteY24" fmla="*/ 674389 h 1954089"/>
                <a:gd name="connsiteX25" fmla="*/ 1653540 w 3078833"/>
                <a:gd name="connsiteY25" fmla="*/ 643909 h 1954089"/>
                <a:gd name="connsiteX26" fmla="*/ 1828800 w 3078833"/>
                <a:gd name="connsiteY26" fmla="*/ 641975 h 1954089"/>
                <a:gd name="connsiteX27" fmla="*/ 1881028 w 3078833"/>
                <a:gd name="connsiteY27" fmla="*/ 611496 h 1954089"/>
                <a:gd name="connsiteX28" fmla="*/ 1918015 w 3078833"/>
                <a:gd name="connsiteY28" fmla="*/ 529609 h 1954089"/>
                <a:gd name="connsiteX29" fmla="*/ 2041048 w 3078833"/>
                <a:gd name="connsiteY29" fmla="*/ 485783 h 1954089"/>
                <a:gd name="connsiteX30" fmla="*/ 2103824 w 3078833"/>
                <a:gd name="connsiteY30" fmla="*/ 415310 h 1954089"/>
                <a:gd name="connsiteX31" fmla="*/ 2247900 w 3078833"/>
                <a:gd name="connsiteY31" fmla="*/ 415309 h 1954089"/>
                <a:gd name="connsiteX32" fmla="*/ 2362200 w 3078833"/>
                <a:gd name="connsiteY32" fmla="*/ 422929 h 1954089"/>
                <a:gd name="connsiteX33" fmla="*/ 2473923 w 3078833"/>
                <a:gd name="connsiteY33" fmla="*/ 365734 h 1954089"/>
                <a:gd name="connsiteX34" fmla="*/ 2538164 w 3078833"/>
                <a:gd name="connsiteY34" fmla="*/ 312433 h 1954089"/>
                <a:gd name="connsiteX35" fmla="*/ 2651760 w 3078833"/>
                <a:gd name="connsiteY35" fmla="*/ 293389 h 1954089"/>
                <a:gd name="connsiteX36" fmla="*/ 2727960 w 3078833"/>
                <a:gd name="connsiteY36" fmla="*/ 220980 h 1954089"/>
                <a:gd name="connsiteX37" fmla="*/ 2842261 w 3078833"/>
                <a:gd name="connsiteY37" fmla="*/ 160020 h 1954089"/>
                <a:gd name="connsiteX38" fmla="*/ 2910841 w 3078833"/>
                <a:gd name="connsiteY38" fmla="*/ 102864 h 1954089"/>
                <a:gd name="connsiteX39" fmla="*/ 2960898 w 3078833"/>
                <a:gd name="connsiteY39" fmla="*/ 34309 h 1954089"/>
                <a:gd name="connsiteX40" fmla="*/ 3017520 w 3078833"/>
                <a:gd name="connsiteY40" fmla="*/ 11449 h 1954089"/>
                <a:gd name="connsiteX41" fmla="*/ 3078833 w 3078833"/>
                <a:gd name="connsiteY41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676748 w 3078833"/>
                <a:gd name="connsiteY2" fmla="*/ 1418730 h 1954089"/>
                <a:gd name="connsiteX3" fmla="*/ 469573 w 3078833"/>
                <a:gd name="connsiteY3" fmla="*/ 1574596 h 1954089"/>
                <a:gd name="connsiteX4" fmla="*/ 295111 w 3078833"/>
                <a:gd name="connsiteY4" fmla="*/ 1753556 h 1954089"/>
                <a:gd name="connsiteX5" fmla="*/ 189590 w 3078833"/>
                <a:gd name="connsiteY5" fmla="*/ 1843475 h 1954089"/>
                <a:gd name="connsiteX6" fmla="*/ 73298 w 3078833"/>
                <a:gd name="connsiteY6" fmla="*/ 1928219 h 1954089"/>
                <a:gd name="connsiteX7" fmla="*/ 0 w 3078833"/>
                <a:gd name="connsiteY7" fmla="*/ 1954089 h 1954089"/>
                <a:gd name="connsiteX8" fmla="*/ 108848 w 3078833"/>
                <a:gd name="connsiteY8" fmla="*/ 1859185 h 1954089"/>
                <a:gd name="connsiteX9" fmla="*/ 205740 w 3078833"/>
                <a:gd name="connsiteY9" fmla="*/ 1847869 h 1954089"/>
                <a:gd name="connsiteX10" fmla="*/ 335280 w 3078833"/>
                <a:gd name="connsiteY10" fmla="*/ 1680229 h 1954089"/>
                <a:gd name="connsiteX11" fmla="*/ 419100 w 3078833"/>
                <a:gd name="connsiteY11" fmla="*/ 1619269 h 1954089"/>
                <a:gd name="connsiteX12" fmla="*/ 458256 w 3078833"/>
                <a:gd name="connsiteY12" fmla="*/ 1482109 h 1954089"/>
                <a:gd name="connsiteX13" fmla="*/ 541020 w 3078833"/>
                <a:gd name="connsiteY13" fmla="*/ 1358256 h 1954089"/>
                <a:gd name="connsiteX14" fmla="*/ 633516 w 3078833"/>
                <a:gd name="connsiteY14" fmla="*/ 1106833 h 1954089"/>
                <a:gd name="connsiteX15" fmla="*/ 704266 w 3078833"/>
                <a:gd name="connsiteY15" fmla="*/ 971570 h 1954089"/>
                <a:gd name="connsiteX16" fmla="*/ 834918 w 3078833"/>
                <a:gd name="connsiteY16" fmla="*/ 895369 h 1954089"/>
                <a:gd name="connsiteX17" fmla="*/ 890428 w 3078833"/>
                <a:gd name="connsiteY17" fmla="*/ 781069 h 1954089"/>
                <a:gd name="connsiteX18" fmla="*/ 953557 w 3078833"/>
                <a:gd name="connsiteY18" fmla="*/ 704844 h 1954089"/>
                <a:gd name="connsiteX19" fmla="*/ 1036320 w 3078833"/>
                <a:gd name="connsiteY19" fmla="*/ 704869 h 1954089"/>
                <a:gd name="connsiteX20" fmla="*/ 1082040 w 3078833"/>
                <a:gd name="connsiteY20" fmla="*/ 720109 h 1954089"/>
                <a:gd name="connsiteX21" fmla="*/ 1143000 w 3078833"/>
                <a:gd name="connsiteY21" fmla="*/ 643909 h 1954089"/>
                <a:gd name="connsiteX22" fmla="*/ 1188720 w 3078833"/>
                <a:gd name="connsiteY22" fmla="*/ 598189 h 1954089"/>
                <a:gd name="connsiteX23" fmla="*/ 1333500 w 3078833"/>
                <a:gd name="connsiteY23" fmla="*/ 613429 h 1954089"/>
                <a:gd name="connsiteX24" fmla="*/ 1455420 w 3078833"/>
                <a:gd name="connsiteY24" fmla="*/ 628669 h 1954089"/>
                <a:gd name="connsiteX25" fmla="*/ 1584960 w 3078833"/>
                <a:gd name="connsiteY25" fmla="*/ 674389 h 1954089"/>
                <a:gd name="connsiteX26" fmla="*/ 1653540 w 3078833"/>
                <a:gd name="connsiteY26" fmla="*/ 643909 h 1954089"/>
                <a:gd name="connsiteX27" fmla="*/ 1828800 w 3078833"/>
                <a:gd name="connsiteY27" fmla="*/ 641975 h 1954089"/>
                <a:gd name="connsiteX28" fmla="*/ 1881028 w 3078833"/>
                <a:gd name="connsiteY28" fmla="*/ 611496 h 1954089"/>
                <a:gd name="connsiteX29" fmla="*/ 1918015 w 3078833"/>
                <a:gd name="connsiteY29" fmla="*/ 529609 h 1954089"/>
                <a:gd name="connsiteX30" fmla="*/ 2041048 w 3078833"/>
                <a:gd name="connsiteY30" fmla="*/ 485783 h 1954089"/>
                <a:gd name="connsiteX31" fmla="*/ 2103824 w 3078833"/>
                <a:gd name="connsiteY31" fmla="*/ 415310 h 1954089"/>
                <a:gd name="connsiteX32" fmla="*/ 2247900 w 3078833"/>
                <a:gd name="connsiteY32" fmla="*/ 415309 h 1954089"/>
                <a:gd name="connsiteX33" fmla="*/ 2362200 w 3078833"/>
                <a:gd name="connsiteY33" fmla="*/ 422929 h 1954089"/>
                <a:gd name="connsiteX34" fmla="*/ 2473923 w 3078833"/>
                <a:gd name="connsiteY34" fmla="*/ 365734 h 1954089"/>
                <a:gd name="connsiteX35" fmla="*/ 2538164 w 3078833"/>
                <a:gd name="connsiteY35" fmla="*/ 312433 h 1954089"/>
                <a:gd name="connsiteX36" fmla="*/ 2651760 w 3078833"/>
                <a:gd name="connsiteY36" fmla="*/ 293389 h 1954089"/>
                <a:gd name="connsiteX37" fmla="*/ 2727960 w 3078833"/>
                <a:gd name="connsiteY37" fmla="*/ 220980 h 1954089"/>
                <a:gd name="connsiteX38" fmla="*/ 2842261 w 3078833"/>
                <a:gd name="connsiteY38" fmla="*/ 160020 h 1954089"/>
                <a:gd name="connsiteX39" fmla="*/ 2910841 w 3078833"/>
                <a:gd name="connsiteY39" fmla="*/ 102864 h 1954089"/>
                <a:gd name="connsiteX40" fmla="*/ 2960898 w 3078833"/>
                <a:gd name="connsiteY40" fmla="*/ 34309 h 1954089"/>
                <a:gd name="connsiteX41" fmla="*/ 3017520 w 3078833"/>
                <a:gd name="connsiteY41" fmla="*/ 11449 h 1954089"/>
                <a:gd name="connsiteX42" fmla="*/ 3078833 w 3078833"/>
                <a:gd name="connsiteY42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818499 w 3078833"/>
                <a:gd name="connsiteY2" fmla="*/ 1389864 h 1954089"/>
                <a:gd name="connsiteX3" fmla="*/ 676748 w 3078833"/>
                <a:gd name="connsiteY3" fmla="*/ 1418730 h 1954089"/>
                <a:gd name="connsiteX4" fmla="*/ 469573 w 3078833"/>
                <a:gd name="connsiteY4" fmla="*/ 1574596 h 1954089"/>
                <a:gd name="connsiteX5" fmla="*/ 295111 w 3078833"/>
                <a:gd name="connsiteY5" fmla="*/ 1753556 h 1954089"/>
                <a:gd name="connsiteX6" fmla="*/ 189590 w 3078833"/>
                <a:gd name="connsiteY6" fmla="*/ 1843475 h 1954089"/>
                <a:gd name="connsiteX7" fmla="*/ 73298 w 3078833"/>
                <a:gd name="connsiteY7" fmla="*/ 1928219 h 1954089"/>
                <a:gd name="connsiteX8" fmla="*/ 0 w 3078833"/>
                <a:gd name="connsiteY8" fmla="*/ 1954089 h 1954089"/>
                <a:gd name="connsiteX9" fmla="*/ 108848 w 3078833"/>
                <a:gd name="connsiteY9" fmla="*/ 1859185 h 1954089"/>
                <a:gd name="connsiteX10" fmla="*/ 205740 w 3078833"/>
                <a:gd name="connsiteY10" fmla="*/ 1847869 h 1954089"/>
                <a:gd name="connsiteX11" fmla="*/ 335280 w 3078833"/>
                <a:gd name="connsiteY11" fmla="*/ 1680229 h 1954089"/>
                <a:gd name="connsiteX12" fmla="*/ 419100 w 3078833"/>
                <a:gd name="connsiteY12" fmla="*/ 1619269 h 1954089"/>
                <a:gd name="connsiteX13" fmla="*/ 458256 w 3078833"/>
                <a:gd name="connsiteY13" fmla="*/ 1482109 h 1954089"/>
                <a:gd name="connsiteX14" fmla="*/ 541020 w 3078833"/>
                <a:gd name="connsiteY14" fmla="*/ 1358256 h 1954089"/>
                <a:gd name="connsiteX15" fmla="*/ 633516 w 3078833"/>
                <a:gd name="connsiteY15" fmla="*/ 1106833 h 1954089"/>
                <a:gd name="connsiteX16" fmla="*/ 704266 w 3078833"/>
                <a:gd name="connsiteY16" fmla="*/ 971570 h 1954089"/>
                <a:gd name="connsiteX17" fmla="*/ 834918 w 3078833"/>
                <a:gd name="connsiteY17" fmla="*/ 895369 h 1954089"/>
                <a:gd name="connsiteX18" fmla="*/ 890428 w 3078833"/>
                <a:gd name="connsiteY18" fmla="*/ 781069 h 1954089"/>
                <a:gd name="connsiteX19" fmla="*/ 953557 w 3078833"/>
                <a:gd name="connsiteY19" fmla="*/ 704844 h 1954089"/>
                <a:gd name="connsiteX20" fmla="*/ 1036320 w 3078833"/>
                <a:gd name="connsiteY20" fmla="*/ 704869 h 1954089"/>
                <a:gd name="connsiteX21" fmla="*/ 1082040 w 3078833"/>
                <a:gd name="connsiteY21" fmla="*/ 720109 h 1954089"/>
                <a:gd name="connsiteX22" fmla="*/ 1143000 w 3078833"/>
                <a:gd name="connsiteY22" fmla="*/ 643909 h 1954089"/>
                <a:gd name="connsiteX23" fmla="*/ 1188720 w 3078833"/>
                <a:gd name="connsiteY23" fmla="*/ 598189 h 1954089"/>
                <a:gd name="connsiteX24" fmla="*/ 1333500 w 3078833"/>
                <a:gd name="connsiteY24" fmla="*/ 613429 h 1954089"/>
                <a:gd name="connsiteX25" fmla="*/ 1455420 w 3078833"/>
                <a:gd name="connsiteY25" fmla="*/ 628669 h 1954089"/>
                <a:gd name="connsiteX26" fmla="*/ 1584960 w 3078833"/>
                <a:gd name="connsiteY26" fmla="*/ 674389 h 1954089"/>
                <a:gd name="connsiteX27" fmla="*/ 1653540 w 3078833"/>
                <a:gd name="connsiteY27" fmla="*/ 643909 h 1954089"/>
                <a:gd name="connsiteX28" fmla="*/ 1828800 w 3078833"/>
                <a:gd name="connsiteY28" fmla="*/ 641975 h 1954089"/>
                <a:gd name="connsiteX29" fmla="*/ 1881028 w 3078833"/>
                <a:gd name="connsiteY29" fmla="*/ 611496 h 1954089"/>
                <a:gd name="connsiteX30" fmla="*/ 1918015 w 3078833"/>
                <a:gd name="connsiteY30" fmla="*/ 529609 h 1954089"/>
                <a:gd name="connsiteX31" fmla="*/ 2041048 w 3078833"/>
                <a:gd name="connsiteY31" fmla="*/ 485783 h 1954089"/>
                <a:gd name="connsiteX32" fmla="*/ 2103824 w 3078833"/>
                <a:gd name="connsiteY32" fmla="*/ 415310 h 1954089"/>
                <a:gd name="connsiteX33" fmla="*/ 2247900 w 3078833"/>
                <a:gd name="connsiteY33" fmla="*/ 415309 h 1954089"/>
                <a:gd name="connsiteX34" fmla="*/ 2362200 w 3078833"/>
                <a:gd name="connsiteY34" fmla="*/ 422929 h 1954089"/>
                <a:gd name="connsiteX35" fmla="*/ 2473923 w 3078833"/>
                <a:gd name="connsiteY35" fmla="*/ 365734 h 1954089"/>
                <a:gd name="connsiteX36" fmla="*/ 2538164 w 3078833"/>
                <a:gd name="connsiteY36" fmla="*/ 312433 h 1954089"/>
                <a:gd name="connsiteX37" fmla="*/ 2651760 w 3078833"/>
                <a:gd name="connsiteY37" fmla="*/ 293389 h 1954089"/>
                <a:gd name="connsiteX38" fmla="*/ 2727960 w 3078833"/>
                <a:gd name="connsiteY38" fmla="*/ 220980 h 1954089"/>
                <a:gd name="connsiteX39" fmla="*/ 2842261 w 3078833"/>
                <a:gd name="connsiteY39" fmla="*/ 160020 h 1954089"/>
                <a:gd name="connsiteX40" fmla="*/ 2910841 w 3078833"/>
                <a:gd name="connsiteY40" fmla="*/ 102864 h 1954089"/>
                <a:gd name="connsiteX41" fmla="*/ 2960898 w 3078833"/>
                <a:gd name="connsiteY41" fmla="*/ 34309 h 1954089"/>
                <a:gd name="connsiteX42" fmla="*/ 3017520 w 3078833"/>
                <a:gd name="connsiteY42" fmla="*/ 11449 h 1954089"/>
                <a:gd name="connsiteX43" fmla="*/ 3078833 w 3078833"/>
                <a:gd name="connsiteY43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818499 w 3078833"/>
                <a:gd name="connsiteY2" fmla="*/ 1389864 h 1954089"/>
                <a:gd name="connsiteX3" fmla="*/ 676748 w 3078833"/>
                <a:gd name="connsiteY3" fmla="*/ 1418730 h 1954089"/>
                <a:gd name="connsiteX4" fmla="*/ 469573 w 3078833"/>
                <a:gd name="connsiteY4" fmla="*/ 1574596 h 1954089"/>
                <a:gd name="connsiteX5" fmla="*/ 295111 w 3078833"/>
                <a:gd name="connsiteY5" fmla="*/ 1753556 h 1954089"/>
                <a:gd name="connsiteX6" fmla="*/ 189590 w 3078833"/>
                <a:gd name="connsiteY6" fmla="*/ 1843475 h 1954089"/>
                <a:gd name="connsiteX7" fmla="*/ 73298 w 3078833"/>
                <a:gd name="connsiteY7" fmla="*/ 1928219 h 1954089"/>
                <a:gd name="connsiteX8" fmla="*/ 0 w 3078833"/>
                <a:gd name="connsiteY8" fmla="*/ 1954089 h 1954089"/>
                <a:gd name="connsiteX9" fmla="*/ 108848 w 3078833"/>
                <a:gd name="connsiteY9" fmla="*/ 1859185 h 1954089"/>
                <a:gd name="connsiteX10" fmla="*/ 205740 w 3078833"/>
                <a:gd name="connsiteY10" fmla="*/ 1847869 h 1954089"/>
                <a:gd name="connsiteX11" fmla="*/ 335280 w 3078833"/>
                <a:gd name="connsiteY11" fmla="*/ 1680229 h 1954089"/>
                <a:gd name="connsiteX12" fmla="*/ 419100 w 3078833"/>
                <a:gd name="connsiteY12" fmla="*/ 1619269 h 1954089"/>
                <a:gd name="connsiteX13" fmla="*/ 458256 w 3078833"/>
                <a:gd name="connsiteY13" fmla="*/ 1482109 h 1954089"/>
                <a:gd name="connsiteX14" fmla="*/ 541020 w 3078833"/>
                <a:gd name="connsiteY14" fmla="*/ 1358256 h 1954089"/>
                <a:gd name="connsiteX15" fmla="*/ 633516 w 3078833"/>
                <a:gd name="connsiteY15" fmla="*/ 1106833 h 1954089"/>
                <a:gd name="connsiteX16" fmla="*/ 704266 w 3078833"/>
                <a:gd name="connsiteY16" fmla="*/ 971570 h 1954089"/>
                <a:gd name="connsiteX17" fmla="*/ 834918 w 3078833"/>
                <a:gd name="connsiteY17" fmla="*/ 895369 h 1954089"/>
                <a:gd name="connsiteX18" fmla="*/ 890428 w 3078833"/>
                <a:gd name="connsiteY18" fmla="*/ 781069 h 1954089"/>
                <a:gd name="connsiteX19" fmla="*/ 953557 w 3078833"/>
                <a:gd name="connsiteY19" fmla="*/ 704844 h 1954089"/>
                <a:gd name="connsiteX20" fmla="*/ 1036320 w 3078833"/>
                <a:gd name="connsiteY20" fmla="*/ 704869 h 1954089"/>
                <a:gd name="connsiteX21" fmla="*/ 1082040 w 3078833"/>
                <a:gd name="connsiteY21" fmla="*/ 720109 h 1954089"/>
                <a:gd name="connsiteX22" fmla="*/ 1143000 w 3078833"/>
                <a:gd name="connsiteY22" fmla="*/ 643909 h 1954089"/>
                <a:gd name="connsiteX23" fmla="*/ 1188720 w 3078833"/>
                <a:gd name="connsiteY23" fmla="*/ 598189 h 1954089"/>
                <a:gd name="connsiteX24" fmla="*/ 1333500 w 3078833"/>
                <a:gd name="connsiteY24" fmla="*/ 613429 h 1954089"/>
                <a:gd name="connsiteX25" fmla="*/ 1455420 w 3078833"/>
                <a:gd name="connsiteY25" fmla="*/ 628669 h 1954089"/>
                <a:gd name="connsiteX26" fmla="*/ 1584960 w 3078833"/>
                <a:gd name="connsiteY26" fmla="*/ 674389 h 1954089"/>
                <a:gd name="connsiteX27" fmla="*/ 1653540 w 3078833"/>
                <a:gd name="connsiteY27" fmla="*/ 643909 h 1954089"/>
                <a:gd name="connsiteX28" fmla="*/ 1828800 w 3078833"/>
                <a:gd name="connsiteY28" fmla="*/ 641975 h 1954089"/>
                <a:gd name="connsiteX29" fmla="*/ 1881028 w 3078833"/>
                <a:gd name="connsiteY29" fmla="*/ 611496 h 1954089"/>
                <a:gd name="connsiteX30" fmla="*/ 1918015 w 3078833"/>
                <a:gd name="connsiteY30" fmla="*/ 529609 h 1954089"/>
                <a:gd name="connsiteX31" fmla="*/ 2041048 w 3078833"/>
                <a:gd name="connsiteY31" fmla="*/ 485783 h 1954089"/>
                <a:gd name="connsiteX32" fmla="*/ 2103824 w 3078833"/>
                <a:gd name="connsiteY32" fmla="*/ 415310 h 1954089"/>
                <a:gd name="connsiteX33" fmla="*/ 2247900 w 3078833"/>
                <a:gd name="connsiteY33" fmla="*/ 415309 h 1954089"/>
                <a:gd name="connsiteX34" fmla="*/ 2362200 w 3078833"/>
                <a:gd name="connsiteY34" fmla="*/ 422929 h 1954089"/>
                <a:gd name="connsiteX35" fmla="*/ 2473923 w 3078833"/>
                <a:gd name="connsiteY35" fmla="*/ 365734 h 1954089"/>
                <a:gd name="connsiteX36" fmla="*/ 2538164 w 3078833"/>
                <a:gd name="connsiteY36" fmla="*/ 312433 h 1954089"/>
                <a:gd name="connsiteX37" fmla="*/ 2651760 w 3078833"/>
                <a:gd name="connsiteY37" fmla="*/ 293389 h 1954089"/>
                <a:gd name="connsiteX38" fmla="*/ 2727960 w 3078833"/>
                <a:gd name="connsiteY38" fmla="*/ 220980 h 1954089"/>
                <a:gd name="connsiteX39" fmla="*/ 2842261 w 3078833"/>
                <a:gd name="connsiteY39" fmla="*/ 160020 h 1954089"/>
                <a:gd name="connsiteX40" fmla="*/ 2910841 w 3078833"/>
                <a:gd name="connsiteY40" fmla="*/ 102864 h 1954089"/>
                <a:gd name="connsiteX41" fmla="*/ 2960898 w 3078833"/>
                <a:gd name="connsiteY41" fmla="*/ 34309 h 1954089"/>
                <a:gd name="connsiteX42" fmla="*/ 3017520 w 3078833"/>
                <a:gd name="connsiteY42" fmla="*/ 11449 h 1954089"/>
                <a:gd name="connsiteX43" fmla="*/ 3078833 w 3078833"/>
                <a:gd name="connsiteY43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818499 w 3078833"/>
                <a:gd name="connsiteY2" fmla="*/ 1389864 h 1954089"/>
                <a:gd name="connsiteX3" fmla="*/ 676748 w 3078833"/>
                <a:gd name="connsiteY3" fmla="*/ 1418730 h 1954089"/>
                <a:gd name="connsiteX4" fmla="*/ 469573 w 3078833"/>
                <a:gd name="connsiteY4" fmla="*/ 1574596 h 1954089"/>
                <a:gd name="connsiteX5" fmla="*/ 295111 w 3078833"/>
                <a:gd name="connsiteY5" fmla="*/ 1753556 h 1954089"/>
                <a:gd name="connsiteX6" fmla="*/ 189590 w 3078833"/>
                <a:gd name="connsiteY6" fmla="*/ 1843475 h 1954089"/>
                <a:gd name="connsiteX7" fmla="*/ 73298 w 3078833"/>
                <a:gd name="connsiteY7" fmla="*/ 1928219 h 1954089"/>
                <a:gd name="connsiteX8" fmla="*/ 0 w 3078833"/>
                <a:gd name="connsiteY8" fmla="*/ 1954089 h 1954089"/>
                <a:gd name="connsiteX9" fmla="*/ 108848 w 3078833"/>
                <a:gd name="connsiteY9" fmla="*/ 1859185 h 1954089"/>
                <a:gd name="connsiteX10" fmla="*/ 205740 w 3078833"/>
                <a:gd name="connsiteY10" fmla="*/ 1847869 h 1954089"/>
                <a:gd name="connsiteX11" fmla="*/ 335280 w 3078833"/>
                <a:gd name="connsiteY11" fmla="*/ 1680229 h 1954089"/>
                <a:gd name="connsiteX12" fmla="*/ 419100 w 3078833"/>
                <a:gd name="connsiteY12" fmla="*/ 1619269 h 1954089"/>
                <a:gd name="connsiteX13" fmla="*/ 458256 w 3078833"/>
                <a:gd name="connsiteY13" fmla="*/ 1482109 h 1954089"/>
                <a:gd name="connsiteX14" fmla="*/ 541020 w 3078833"/>
                <a:gd name="connsiteY14" fmla="*/ 1358256 h 1954089"/>
                <a:gd name="connsiteX15" fmla="*/ 633516 w 3078833"/>
                <a:gd name="connsiteY15" fmla="*/ 1106833 h 1954089"/>
                <a:gd name="connsiteX16" fmla="*/ 704266 w 3078833"/>
                <a:gd name="connsiteY16" fmla="*/ 971570 h 1954089"/>
                <a:gd name="connsiteX17" fmla="*/ 834918 w 3078833"/>
                <a:gd name="connsiteY17" fmla="*/ 895369 h 1954089"/>
                <a:gd name="connsiteX18" fmla="*/ 890428 w 3078833"/>
                <a:gd name="connsiteY18" fmla="*/ 781069 h 1954089"/>
                <a:gd name="connsiteX19" fmla="*/ 953557 w 3078833"/>
                <a:gd name="connsiteY19" fmla="*/ 704844 h 1954089"/>
                <a:gd name="connsiteX20" fmla="*/ 1036320 w 3078833"/>
                <a:gd name="connsiteY20" fmla="*/ 704869 h 1954089"/>
                <a:gd name="connsiteX21" fmla="*/ 1082040 w 3078833"/>
                <a:gd name="connsiteY21" fmla="*/ 720109 h 1954089"/>
                <a:gd name="connsiteX22" fmla="*/ 1143000 w 3078833"/>
                <a:gd name="connsiteY22" fmla="*/ 643909 h 1954089"/>
                <a:gd name="connsiteX23" fmla="*/ 1188720 w 3078833"/>
                <a:gd name="connsiteY23" fmla="*/ 598189 h 1954089"/>
                <a:gd name="connsiteX24" fmla="*/ 1333500 w 3078833"/>
                <a:gd name="connsiteY24" fmla="*/ 613429 h 1954089"/>
                <a:gd name="connsiteX25" fmla="*/ 1455420 w 3078833"/>
                <a:gd name="connsiteY25" fmla="*/ 628669 h 1954089"/>
                <a:gd name="connsiteX26" fmla="*/ 1584960 w 3078833"/>
                <a:gd name="connsiteY26" fmla="*/ 674389 h 1954089"/>
                <a:gd name="connsiteX27" fmla="*/ 1653540 w 3078833"/>
                <a:gd name="connsiteY27" fmla="*/ 643909 h 1954089"/>
                <a:gd name="connsiteX28" fmla="*/ 1828800 w 3078833"/>
                <a:gd name="connsiteY28" fmla="*/ 641975 h 1954089"/>
                <a:gd name="connsiteX29" fmla="*/ 1881028 w 3078833"/>
                <a:gd name="connsiteY29" fmla="*/ 611496 h 1954089"/>
                <a:gd name="connsiteX30" fmla="*/ 1918015 w 3078833"/>
                <a:gd name="connsiteY30" fmla="*/ 529609 h 1954089"/>
                <a:gd name="connsiteX31" fmla="*/ 2041048 w 3078833"/>
                <a:gd name="connsiteY31" fmla="*/ 485783 h 1954089"/>
                <a:gd name="connsiteX32" fmla="*/ 2103824 w 3078833"/>
                <a:gd name="connsiteY32" fmla="*/ 415310 h 1954089"/>
                <a:gd name="connsiteX33" fmla="*/ 2247900 w 3078833"/>
                <a:gd name="connsiteY33" fmla="*/ 415309 h 1954089"/>
                <a:gd name="connsiteX34" fmla="*/ 2362200 w 3078833"/>
                <a:gd name="connsiteY34" fmla="*/ 422929 h 1954089"/>
                <a:gd name="connsiteX35" fmla="*/ 2473923 w 3078833"/>
                <a:gd name="connsiteY35" fmla="*/ 365734 h 1954089"/>
                <a:gd name="connsiteX36" fmla="*/ 2538164 w 3078833"/>
                <a:gd name="connsiteY36" fmla="*/ 312433 h 1954089"/>
                <a:gd name="connsiteX37" fmla="*/ 2651760 w 3078833"/>
                <a:gd name="connsiteY37" fmla="*/ 293389 h 1954089"/>
                <a:gd name="connsiteX38" fmla="*/ 2727960 w 3078833"/>
                <a:gd name="connsiteY38" fmla="*/ 220980 h 1954089"/>
                <a:gd name="connsiteX39" fmla="*/ 2842261 w 3078833"/>
                <a:gd name="connsiteY39" fmla="*/ 160020 h 1954089"/>
                <a:gd name="connsiteX40" fmla="*/ 2910841 w 3078833"/>
                <a:gd name="connsiteY40" fmla="*/ 102864 h 1954089"/>
                <a:gd name="connsiteX41" fmla="*/ 2960898 w 3078833"/>
                <a:gd name="connsiteY41" fmla="*/ 34309 h 1954089"/>
                <a:gd name="connsiteX42" fmla="*/ 3017520 w 3078833"/>
                <a:gd name="connsiteY42" fmla="*/ 11449 h 1954089"/>
                <a:gd name="connsiteX43" fmla="*/ 3078833 w 3078833"/>
                <a:gd name="connsiteY43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014769 w 3078833"/>
                <a:gd name="connsiteY2" fmla="*/ 1303273 h 1954089"/>
                <a:gd name="connsiteX3" fmla="*/ 818499 w 3078833"/>
                <a:gd name="connsiteY3" fmla="*/ 1389864 h 1954089"/>
                <a:gd name="connsiteX4" fmla="*/ 676748 w 3078833"/>
                <a:gd name="connsiteY4" fmla="*/ 1418730 h 1954089"/>
                <a:gd name="connsiteX5" fmla="*/ 469573 w 3078833"/>
                <a:gd name="connsiteY5" fmla="*/ 1574596 h 1954089"/>
                <a:gd name="connsiteX6" fmla="*/ 295111 w 3078833"/>
                <a:gd name="connsiteY6" fmla="*/ 1753556 h 1954089"/>
                <a:gd name="connsiteX7" fmla="*/ 189590 w 3078833"/>
                <a:gd name="connsiteY7" fmla="*/ 1843475 h 1954089"/>
                <a:gd name="connsiteX8" fmla="*/ 73298 w 3078833"/>
                <a:gd name="connsiteY8" fmla="*/ 1928219 h 1954089"/>
                <a:gd name="connsiteX9" fmla="*/ 0 w 3078833"/>
                <a:gd name="connsiteY9" fmla="*/ 1954089 h 1954089"/>
                <a:gd name="connsiteX10" fmla="*/ 108848 w 3078833"/>
                <a:gd name="connsiteY10" fmla="*/ 1859185 h 1954089"/>
                <a:gd name="connsiteX11" fmla="*/ 205740 w 3078833"/>
                <a:gd name="connsiteY11" fmla="*/ 1847869 h 1954089"/>
                <a:gd name="connsiteX12" fmla="*/ 335280 w 3078833"/>
                <a:gd name="connsiteY12" fmla="*/ 1680229 h 1954089"/>
                <a:gd name="connsiteX13" fmla="*/ 419100 w 3078833"/>
                <a:gd name="connsiteY13" fmla="*/ 1619269 h 1954089"/>
                <a:gd name="connsiteX14" fmla="*/ 458256 w 3078833"/>
                <a:gd name="connsiteY14" fmla="*/ 1482109 h 1954089"/>
                <a:gd name="connsiteX15" fmla="*/ 541020 w 3078833"/>
                <a:gd name="connsiteY15" fmla="*/ 1358256 h 1954089"/>
                <a:gd name="connsiteX16" fmla="*/ 633516 w 3078833"/>
                <a:gd name="connsiteY16" fmla="*/ 1106833 h 1954089"/>
                <a:gd name="connsiteX17" fmla="*/ 704266 w 3078833"/>
                <a:gd name="connsiteY17" fmla="*/ 971570 h 1954089"/>
                <a:gd name="connsiteX18" fmla="*/ 834918 w 3078833"/>
                <a:gd name="connsiteY18" fmla="*/ 895369 h 1954089"/>
                <a:gd name="connsiteX19" fmla="*/ 890428 w 3078833"/>
                <a:gd name="connsiteY19" fmla="*/ 781069 h 1954089"/>
                <a:gd name="connsiteX20" fmla="*/ 953557 w 3078833"/>
                <a:gd name="connsiteY20" fmla="*/ 704844 h 1954089"/>
                <a:gd name="connsiteX21" fmla="*/ 1036320 w 3078833"/>
                <a:gd name="connsiteY21" fmla="*/ 704869 h 1954089"/>
                <a:gd name="connsiteX22" fmla="*/ 1082040 w 3078833"/>
                <a:gd name="connsiteY22" fmla="*/ 720109 h 1954089"/>
                <a:gd name="connsiteX23" fmla="*/ 1143000 w 3078833"/>
                <a:gd name="connsiteY23" fmla="*/ 643909 h 1954089"/>
                <a:gd name="connsiteX24" fmla="*/ 1188720 w 3078833"/>
                <a:gd name="connsiteY24" fmla="*/ 598189 h 1954089"/>
                <a:gd name="connsiteX25" fmla="*/ 1333500 w 3078833"/>
                <a:gd name="connsiteY25" fmla="*/ 613429 h 1954089"/>
                <a:gd name="connsiteX26" fmla="*/ 1455420 w 3078833"/>
                <a:gd name="connsiteY26" fmla="*/ 628669 h 1954089"/>
                <a:gd name="connsiteX27" fmla="*/ 1584960 w 3078833"/>
                <a:gd name="connsiteY27" fmla="*/ 674389 h 1954089"/>
                <a:gd name="connsiteX28" fmla="*/ 1653540 w 3078833"/>
                <a:gd name="connsiteY28" fmla="*/ 643909 h 1954089"/>
                <a:gd name="connsiteX29" fmla="*/ 1828800 w 3078833"/>
                <a:gd name="connsiteY29" fmla="*/ 641975 h 1954089"/>
                <a:gd name="connsiteX30" fmla="*/ 1881028 w 3078833"/>
                <a:gd name="connsiteY30" fmla="*/ 611496 h 1954089"/>
                <a:gd name="connsiteX31" fmla="*/ 1918015 w 3078833"/>
                <a:gd name="connsiteY31" fmla="*/ 529609 h 1954089"/>
                <a:gd name="connsiteX32" fmla="*/ 2041048 w 3078833"/>
                <a:gd name="connsiteY32" fmla="*/ 485783 h 1954089"/>
                <a:gd name="connsiteX33" fmla="*/ 2103824 w 3078833"/>
                <a:gd name="connsiteY33" fmla="*/ 415310 h 1954089"/>
                <a:gd name="connsiteX34" fmla="*/ 2247900 w 3078833"/>
                <a:gd name="connsiteY34" fmla="*/ 415309 h 1954089"/>
                <a:gd name="connsiteX35" fmla="*/ 2362200 w 3078833"/>
                <a:gd name="connsiteY35" fmla="*/ 422929 h 1954089"/>
                <a:gd name="connsiteX36" fmla="*/ 2473923 w 3078833"/>
                <a:gd name="connsiteY36" fmla="*/ 365734 h 1954089"/>
                <a:gd name="connsiteX37" fmla="*/ 2538164 w 3078833"/>
                <a:gd name="connsiteY37" fmla="*/ 312433 h 1954089"/>
                <a:gd name="connsiteX38" fmla="*/ 2651760 w 3078833"/>
                <a:gd name="connsiteY38" fmla="*/ 293389 h 1954089"/>
                <a:gd name="connsiteX39" fmla="*/ 2727960 w 3078833"/>
                <a:gd name="connsiteY39" fmla="*/ 220980 h 1954089"/>
                <a:gd name="connsiteX40" fmla="*/ 2842261 w 3078833"/>
                <a:gd name="connsiteY40" fmla="*/ 160020 h 1954089"/>
                <a:gd name="connsiteX41" fmla="*/ 2910841 w 3078833"/>
                <a:gd name="connsiteY41" fmla="*/ 102864 h 1954089"/>
                <a:gd name="connsiteX42" fmla="*/ 2960898 w 3078833"/>
                <a:gd name="connsiteY42" fmla="*/ 34309 h 1954089"/>
                <a:gd name="connsiteX43" fmla="*/ 3017520 w 3078833"/>
                <a:gd name="connsiteY43" fmla="*/ 11449 h 1954089"/>
                <a:gd name="connsiteX44" fmla="*/ 3078833 w 3078833"/>
                <a:gd name="connsiteY44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014769 w 3078833"/>
                <a:gd name="connsiteY2" fmla="*/ 1303273 h 1954089"/>
                <a:gd name="connsiteX3" fmla="*/ 938442 w 3078833"/>
                <a:gd name="connsiteY3" fmla="*/ 1280182 h 1954089"/>
                <a:gd name="connsiteX4" fmla="*/ 818499 w 3078833"/>
                <a:gd name="connsiteY4" fmla="*/ 1389864 h 1954089"/>
                <a:gd name="connsiteX5" fmla="*/ 676748 w 3078833"/>
                <a:gd name="connsiteY5" fmla="*/ 1418730 h 1954089"/>
                <a:gd name="connsiteX6" fmla="*/ 469573 w 3078833"/>
                <a:gd name="connsiteY6" fmla="*/ 1574596 h 1954089"/>
                <a:gd name="connsiteX7" fmla="*/ 295111 w 3078833"/>
                <a:gd name="connsiteY7" fmla="*/ 1753556 h 1954089"/>
                <a:gd name="connsiteX8" fmla="*/ 189590 w 3078833"/>
                <a:gd name="connsiteY8" fmla="*/ 1843475 h 1954089"/>
                <a:gd name="connsiteX9" fmla="*/ 73298 w 3078833"/>
                <a:gd name="connsiteY9" fmla="*/ 1928219 h 1954089"/>
                <a:gd name="connsiteX10" fmla="*/ 0 w 3078833"/>
                <a:gd name="connsiteY10" fmla="*/ 1954089 h 1954089"/>
                <a:gd name="connsiteX11" fmla="*/ 108848 w 3078833"/>
                <a:gd name="connsiteY11" fmla="*/ 1859185 h 1954089"/>
                <a:gd name="connsiteX12" fmla="*/ 205740 w 3078833"/>
                <a:gd name="connsiteY12" fmla="*/ 1847869 h 1954089"/>
                <a:gd name="connsiteX13" fmla="*/ 335280 w 3078833"/>
                <a:gd name="connsiteY13" fmla="*/ 1680229 h 1954089"/>
                <a:gd name="connsiteX14" fmla="*/ 419100 w 3078833"/>
                <a:gd name="connsiteY14" fmla="*/ 1619269 h 1954089"/>
                <a:gd name="connsiteX15" fmla="*/ 458256 w 3078833"/>
                <a:gd name="connsiteY15" fmla="*/ 1482109 h 1954089"/>
                <a:gd name="connsiteX16" fmla="*/ 541020 w 3078833"/>
                <a:gd name="connsiteY16" fmla="*/ 1358256 h 1954089"/>
                <a:gd name="connsiteX17" fmla="*/ 633516 w 3078833"/>
                <a:gd name="connsiteY17" fmla="*/ 1106833 h 1954089"/>
                <a:gd name="connsiteX18" fmla="*/ 704266 w 3078833"/>
                <a:gd name="connsiteY18" fmla="*/ 971570 h 1954089"/>
                <a:gd name="connsiteX19" fmla="*/ 834918 w 3078833"/>
                <a:gd name="connsiteY19" fmla="*/ 895369 h 1954089"/>
                <a:gd name="connsiteX20" fmla="*/ 890428 w 3078833"/>
                <a:gd name="connsiteY20" fmla="*/ 781069 h 1954089"/>
                <a:gd name="connsiteX21" fmla="*/ 953557 w 3078833"/>
                <a:gd name="connsiteY21" fmla="*/ 704844 h 1954089"/>
                <a:gd name="connsiteX22" fmla="*/ 1036320 w 3078833"/>
                <a:gd name="connsiteY22" fmla="*/ 704869 h 1954089"/>
                <a:gd name="connsiteX23" fmla="*/ 1082040 w 3078833"/>
                <a:gd name="connsiteY23" fmla="*/ 720109 h 1954089"/>
                <a:gd name="connsiteX24" fmla="*/ 1143000 w 3078833"/>
                <a:gd name="connsiteY24" fmla="*/ 643909 h 1954089"/>
                <a:gd name="connsiteX25" fmla="*/ 1188720 w 3078833"/>
                <a:gd name="connsiteY25" fmla="*/ 598189 h 1954089"/>
                <a:gd name="connsiteX26" fmla="*/ 1333500 w 3078833"/>
                <a:gd name="connsiteY26" fmla="*/ 613429 h 1954089"/>
                <a:gd name="connsiteX27" fmla="*/ 1455420 w 3078833"/>
                <a:gd name="connsiteY27" fmla="*/ 628669 h 1954089"/>
                <a:gd name="connsiteX28" fmla="*/ 1584960 w 3078833"/>
                <a:gd name="connsiteY28" fmla="*/ 674389 h 1954089"/>
                <a:gd name="connsiteX29" fmla="*/ 1653540 w 3078833"/>
                <a:gd name="connsiteY29" fmla="*/ 643909 h 1954089"/>
                <a:gd name="connsiteX30" fmla="*/ 1828800 w 3078833"/>
                <a:gd name="connsiteY30" fmla="*/ 641975 h 1954089"/>
                <a:gd name="connsiteX31" fmla="*/ 1881028 w 3078833"/>
                <a:gd name="connsiteY31" fmla="*/ 611496 h 1954089"/>
                <a:gd name="connsiteX32" fmla="*/ 1918015 w 3078833"/>
                <a:gd name="connsiteY32" fmla="*/ 529609 h 1954089"/>
                <a:gd name="connsiteX33" fmla="*/ 2041048 w 3078833"/>
                <a:gd name="connsiteY33" fmla="*/ 485783 h 1954089"/>
                <a:gd name="connsiteX34" fmla="*/ 2103824 w 3078833"/>
                <a:gd name="connsiteY34" fmla="*/ 415310 h 1954089"/>
                <a:gd name="connsiteX35" fmla="*/ 2247900 w 3078833"/>
                <a:gd name="connsiteY35" fmla="*/ 415309 h 1954089"/>
                <a:gd name="connsiteX36" fmla="*/ 2362200 w 3078833"/>
                <a:gd name="connsiteY36" fmla="*/ 422929 h 1954089"/>
                <a:gd name="connsiteX37" fmla="*/ 2473923 w 3078833"/>
                <a:gd name="connsiteY37" fmla="*/ 365734 h 1954089"/>
                <a:gd name="connsiteX38" fmla="*/ 2538164 w 3078833"/>
                <a:gd name="connsiteY38" fmla="*/ 312433 h 1954089"/>
                <a:gd name="connsiteX39" fmla="*/ 2651760 w 3078833"/>
                <a:gd name="connsiteY39" fmla="*/ 293389 h 1954089"/>
                <a:gd name="connsiteX40" fmla="*/ 2727960 w 3078833"/>
                <a:gd name="connsiteY40" fmla="*/ 220980 h 1954089"/>
                <a:gd name="connsiteX41" fmla="*/ 2842261 w 3078833"/>
                <a:gd name="connsiteY41" fmla="*/ 160020 h 1954089"/>
                <a:gd name="connsiteX42" fmla="*/ 2910841 w 3078833"/>
                <a:gd name="connsiteY42" fmla="*/ 102864 h 1954089"/>
                <a:gd name="connsiteX43" fmla="*/ 2960898 w 3078833"/>
                <a:gd name="connsiteY43" fmla="*/ 34309 h 1954089"/>
                <a:gd name="connsiteX44" fmla="*/ 3017520 w 3078833"/>
                <a:gd name="connsiteY44" fmla="*/ 11449 h 1954089"/>
                <a:gd name="connsiteX45" fmla="*/ 3078833 w 3078833"/>
                <a:gd name="connsiteY45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014769 w 3078833"/>
                <a:gd name="connsiteY2" fmla="*/ 1303273 h 1954089"/>
                <a:gd name="connsiteX3" fmla="*/ 938442 w 3078833"/>
                <a:gd name="connsiteY3" fmla="*/ 1280182 h 1954089"/>
                <a:gd name="connsiteX4" fmla="*/ 818499 w 3078833"/>
                <a:gd name="connsiteY4" fmla="*/ 1389864 h 1954089"/>
                <a:gd name="connsiteX5" fmla="*/ 676748 w 3078833"/>
                <a:gd name="connsiteY5" fmla="*/ 1418730 h 1954089"/>
                <a:gd name="connsiteX6" fmla="*/ 469573 w 3078833"/>
                <a:gd name="connsiteY6" fmla="*/ 1574596 h 1954089"/>
                <a:gd name="connsiteX7" fmla="*/ 295111 w 3078833"/>
                <a:gd name="connsiteY7" fmla="*/ 1753556 h 1954089"/>
                <a:gd name="connsiteX8" fmla="*/ 189590 w 3078833"/>
                <a:gd name="connsiteY8" fmla="*/ 1843475 h 1954089"/>
                <a:gd name="connsiteX9" fmla="*/ 73298 w 3078833"/>
                <a:gd name="connsiteY9" fmla="*/ 1928219 h 1954089"/>
                <a:gd name="connsiteX10" fmla="*/ 0 w 3078833"/>
                <a:gd name="connsiteY10" fmla="*/ 1954089 h 1954089"/>
                <a:gd name="connsiteX11" fmla="*/ 108848 w 3078833"/>
                <a:gd name="connsiteY11" fmla="*/ 1859185 h 1954089"/>
                <a:gd name="connsiteX12" fmla="*/ 205740 w 3078833"/>
                <a:gd name="connsiteY12" fmla="*/ 1847869 h 1954089"/>
                <a:gd name="connsiteX13" fmla="*/ 335280 w 3078833"/>
                <a:gd name="connsiteY13" fmla="*/ 1680229 h 1954089"/>
                <a:gd name="connsiteX14" fmla="*/ 419100 w 3078833"/>
                <a:gd name="connsiteY14" fmla="*/ 1619269 h 1954089"/>
                <a:gd name="connsiteX15" fmla="*/ 458256 w 3078833"/>
                <a:gd name="connsiteY15" fmla="*/ 1482109 h 1954089"/>
                <a:gd name="connsiteX16" fmla="*/ 541020 w 3078833"/>
                <a:gd name="connsiteY16" fmla="*/ 1358256 h 1954089"/>
                <a:gd name="connsiteX17" fmla="*/ 633516 w 3078833"/>
                <a:gd name="connsiteY17" fmla="*/ 1106833 h 1954089"/>
                <a:gd name="connsiteX18" fmla="*/ 704266 w 3078833"/>
                <a:gd name="connsiteY18" fmla="*/ 971570 h 1954089"/>
                <a:gd name="connsiteX19" fmla="*/ 834918 w 3078833"/>
                <a:gd name="connsiteY19" fmla="*/ 895369 h 1954089"/>
                <a:gd name="connsiteX20" fmla="*/ 890428 w 3078833"/>
                <a:gd name="connsiteY20" fmla="*/ 781069 h 1954089"/>
                <a:gd name="connsiteX21" fmla="*/ 953557 w 3078833"/>
                <a:gd name="connsiteY21" fmla="*/ 704844 h 1954089"/>
                <a:gd name="connsiteX22" fmla="*/ 1036320 w 3078833"/>
                <a:gd name="connsiteY22" fmla="*/ 704869 h 1954089"/>
                <a:gd name="connsiteX23" fmla="*/ 1082040 w 3078833"/>
                <a:gd name="connsiteY23" fmla="*/ 720109 h 1954089"/>
                <a:gd name="connsiteX24" fmla="*/ 1143000 w 3078833"/>
                <a:gd name="connsiteY24" fmla="*/ 643909 h 1954089"/>
                <a:gd name="connsiteX25" fmla="*/ 1188720 w 3078833"/>
                <a:gd name="connsiteY25" fmla="*/ 598189 h 1954089"/>
                <a:gd name="connsiteX26" fmla="*/ 1333500 w 3078833"/>
                <a:gd name="connsiteY26" fmla="*/ 613429 h 1954089"/>
                <a:gd name="connsiteX27" fmla="*/ 1455420 w 3078833"/>
                <a:gd name="connsiteY27" fmla="*/ 628669 h 1954089"/>
                <a:gd name="connsiteX28" fmla="*/ 1584960 w 3078833"/>
                <a:gd name="connsiteY28" fmla="*/ 674389 h 1954089"/>
                <a:gd name="connsiteX29" fmla="*/ 1653540 w 3078833"/>
                <a:gd name="connsiteY29" fmla="*/ 643909 h 1954089"/>
                <a:gd name="connsiteX30" fmla="*/ 1828800 w 3078833"/>
                <a:gd name="connsiteY30" fmla="*/ 641975 h 1954089"/>
                <a:gd name="connsiteX31" fmla="*/ 1881028 w 3078833"/>
                <a:gd name="connsiteY31" fmla="*/ 611496 h 1954089"/>
                <a:gd name="connsiteX32" fmla="*/ 1918015 w 3078833"/>
                <a:gd name="connsiteY32" fmla="*/ 529609 h 1954089"/>
                <a:gd name="connsiteX33" fmla="*/ 2041048 w 3078833"/>
                <a:gd name="connsiteY33" fmla="*/ 485783 h 1954089"/>
                <a:gd name="connsiteX34" fmla="*/ 2103824 w 3078833"/>
                <a:gd name="connsiteY34" fmla="*/ 415310 h 1954089"/>
                <a:gd name="connsiteX35" fmla="*/ 2247900 w 3078833"/>
                <a:gd name="connsiteY35" fmla="*/ 415309 h 1954089"/>
                <a:gd name="connsiteX36" fmla="*/ 2362200 w 3078833"/>
                <a:gd name="connsiteY36" fmla="*/ 422929 h 1954089"/>
                <a:gd name="connsiteX37" fmla="*/ 2473923 w 3078833"/>
                <a:gd name="connsiteY37" fmla="*/ 365734 h 1954089"/>
                <a:gd name="connsiteX38" fmla="*/ 2538164 w 3078833"/>
                <a:gd name="connsiteY38" fmla="*/ 312433 h 1954089"/>
                <a:gd name="connsiteX39" fmla="*/ 2651760 w 3078833"/>
                <a:gd name="connsiteY39" fmla="*/ 293389 h 1954089"/>
                <a:gd name="connsiteX40" fmla="*/ 2727960 w 3078833"/>
                <a:gd name="connsiteY40" fmla="*/ 220980 h 1954089"/>
                <a:gd name="connsiteX41" fmla="*/ 2842261 w 3078833"/>
                <a:gd name="connsiteY41" fmla="*/ 160020 h 1954089"/>
                <a:gd name="connsiteX42" fmla="*/ 2910841 w 3078833"/>
                <a:gd name="connsiteY42" fmla="*/ 102864 h 1954089"/>
                <a:gd name="connsiteX43" fmla="*/ 2960898 w 3078833"/>
                <a:gd name="connsiteY43" fmla="*/ 34309 h 1954089"/>
                <a:gd name="connsiteX44" fmla="*/ 3017520 w 3078833"/>
                <a:gd name="connsiteY44" fmla="*/ 11449 h 1954089"/>
                <a:gd name="connsiteX45" fmla="*/ 3078833 w 3078833"/>
                <a:gd name="connsiteY45" fmla="*/ 0 h 1954089"/>
                <a:gd name="connsiteX0" fmla="*/ 3066008 w 3078833"/>
                <a:gd name="connsiteY0" fmla="*/ 155488 h 1954089"/>
                <a:gd name="connsiteX1" fmla="*/ 1216295 w 3078833"/>
                <a:gd name="connsiteY1" fmla="*/ 1106164 h 1954089"/>
                <a:gd name="connsiteX2" fmla="*/ 1014769 w 3078833"/>
                <a:gd name="connsiteY2" fmla="*/ 1303273 h 1954089"/>
                <a:gd name="connsiteX3" fmla="*/ 938442 w 3078833"/>
                <a:gd name="connsiteY3" fmla="*/ 1280182 h 1954089"/>
                <a:gd name="connsiteX4" fmla="*/ 818499 w 3078833"/>
                <a:gd name="connsiteY4" fmla="*/ 1389864 h 1954089"/>
                <a:gd name="connsiteX5" fmla="*/ 676748 w 3078833"/>
                <a:gd name="connsiteY5" fmla="*/ 1418730 h 1954089"/>
                <a:gd name="connsiteX6" fmla="*/ 469573 w 3078833"/>
                <a:gd name="connsiteY6" fmla="*/ 1574596 h 1954089"/>
                <a:gd name="connsiteX7" fmla="*/ 295111 w 3078833"/>
                <a:gd name="connsiteY7" fmla="*/ 1753556 h 1954089"/>
                <a:gd name="connsiteX8" fmla="*/ 189590 w 3078833"/>
                <a:gd name="connsiteY8" fmla="*/ 1843475 h 1954089"/>
                <a:gd name="connsiteX9" fmla="*/ 73298 w 3078833"/>
                <a:gd name="connsiteY9" fmla="*/ 1928219 h 1954089"/>
                <a:gd name="connsiteX10" fmla="*/ 0 w 3078833"/>
                <a:gd name="connsiteY10" fmla="*/ 1954089 h 1954089"/>
                <a:gd name="connsiteX11" fmla="*/ 108848 w 3078833"/>
                <a:gd name="connsiteY11" fmla="*/ 1859185 h 1954089"/>
                <a:gd name="connsiteX12" fmla="*/ 205740 w 3078833"/>
                <a:gd name="connsiteY12" fmla="*/ 1847869 h 1954089"/>
                <a:gd name="connsiteX13" fmla="*/ 335280 w 3078833"/>
                <a:gd name="connsiteY13" fmla="*/ 1680229 h 1954089"/>
                <a:gd name="connsiteX14" fmla="*/ 419100 w 3078833"/>
                <a:gd name="connsiteY14" fmla="*/ 1619269 h 1954089"/>
                <a:gd name="connsiteX15" fmla="*/ 458256 w 3078833"/>
                <a:gd name="connsiteY15" fmla="*/ 1482109 h 1954089"/>
                <a:gd name="connsiteX16" fmla="*/ 541020 w 3078833"/>
                <a:gd name="connsiteY16" fmla="*/ 1358256 h 1954089"/>
                <a:gd name="connsiteX17" fmla="*/ 633516 w 3078833"/>
                <a:gd name="connsiteY17" fmla="*/ 1106833 h 1954089"/>
                <a:gd name="connsiteX18" fmla="*/ 704266 w 3078833"/>
                <a:gd name="connsiteY18" fmla="*/ 971570 h 1954089"/>
                <a:gd name="connsiteX19" fmla="*/ 834918 w 3078833"/>
                <a:gd name="connsiteY19" fmla="*/ 895369 h 1954089"/>
                <a:gd name="connsiteX20" fmla="*/ 890428 w 3078833"/>
                <a:gd name="connsiteY20" fmla="*/ 781069 h 1954089"/>
                <a:gd name="connsiteX21" fmla="*/ 953557 w 3078833"/>
                <a:gd name="connsiteY21" fmla="*/ 704844 h 1954089"/>
                <a:gd name="connsiteX22" fmla="*/ 1036320 w 3078833"/>
                <a:gd name="connsiteY22" fmla="*/ 704869 h 1954089"/>
                <a:gd name="connsiteX23" fmla="*/ 1082040 w 3078833"/>
                <a:gd name="connsiteY23" fmla="*/ 720109 h 1954089"/>
                <a:gd name="connsiteX24" fmla="*/ 1143000 w 3078833"/>
                <a:gd name="connsiteY24" fmla="*/ 643909 h 1954089"/>
                <a:gd name="connsiteX25" fmla="*/ 1188720 w 3078833"/>
                <a:gd name="connsiteY25" fmla="*/ 598189 h 1954089"/>
                <a:gd name="connsiteX26" fmla="*/ 1333500 w 3078833"/>
                <a:gd name="connsiteY26" fmla="*/ 613429 h 1954089"/>
                <a:gd name="connsiteX27" fmla="*/ 1455420 w 3078833"/>
                <a:gd name="connsiteY27" fmla="*/ 628669 h 1954089"/>
                <a:gd name="connsiteX28" fmla="*/ 1584960 w 3078833"/>
                <a:gd name="connsiteY28" fmla="*/ 674389 h 1954089"/>
                <a:gd name="connsiteX29" fmla="*/ 1653540 w 3078833"/>
                <a:gd name="connsiteY29" fmla="*/ 643909 h 1954089"/>
                <a:gd name="connsiteX30" fmla="*/ 1828800 w 3078833"/>
                <a:gd name="connsiteY30" fmla="*/ 641975 h 1954089"/>
                <a:gd name="connsiteX31" fmla="*/ 1881028 w 3078833"/>
                <a:gd name="connsiteY31" fmla="*/ 611496 h 1954089"/>
                <a:gd name="connsiteX32" fmla="*/ 1918015 w 3078833"/>
                <a:gd name="connsiteY32" fmla="*/ 529609 h 1954089"/>
                <a:gd name="connsiteX33" fmla="*/ 2041048 w 3078833"/>
                <a:gd name="connsiteY33" fmla="*/ 485783 h 1954089"/>
                <a:gd name="connsiteX34" fmla="*/ 2103824 w 3078833"/>
                <a:gd name="connsiteY34" fmla="*/ 415310 h 1954089"/>
                <a:gd name="connsiteX35" fmla="*/ 2247900 w 3078833"/>
                <a:gd name="connsiteY35" fmla="*/ 415309 h 1954089"/>
                <a:gd name="connsiteX36" fmla="*/ 2362200 w 3078833"/>
                <a:gd name="connsiteY36" fmla="*/ 422929 h 1954089"/>
                <a:gd name="connsiteX37" fmla="*/ 2473923 w 3078833"/>
                <a:gd name="connsiteY37" fmla="*/ 365734 h 1954089"/>
                <a:gd name="connsiteX38" fmla="*/ 2538164 w 3078833"/>
                <a:gd name="connsiteY38" fmla="*/ 312433 h 1954089"/>
                <a:gd name="connsiteX39" fmla="*/ 2651760 w 3078833"/>
                <a:gd name="connsiteY39" fmla="*/ 293389 h 1954089"/>
                <a:gd name="connsiteX40" fmla="*/ 2727960 w 3078833"/>
                <a:gd name="connsiteY40" fmla="*/ 220980 h 1954089"/>
                <a:gd name="connsiteX41" fmla="*/ 2842261 w 3078833"/>
                <a:gd name="connsiteY41" fmla="*/ 160020 h 1954089"/>
                <a:gd name="connsiteX42" fmla="*/ 2910841 w 3078833"/>
                <a:gd name="connsiteY42" fmla="*/ 102864 h 1954089"/>
                <a:gd name="connsiteX43" fmla="*/ 2960898 w 3078833"/>
                <a:gd name="connsiteY43" fmla="*/ 34309 h 1954089"/>
                <a:gd name="connsiteX44" fmla="*/ 3017520 w 3078833"/>
                <a:gd name="connsiteY44" fmla="*/ 11449 h 1954089"/>
                <a:gd name="connsiteX45" fmla="*/ 3078833 w 3078833"/>
                <a:gd name="connsiteY45" fmla="*/ 0 h 1954089"/>
                <a:gd name="connsiteX0" fmla="*/ 3066008 w 3078833"/>
                <a:gd name="connsiteY0" fmla="*/ 155488 h 1954089"/>
                <a:gd name="connsiteX1" fmla="*/ 1404584 w 3078833"/>
                <a:gd name="connsiteY1" fmla="*/ 870307 h 1954089"/>
                <a:gd name="connsiteX2" fmla="*/ 1216295 w 3078833"/>
                <a:gd name="connsiteY2" fmla="*/ 1106164 h 1954089"/>
                <a:gd name="connsiteX3" fmla="*/ 1014769 w 3078833"/>
                <a:gd name="connsiteY3" fmla="*/ 1303273 h 1954089"/>
                <a:gd name="connsiteX4" fmla="*/ 938442 w 3078833"/>
                <a:gd name="connsiteY4" fmla="*/ 1280182 h 1954089"/>
                <a:gd name="connsiteX5" fmla="*/ 818499 w 3078833"/>
                <a:gd name="connsiteY5" fmla="*/ 1389864 h 1954089"/>
                <a:gd name="connsiteX6" fmla="*/ 676748 w 3078833"/>
                <a:gd name="connsiteY6" fmla="*/ 1418730 h 1954089"/>
                <a:gd name="connsiteX7" fmla="*/ 469573 w 3078833"/>
                <a:gd name="connsiteY7" fmla="*/ 1574596 h 1954089"/>
                <a:gd name="connsiteX8" fmla="*/ 295111 w 3078833"/>
                <a:gd name="connsiteY8" fmla="*/ 1753556 h 1954089"/>
                <a:gd name="connsiteX9" fmla="*/ 189590 w 3078833"/>
                <a:gd name="connsiteY9" fmla="*/ 1843475 h 1954089"/>
                <a:gd name="connsiteX10" fmla="*/ 73298 w 3078833"/>
                <a:gd name="connsiteY10" fmla="*/ 1928219 h 1954089"/>
                <a:gd name="connsiteX11" fmla="*/ 0 w 3078833"/>
                <a:gd name="connsiteY11" fmla="*/ 1954089 h 1954089"/>
                <a:gd name="connsiteX12" fmla="*/ 108848 w 3078833"/>
                <a:gd name="connsiteY12" fmla="*/ 1859185 h 1954089"/>
                <a:gd name="connsiteX13" fmla="*/ 205740 w 3078833"/>
                <a:gd name="connsiteY13" fmla="*/ 1847869 h 1954089"/>
                <a:gd name="connsiteX14" fmla="*/ 335280 w 3078833"/>
                <a:gd name="connsiteY14" fmla="*/ 1680229 h 1954089"/>
                <a:gd name="connsiteX15" fmla="*/ 419100 w 3078833"/>
                <a:gd name="connsiteY15" fmla="*/ 1619269 h 1954089"/>
                <a:gd name="connsiteX16" fmla="*/ 458256 w 3078833"/>
                <a:gd name="connsiteY16" fmla="*/ 1482109 h 1954089"/>
                <a:gd name="connsiteX17" fmla="*/ 541020 w 3078833"/>
                <a:gd name="connsiteY17" fmla="*/ 1358256 h 1954089"/>
                <a:gd name="connsiteX18" fmla="*/ 633516 w 3078833"/>
                <a:gd name="connsiteY18" fmla="*/ 1106833 h 1954089"/>
                <a:gd name="connsiteX19" fmla="*/ 704266 w 3078833"/>
                <a:gd name="connsiteY19" fmla="*/ 971570 h 1954089"/>
                <a:gd name="connsiteX20" fmla="*/ 834918 w 3078833"/>
                <a:gd name="connsiteY20" fmla="*/ 895369 h 1954089"/>
                <a:gd name="connsiteX21" fmla="*/ 890428 w 3078833"/>
                <a:gd name="connsiteY21" fmla="*/ 781069 h 1954089"/>
                <a:gd name="connsiteX22" fmla="*/ 953557 w 3078833"/>
                <a:gd name="connsiteY22" fmla="*/ 704844 h 1954089"/>
                <a:gd name="connsiteX23" fmla="*/ 1036320 w 3078833"/>
                <a:gd name="connsiteY23" fmla="*/ 704869 h 1954089"/>
                <a:gd name="connsiteX24" fmla="*/ 1082040 w 3078833"/>
                <a:gd name="connsiteY24" fmla="*/ 720109 h 1954089"/>
                <a:gd name="connsiteX25" fmla="*/ 1143000 w 3078833"/>
                <a:gd name="connsiteY25" fmla="*/ 643909 h 1954089"/>
                <a:gd name="connsiteX26" fmla="*/ 1188720 w 3078833"/>
                <a:gd name="connsiteY26" fmla="*/ 598189 h 1954089"/>
                <a:gd name="connsiteX27" fmla="*/ 1333500 w 3078833"/>
                <a:gd name="connsiteY27" fmla="*/ 613429 h 1954089"/>
                <a:gd name="connsiteX28" fmla="*/ 1455420 w 3078833"/>
                <a:gd name="connsiteY28" fmla="*/ 628669 h 1954089"/>
                <a:gd name="connsiteX29" fmla="*/ 1584960 w 3078833"/>
                <a:gd name="connsiteY29" fmla="*/ 674389 h 1954089"/>
                <a:gd name="connsiteX30" fmla="*/ 1653540 w 3078833"/>
                <a:gd name="connsiteY30" fmla="*/ 643909 h 1954089"/>
                <a:gd name="connsiteX31" fmla="*/ 1828800 w 3078833"/>
                <a:gd name="connsiteY31" fmla="*/ 641975 h 1954089"/>
                <a:gd name="connsiteX32" fmla="*/ 1881028 w 3078833"/>
                <a:gd name="connsiteY32" fmla="*/ 611496 h 1954089"/>
                <a:gd name="connsiteX33" fmla="*/ 1918015 w 3078833"/>
                <a:gd name="connsiteY33" fmla="*/ 529609 h 1954089"/>
                <a:gd name="connsiteX34" fmla="*/ 2041048 w 3078833"/>
                <a:gd name="connsiteY34" fmla="*/ 485783 h 1954089"/>
                <a:gd name="connsiteX35" fmla="*/ 2103824 w 3078833"/>
                <a:gd name="connsiteY35" fmla="*/ 415310 h 1954089"/>
                <a:gd name="connsiteX36" fmla="*/ 2247900 w 3078833"/>
                <a:gd name="connsiteY36" fmla="*/ 415309 h 1954089"/>
                <a:gd name="connsiteX37" fmla="*/ 2362200 w 3078833"/>
                <a:gd name="connsiteY37" fmla="*/ 422929 h 1954089"/>
                <a:gd name="connsiteX38" fmla="*/ 2473923 w 3078833"/>
                <a:gd name="connsiteY38" fmla="*/ 365734 h 1954089"/>
                <a:gd name="connsiteX39" fmla="*/ 2538164 w 3078833"/>
                <a:gd name="connsiteY39" fmla="*/ 312433 h 1954089"/>
                <a:gd name="connsiteX40" fmla="*/ 2651760 w 3078833"/>
                <a:gd name="connsiteY40" fmla="*/ 293389 h 1954089"/>
                <a:gd name="connsiteX41" fmla="*/ 2727960 w 3078833"/>
                <a:gd name="connsiteY41" fmla="*/ 220980 h 1954089"/>
                <a:gd name="connsiteX42" fmla="*/ 2842261 w 3078833"/>
                <a:gd name="connsiteY42" fmla="*/ 160020 h 1954089"/>
                <a:gd name="connsiteX43" fmla="*/ 2910841 w 3078833"/>
                <a:gd name="connsiteY43" fmla="*/ 102864 h 1954089"/>
                <a:gd name="connsiteX44" fmla="*/ 2960898 w 3078833"/>
                <a:gd name="connsiteY44" fmla="*/ 34309 h 1954089"/>
                <a:gd name="connsiteX45" fmla="*/ 3017520 w 3078833"/>
                <a:gd name="connsiteY45" fmla="*/ 11449 h 1954089"/>
                <a:gd name="connsiteX46" fmla="*/ 3078833 w 3078833"/>
                <a:gd name="connsiteY46" fmla="*/ 0 h 1954089"/>
                <a:gd name="connsiteX0" fmla="*/ 3079638 w 3079638"/>
                <a:gd name="connsiteY0" fmla="*/ 178579 h 1954089"/>
                <a:gd name="connsiteX1" fmla="*/ 1404584 w 3079638"/>
                <a:gd name="connsiteY1" fmla="*/ 870307 h 1954089"/>
                <a:gd name="connsiteX2" fmla="*/ 1216295 w 3079638"/>
                <a:gd name="connsiteY2" fmla="*/ 1106164 h 1954089"/>
                <a:gd name="connsiteX3" fmla="*/ 1014769 w 3079638"/>
                <a:gd name="connsiteY3" fmla="*/ 1303273 h 1954089"/>
                <a:gd name="connsiteX4" fmla="*/ 938442 w 3079638"/>
                <a:gd name="connsiteY4" fmla="*/ 1280182 h 1954089"/>
                <a:gd name="connsiteX5" fmla="*/ 818499 w 3079638"/>
                <a:gd name="connsiteY5" fmla="*/ 1389864 h 1954089"/>
                <a:gd name="connsiteX6" fmla="*/ 676748 w 3079638"/>
                <a:gd name="connsiteY6" fmla="*/ 1418730 h 1954089"/>
                <a:gd name="connsiteX7" fmla="*/ 469573 w 3079638"/>
                <a:gd name="connsiteY7" fmla="*/ 1574596 h 1954089"/>
                <a:gd name="connsiteX8" fmla="*/ 295111 w 3079638"/>
                <a:gd name="connsiteY8" fmla="*/ 1753556 h 1954089"/>
                <a:gd name="connsiteX9" fmla="*/ 189590 w 3079638"/>
                <a:gd name="connsiteY9" fmla="*/ 1843475 h 1954089"/>
                <a:gd name="connsiteX10" fmla="*/ 73298 w 3079638"/>
                <a:gd name="connsiteY10" fmla="*/ 1928219 h 1954089"/>
                <a:gd name="connsiteX11" fmla="*/ 0 w 3079638"/>
                <a:gd name="connsiteY11" fmla="*/ 1954089 h 1954089"/>
                <a:gd name="connsiteX12" fmla="*/ 108848 w 3079638"/>
                <a:gd name="connsiteY12" fmla="*/ 1859185 h 1954089"/>
                <a:gd name="connsiteX13" fmla="*/ 205740 w 3079638"/>
                <a:gd name="connsiteY13" fmla="*/ 1847869 h 1954089"/>
                <a:gd name="connsiteX14" fmla="*/ 335280 w 3079638"/>
                <a:gd name="connsiteY14" fmla="*/ 1680229 h 1954089"/>
                <a:gd name="connsiteX15" fmla="*/ 419100 w 3079638"/>
                <a:gd name="connsiteY15" fmla="*/ 1619269 h 1954089"/>
                <a:gd name="connsiteX16" fmla="*/ 458256 w 3079638"/>
                <a:gd name="connsiteY16" fmla="*/ 1482109 h 1954089"/>
                <a:gd name="connsiteX17" fmla="*/ 541020 w 3079638"/>
                <a:gd name="connsiteY17" fmla="*/ 1358256 h 1954089"/>
                <a:gd name="connsiteX18" fmla="*/ 633516 w 3079638"/>
                <a:gd name="connsiteY18" fmla="*/ 1106833 h 1954089"/>
                <a:gd name="connsiteX19" fmla="*/ 704266 w 3079638"/>
                <a:gd name="connsiteY19" fmla="*/ 971570 h 1954089"/>
                <a:gd name="connsiteX20" fmla="*/ 834918 w 3079638"/>
                <a:gd name="connsiteY20" fmla="*/ 895369 h 1954089"/>
                <a:gd name="connsiteX21" fmla="*/ 890428 w 3079638"/>
                <a:gd name="connsiteY21" fmla="*/ 781069 h 1954089"/>
                <a:gd name="connsiteX22" fmla="*/ 953557 w 3079638"/>
                <a:gd name="connsiteY22" fmla="*/ 704844 h 1954089"/>
                <a:gd name="connsiteX23" fmla="*/ 1036320 w 3079638"/>
                <a:gd name="connsiteY23" fmla="*/ 704869 h 1954089"/>
                <a:gd name="connsiteX24" fmla="*/ 1082040 w 3079638"/>
                <a:gd name="connsiteY24" fmla="*/ 720109 h 1954089"/>
                <a:gd name="connsiteX25" fmla="*/ 1143000 w 3079638"/>
                <a:gd name="connsiteY25" fmla="*/ 643909 h 1954089"/>
                <a:gd name="connsiteX26" fmla="*/ 1188720 w 3079638"/>
                <a:gd name="connsiteY26" fmla="*/ 598189 h 1954089"/>
                <a:gd name="connsiteX27" fmla="*/ 1333500 w 3079638"/>
                <a:gd name="connsiteY27" fmla="*/ 613429 h 1954089"/>
                <a:gd name="connsiteX28" fmla="*/ 1455420 w 3079638"/>
                <a:gd name="connsiteY28" fmla="*/ 628669 h 1954089"/>
                <a:gd name="connsiteX29" fmla="*/ 1584960 w 3079638"/>
                <a:gd name="connsiteY29" fmla="*/ 674389 h 1954089"/>
                <a:gd name="connsiteX30" fmla="*/ 1653540 w 3079638"/>
                <a:gd name="connsiteY30" fmla="*/ 643909 h 1954089"/>
                <a:gd name="connsiteX31" fmla="*/ 1828800 w 3079638"/>
                <a:gd name="connsiteY31" fmla="*/ 641975 h 1954089"/>
                <a:gd name="connsiteX32" fmla="*/ 1881028 w 3079638"/>
                <a:gd name="connsiteY32" fmla="*/ 611496 h 1954089"/>
                <a:gd name="connsiteX33" fmla="*/ 1918015 w 3079638"/>
                <a:gd name="connsiteY33" fmla="*/ 529609 h 1954089"/>
                <a:gd name="connsiteX34" fmla="*/ 2041048 w 3079638"/>
                <a:gd name="connsiteY34" fmla="*/ 485783 h 1954089"/>
                <a:gd name="connsiteX35" fmla="*/ 2103824 w 3079638"/>
                <a:gd name="connsiteY35" fmla="*/ 415310 h 1954089"/>
                <a:gd name="connsiteX36" fmla="*/ 2247900 w 3079638"/>
                <a:gd name="connsiteY36" fmla="*/ 415309 h 1954089"/>
                <a:gd name="connsiteX37" fmla="*/ 2362200 w 3079638"/>
                <a:gd name="connsiteY37" fmla="*/ 422929 h 1954089"/>
                <a:gd name="connsiteX38" fmla="*/ 2473923 w 3079638"/>
                <a:gd name="connsiteY38" fmla="*/ 365734 h 1954089"/>
                <a:gd name="connsiteX39" fmla="*/ 2538164 w 3079638"/>
                <a:gd name="connsiteY39" fmla="*/ 312433 h 1954089"/>
                <a:gd name="connsiteX40" fmla="*/ 2651760 w 3079638"/>
                <a:gd name="connsiteY40" fmla="*/ 293389 h 1954089"/>
                <a:gd name="connsiteX41" fmla="*/ 2727960 w 3079638"/>
                <a:gd name="connsiteY41" fmla="*/ 220980 h 1954089"/>
                <a:gd name="connsiteX42" fmla="*/ 2842261 w 3079638"/>
                <a:gd name="connsiteY42" fmla="*/ 160020 h 1954089"/>
                <a:gd name="connsiteX43" fmla="*/ 2910841 w 3079638"/>
                <a:gd name="connsiteY43" fmla="*/ 102864 h 1954089"/>
                <a:gd name="connsiteX44" fmla="*/ 2960898 w 3079638"/>
                <a:gd name="connsiteY44" fmla="*/ 34309 h 1954089"/>
                <a:gd name="connsiteX45" fmla="*/ 3017520 w 3079638"/>
                <a:gd name="connsiteY45" fmla="*/ 11449 h 1954089"/>
                <a:gd name="connsiteX46" fmla="*/ 3078833 w 3079638"/>
                <a:gd name="connsiteY46" fmla="*/ 0 h 1954089"/>
                <a:gd name="connsiteX0" fmla="*/ 3079638 w 3079638"/>
                <a:gd name="connsiteY0" fmla="*/ 178579 h 1954089"/>
                <a:gd name="connsiteX1" fmla="*/ 2086077 w 3079638"/>
                <a:gd name="connsiteY1" fmla="*/ 685576 h 1954089"/>
                <a:gd name="connsiteX2" fmla="*/ 1404584 w 3079638"/>
                <a:gd name="connsiteY2" fmla="*/ 870307 h 1954089"/>
                <a:gd name="connsiteX3" fmla="*/ 1216295 w 3079638"/>
                <a:gd name="connsiteY3" fmla="*/ 1106164 h 1954089"/>
                <a:gd name="connsiteX4" fmla="*/ 1014769 w 3079638"/>
                <a:gd name="connsiteY4" fmla="*/ 1303273 h 1954089"/>
                <a:gd name="connsiteX5" fmla="*/ 938442 w 3079638"/>
                <a:gd name="connsiteY5" fmla="*/ 1280182 h 1954089"/>
                <a:gd name="connsiteX6" fmla="*/ 818499 w 3079638"/>
                <a:gd name="connsiteY6" fmla="*/ 1389864 h 1954089"/>
                <a:gd name="connsiteX7" fmla="*/ 676748 w 3079638"/>
                <a:gd name="connsiteY7" fmla="*/ 1418730 h 1954089"/>
                <a:gd name="connsiteX8" fmla="*/ 469573 w 3079638"/>
                <a:gd name="connsiteY8" fmla="*/ 1574596 h 1954089"/>
                <a:gd name="connsiteX9" fmla="*/ 295111 w 3079638"/>
                <a:gd name="connsiteY9" fmla="*/ 1753556 h 1954089"/>
                <a:gd name="connsiteX10" fmla="*/ 189590 w 3079638"/>
                <a:gd name="connsiteY10" fmla="*/ 1843475 h 1954089"/>
                <a:gd name="connsiteX11" fmla="*/ 73298 w 3079638"/>
                <a:gd name="connsiteY11" fmla="*/ 1928219 h 1954089"/>
                <a:gd name="connsiteX12" fmla="*/ 0 w 3079638"/>
                <a:gd name="connsiteY12" fmla="*/ 1954089 h 1954089"/>
                <a:gd name="connsiteX13" fmla="*/ 108848 w 3079638"/>
                <a:gd name="connsiteY13" fmla="*/ 1859185 h 1954089"/>
                <a:gd name="connsiteX14" fmla="*/ 205740 w 3079638"/>
                <a:gd name="connsiteY14" fmla="*/ 1847869 h 1954089"/>
                <a:gd name="connsiteX15" fmla="*/ 335280 w 3079638"/>
                <a:gd name="connsiteY15" fmla="*/ 1680229 h 1954089"/>
                <a:gd name="connsiteX16" fmla="*/ 419100 w 3079638"/>
                <a:gd name="connsiteY16" fmla="*/ 1619269 h 1954089"/>
                <a:gd name="connsiteX17" fmla="*/ 458256 w 3079638"/>
                <a:gd name="connsiteY17" fmla="*/ 1482109 h 1954089"/>
                <a:gd name="connsiteX18" fmla="*/ 541020 w 3079638"/>
                <a:gd name="connsiteY18" fmla="*/ 1358256 h 1954089"/>
                <a:gd name="connsiteX19" fmla="*/ 633516 w 3079638"/>
                <a:gd name="connsiteY19" fmla="*/ 1106833 h 1954089"/>
                <a:gd name="connsiteX20" fmla="*/ 704266 w 3079638"/>
                <a:gd name="connsiteY20" fmla="*/ 971570 h 1954089"/>
                <a:gd name="connsiteX21" fmla="*/ 834918 w 3079638"/>
                <a:gd name="connsiteY21" fmla="*/ 895369 h 1954089"/>
                <a:gd name="connsiteX22" fmla="*/ 890428 w 3079638"/>
                <a:gd name="connsiteY22" fmla="*/ 781069 h 1954089"/>
                <a:gd name="connsiteX23" fmla="*/ 953557 w 3079638"/>
                <a:gd name="connsiteY23" fmla="*/ 704844 h 1954089"/>
                <a:gd name="connsiteX24" fmla="*/ 1036320 w 3079638"/>
                <a:gd name="connsiteY24" fmla="*/ 704869 h 1954089"/>
                <a:gd name="connsiteX25" fmla="*/ 1082040 w 3079638"/>
                <a:gd name="connsiteY25" fmla="*/ 720109 h 1954089"/>
                <a:gd name="connsiteX26" fmla="*/ 1143000 w 3079638"/>
                <a:gd name="connsiteY26" fmla="*/ 643909 h 1954089"/>
                <a:gd name="connsiteX27" fmla="*/ 1188720 w 3079638"/>
                <a:gd name="connsiteY27" fmla="*/ 598189 h 1954089"/>
                <a:gd name="connsiteX28" fmla="*/ 1333500 w 3079638"/>
                <a:gd name="connsiteY28" fmla="*/ 613429 h 1954089"/>
                <a:gd name="connsiteX29" fmla="*/ 1455420 w 3079638"/>
                <a:gd name="connsiteY29" fmla="*/ 628669 h 1954089"/>
                <a:gd name="connsiteX30" fmla="*/ 1584960 w 3079638"/>
                <a:gd name="connsiteY30" fmla="*/ 674389 h 1954089"/>
                <a:gd name="connsiteX31" fmla="*/ 1653540 w 3079638"/>
                <a:gd name="connsiteY31" fmla="*/ 643909 h 1954089"/>
                <a:gd name="connsiteX32" fmla="*/ 1828800 w 3079638"/>
                <a:gd name="connsiteY32" fmla="*/ 641975 h 1954089"/>
                <a:gd name="connsiteX33" fmla="*/ 1881028 w 3079638"/>
                <a:gd name="connsiteY33" fmla="*/ 611496 h 1954089"/>
                <a:gd name="connsiteX34" fmla="*/ 1918015 w 3079638"/>
                <a:gd name="connsiteY34" fmla="*/ 529609 h 1954089"/>
                <a:gd name="connsiteX35" fmla="*/ 2041048 w 3079638"/>
                <a:gd name="connsiteY35" fmla="*/ 485783 h 1954089"/>
                <a:gd name="connsiteX36" fmla="*/ 2103824 w 3079638"/>
                <a:gd name="connsiteY36" fmla="*/ 415310 h 1954089"/>
                <a:gd name="connsiteX37" fmla="*/ 2247900 w 3079638"/>
                <a:gd name="connsiteY37" fmla="*/ 415309 h 1954089"/>
                <a:gd name="connsiteX38" fmla="*/ 2362200 w 3079638"/>
                <a:gd name="connsiteY38" fmla="*/ 422929 h 1954089"/>
                <a:gd name="connsiteX39" fmla="*/ 2473923 w 3079638"/>
                <a:gd name="connsiteY39" fmla="*/ 365734 h 1954089"/>
                <a:gd name="connsiteX40" fmla="*/ 2538164 w 3079638"/>
                <a:gd name="connsiteY40" fmla="*/ 312433 h 1954089"/>
                <a:gd name="connsiteX41" fmla="*/ 2651760 w 3079638"/>
                <a:gd name="connsiteY41" fmla="*/ 293389 h 1954089"/>
                <a:gd name="connsiteX42" fmla="*/ 2727960 w 3079638"/>
                <a:gd name="connsiteY42" fmla="*/ 220980 h 1954089"/>
                <a:gd name="connsiteX43" fmla="*/ 2842261 w 3079638"/>
                <a:gd name="connsiteY43" fmla="*/ 160020 h 1954089"/>
                <a:gd name="connsiteX44" fmla="*/ 2910841 w 3079638"/>
                <a:gd name="connsiteY44" fmla="*/ 102864 h 1954089"/>
                <a:gd name="connsiteX45" fmla="*/ 2960898 w 3079638"/>
                <a:gd name="connsiteY45" fmla="*/ 34309 h 1954089"/>
                <a:gd name="connsiteX46" fmla="*/ 3017520 w 3079638"/>
                <a:gd name="connsiteY46" fmla="*/ 11449 h 1954089"/>
                <a:gd name="connsiteX47" fmla="*/ 3078833 w 3079638"/>
                <a:gd name="connsiteY47" fmla="*/ 0 h 1954089"/>
                <a:gd name="connsiteX0" fmla="*/ 3079638 w 3079638"/>
                <a:gd name="connsiteY0" fmla="*/ 178579 h 1954089"/>
                <a:gd name="connsiteX1" fmla="*/ 2369579 w 3079638"/>
                <a:gd name="connsiteY1" fmla="*/ 483525 h 1954089"/>
                <a:gd name="connsiteX2" fmla="*/ 2086077 w 3079638"/>
                <a:gd name="connsiteY2" fmla="*/ 685576 h 1954089"/>
                <a:gd name="connsiteX3" fmla="*/ 1404584 w 3079638"/>
                <a:gd name="connsiteY3" fmla="*/ 870307 h 1954089"/>
                <a:gd name="connsiteX4" fmla="*/ 1216295 w 3079638"/>
                <a:gd name="connsiteY4" fmla="*/ 1106164 h 1954089"/>
                <a:gd name="connsiteX5" fmla="*/ 1014769 w 3079638"/>
                <a:gd name="connsiteY5" fmla="*/ 1303273 h 1954089"/>
                <a:gd name="connsiteX6" fmla="*/ 938442 w 3079638"/>
                <a:gd name="connsiteY6" fmla="*/ 1280182 h 1954089"/>
                <a:gd name="connsiteX7" fmla="*/ 818499 w 3079638"/>
                <a:gd name="connsiteY7" fmla="*/ 1389864 h 1954089"/>
                <a:gd name="connsiteX8" fmla="*/ 676748 w 3079638"/>
                <a:gd name="connsiteY8" fmla="*/ 1418730 h 1954089"/>
                <a:gd name="connsiteX9" fmla="*/ 469573 w 3079638"/>
                <a:gd name="connsiteY9" fmla="*/ 1574596 h 1954089"/>
                <a:gd name="connsiteX10" fmla="*/ 295111 w 3079638"/>
                <a:gd name="connsiteY10" fmla="*/ 1753556 h 1954089"/>
                <a:gd name="connsiteX11" fmla="*/ 189590 w 3079638"/>
                <a:gd name="connsiteY11" fmla="*/ 1843475 h 1954089"/>
                <a:gd name="connsiteX12" fmla="*/ 73298 w 3079638"/>
                <a:gd name="connsiteY12" fmla="*/ 1928219 h 1954089"/>
                <a:gd name="connsiteX13" fmla="*/ 0 w 3079638"/>
                <a:gd name="connsiteY13" fmla="*/ 1954089 h 1954089"/>
                <a:gd name="connsiteX14" fmla="*/ 108848 w 3079638"/>
                <a:gd name="connsiteY14" fmla="*/ 1859185 h 1954089"/>
                <a:gd name="connsiteX15" fmla="*/ 205740 w 3079638"/>
                <a:gd name="connsiteY15" fmla="*/ 1847869 h 1954089"/>
                <a:gd name="connsiteX16" fmla="*/ 335280 w 3079638"/>
                <a:gd name="connsiteY16" fmla="*/ 1680229 h 1954089"/>
                <a:gd name="connsiteX17" fmla="*/ 419100 w 3079638"/>
                <a:gd name="connsiteY17" fmla="*/ 1619269 h 1954089"/>
                <a:gd name="connsiteX18" fmla="*/ 458256 w 3079638"/>
                <a:gd name="connsiteY18" fmla="*/ 1482109 h 1954089"/>
                <a:gd name="connsiteX19" fmla="*/ 541020 w 3079638"/>
                <a:gd name="connsiteY19" fmla="*/ 1358256 h 1954089"/>
                <a:gd name="connsiteX20" fmla="*/ 633516 w 3079638"/>
                <a:gd name="connsiteY20" fmla="*/ 1106833 h 1954089"/>
                <a:gd name="connsiteX21" fmla="*/ 704266 w 3079638"/>
                <a:gd name="connsiteY21" fmla="*/ 971570 h 1954089"/>
                <a:gd name="connsiteX22" fmla="*/ 834918 w 3079638"/>
                <a:gd name="connsiteY22" fmla="*/ 895369 h 1954089"/>
                <a:gd name="connsiteX23" fmla="*/ 890428 w 3079638"/>
                <a:gd name="connsiteY23" fmla="*/ 781069 h 1954089"/>
                <a:gd name="connsiteX24" fmla="*/ 953557 w 3079638"/>
                <a:gd name="connsiteY24" fmla="*/ 704844 h 1954089"/>
                <a:gd name="connsiteX25" fmla="*/ 1036320 w 3079638"/>
                <a:gd name="connsiteY25" fmla="*/ 704869 h 1954089"/>
                <a:gd name="connsiteX26" fmla="*/ 1082040 w 3079638"/>
                <a:gd name="connsiteY26" fmla="*/ 720109 h 1954089"/>
                <a:gd name="connsiteX27" fmla="*/ 1143000 w 3079638"/>
                <a:gd name="connsiteY27" fmla="*/ 643909 h 1954089"/>
                <a:gd name="connsiteX28" fmla="*/ 1188720 w 3079638"/>
                <a:gd name="connsiteY28" fmla="*/ 598189 h 1954089"/>
                <a:gd name="connsiteX29" fmla="*/ 1333500 w 3079638"/>
                <a:gd name="connsiteY29" fmla="*/ 613429 h 1954089"/>
                <a:gd name="connsiteX30" fmla="*/ 1455420 w 3079638"/>
                <a:gd name="connsiteY30" fmla="*/ 628669 h 1954089"/>
                <a:gd name="connsiteX31" fmla="*/ 1584960 w 3079638"/>
                <a:gd name="connsiteY31" fmla="*/ 674389 h 1954089"/>
                <a:gd name="connsiteX32" fmla="*/ 1653540 w 3079638"/>
                <a:gd name="connsiteY32" fmla="*/ 643909 h 1954089"/>
                <a:gd name="connsiteX33" fmla="*/ 1828800 w 3079638"/>
                <a:gd name="connsiteY33" fmla="*/ 641975 h 1954089"/>
                <a:gd name="connsiteX34" fmla="*/ 1881028 w 3079638"/>
                <a:gd name="connsiteY34" fmla="*/ 611496 h 1954089"/>
                <a:gd name="connsiteX35" fmla="*/ 1918015 w 3079638"/>
                <a:gd name="connsiteY35" fmla="*/ 529609 h 1954089"/>
                <a:gd name="connsiteX36" fmla="*/ 2041048 w 3079638"/>
                <a:gd name="connsiteY36" fmla="*/ 485783 h 1954089"/>
                <a:gd name="connsiteX37" fmla="*/ 2103824 w 3079638"/>
                <a:gd name="connsiteY37" fmla="*/ 415310 h 1954089"/>
                <a:gd name="connsiteX38" fmla="*/ 2247900 w 3079638"/>
                <a:gd name="connsiteY38" fmla="*/ 415309 h 1954089"/>
                <a:gd name="connsiteX39" fmla="*/ 2362200 w 3079638"/>
                <a:gd name="connsiteY39" fmla="*/ 422929 h 1954089"/>
                <a:gd name="connsiteX40" fmla="*/ 2473923 w 3079638"/>
                <a:gd name="connsiteY40" fmla="*/ 365734 h 1954089"/>
                <a:gd name="connsiteX41" fmla="*/ 2538164 w 3079638"/>
                <a:gd name="connsiteY41" fmla="*/ 312433 h 1954089"/>
                <a:gd name="connsiteX42" fmla="*/ 2651760 w 3079638"/>
                <a:gd name="connsiteY42" fmla="*/ 293389 h 1954089"/>
                <a:gd name="connsiteX43" fmla="*/ 2727960 w 3079638"/>
                <a:gd name="connsiteY43" fmla="*/ 220980 h 1954089"/>
                <a:gd name="connsiteX44" fmla="*/ 2842261 w 3079638"/>
                <a:gd name="connsiteY44" fmla="*/ 160020 h 1954089"/>
                <a:gd name="connsiteX45" fmla="*/ 2910841 w 3079638"/>
                <a:gd name="connsiteY45" fmla="*/ 102864 h 1954089"/>
                <a:gd name="connsiteX46" fmla="*/ 2960898 w 3079638"/>
                <a:gd name="connsiteY46" fmla="*/ 34309 h 1954089"/>
                <a:gd name="connsiteX47" fmla="*/ 3017520 w 3079638"/>
                <a:gd name="connsiteY47" fmla="*/ 11449 h 1954089"/>
                <a:gd name="connsiteX48" fmla="*/ 3078833 w 3079638"/>
                <a:gd name="connsiteY48" fmla="*/ 0 h 1954089"/>
                <a:gd name="connsiteX0" fmla="*/ 3079638 w 3079638"/>
                <a:gd name="connsiteY0" fmla="*/ 178579 h 1954089"/>
                <a:gd name="connsiteX1" fmla="*/ 2475892 w 3079638"/>
                <a:gd name="connsiteY1" fmla="*/ 448889 h 1954089"/>
                <a:gd name="connsiteX2" fmla="*/ 2369579 w 3079638"/>
                <a:gd name="connsiteY2" fmla="*/ 483525 h 1954089"/>
                <a:gd name="connsiteX3" fmla="*/ 2086077 w 3079638"/>
                <a:gd name="connsiteY3" fmla="*/ 685576 h 1954089"/>
                <a:gd name="connsiteX4" fmla="*/ 1404584 w 3079638"/>
                <a:gd name="connsiteY4" fmla="*/ 870307 h 1954089"/>
                <a:gd name="connsiteX5" fmla="*/ 1216295 w 3079638"/>
                <a:gd name="connsiteY5" fmla="*/ 1106164 h 1954089"/>
                <a:gd name="connsiteX6" fmla="*/ 1014769 w 3079638"/>
                <a:gd name="connsiteY6" fmla="*/ 1303273 h 1954089"/>
                <a:gd name="connsiteX7" fmla="*/ 938442 w 3079638"/>
                <a:gd name="connsiteY7" fmla="*/ 1280182 h 1954089"/>
                <a:gd name="connsiteX8" fmla="*/ 818499 w 3079638"/>
                <a:gd name="connsiteY8" fmla="*/ 1389864 h 1954089"/>
                <a:gd name="connsiteX9" fmla="*/ 676748 w 3079638"/>
                <a:gd name="connsiteY9" fmla="*/ 1418730 h 1954089"/>
                <a:gd name="connsiteX10" fmla="*/ 469573 w 3079638"/>
                <a:gd name="connsiteY10" fmla="*/ 1574596 h 1954089"/>
                <a:gd name="connsiteX11" fmla="*/ 295111 w 3079638"/>
                <a:gd name="connsiteY11" fmla="*/ 1753556 h 1954089"/>
                <a:gd name="connsiteX12" fmla="*/ 189590 w 3079638"/>
                <a:gd name="connsiteY12" fmla="*/ 1843475 h 1954089"/>
                <a:gd name="connsiteX13" fmla="*/ 73298 w 3079638"/>
                <a:gd name="connsiteY13" fmla="*/ 1928219 h 1954089"/>
                <a:gd name="connsiteX14" fmla="*/ 0 w 3079638"/>
                <a:gd name="connsiteY14" fmla="*/ 1954089 h 1954089"/>
                <a:gd name="connsiteX15" fmla="*/ 108848 w 3079638"/>
                <a:gd name="connsiteY15" fmla="*/ 1859185 h 1954089"/>
                <a:gd name="connsiteX16" fmla="*/ 205740 w 3079638"/>
                <a:gd name="connsiteY16" fmla="*/ 1847869 h 1954089"/>
                <a:gd name="connsiteX17" fmla="*/ 335280 w 3079638"/>
                <a:gd name="connsiteY17" fmla="*/ 1680229 h 1954089"/>
                <a:gd name="connsiteX18" fmla="*/ 419100 w 3079638"/>
                <a:gd name="connsiteY18" fmla="*/ 1619269 h 1954089"/>
                <a:gd name="connsiteX19" fmla="*/ 458256 w 3079638"/>
                <a:gd name="connsiteY19" fmla="*/ 1482109 h 1954089"/>
                <a:gd name="connsiteX20" fmla="*/ 541020 w 3079638"/>
                <a:gd name="connsiteY20" fmla="*/ 1358256 h 1954089"/>
                <a:gd name="connsiteX21" fmla="*/ 633516 w 3079638"/>
                <a:gd name="connsiteY21" fmla="*/ 1106833 h 1954089"/>
                <a:gd name="connsiteX22" fmla="*/ 704266 w 3079638"/>
                <a:gd name="connsiteY22" fmla="*/ 971570 h 1954089"/>
                <a:gd name="connsiteX23" fmla="*/ 834918 w 3079638"/>
                <a:gd name="connsiteY23" fmla="*/ 895369 h 1954089"/>
                <a:gd name="connsiteX24" fmla="*/ 890428 w 3079638"/>
                <a:gd name="connsiteY24" fmla="*/ 781069 h 1954089"/>
                <a:gd name="connsiteX25" fmla="*/ 953557 w 3079638"/>
                <a:gd name="connsiteY25" fmla="*/ 704844 h 1954089"/>
                <a:gd name="connsiteX26" fmla="*/ 1036320 w 3079638"/>
                <a:gd name="connsiteY26" fmla="*/ 704869 h 1954089"/>
                <a:gd name="connsiteX27" fmla="*/ 1082040 w 3079638"/>
                <a:gd name="connsiteY27" fmla="*/ 720109 h 1954089"/>
                <a:gd name="connsiteX28" fmla="*/ 1143000 w 3079638"/>
                <a:gd name="connsiteY28" fmla="*/ 643909 h 1954089"/>
                <a:gd name="connsiteX29" fmla="*/ 1188720 w 3079638"/>
                <a:gd name="connsiteY29" fmla="*/ 598189 h 1954089"/>
                <a:gd name="connsiteX30" fmla="*/ 1333500 w 3079638"/>
                <a:gd name="connsiteY30" fmla="*/ 613429 h 1954089"/>
                <a:gd name="connsiteX31" fmla="*/ 1455420 w 3079638"/>
                <a:gd name="connsiteY31" fmla="*/ 628669 h 1954089"/>
                <a:gd name="connsiteX32" fmla="*/ 1584960 w 3079638"/>
                <a:gd name="connsiteY32" fmla="*/ 674389 h 1954089"/>
                <a:gd name="connsiteX33" fmla="*/ 1653540 w 3079638"/>
                <a:gd name="connsiteY33" fmla="*/ 643909 h 1954089"/>
                <a:gd name="connsiteX34" fmla="*/ 1828800 w 3079638"/>
                <a:gd name="connsiteY34" fmla="*/ 641975 h 1954089"/>
                <a:gd name="connsiteX35" fmla="*/ 1881028 w 3079638"/>
                <a:gd name="connsiteY35" fmla="*/ 611496 h 1954089"/>
                <a:gd name="connsiteX36" fmla="*/ 1918015 w 3079638"/>
                <a:gd name="connsiteY36" fmla="*/ 529609 h 1954089"/>
                <a:gd name="connsiteX37" fmla="*/ 2041048 w 3079638"/>
                <a:gd name="connsiteY37" fmla="*/ 485783 h 1954089"/>
                <a:gd name="connsiteX38" fmla="*/ 2103824 w 3079638"/>
                <a:gd name="connsiteY38" fmla="*/ 415310 h 1954089"/>
                <a:gd name="connsiteX39" fmla="*/ 2247900 w 3079638"/>
                <a:gd name="connsiteY39" fmla="*/ 415309 h 1954089"/>
                <a:gd name="connsiteX40" fmla="*/ 2362200 w 3079638"/>
                <a:gd name="connsiteY40" fmla="*/ 422929 h 1954089"/>
                <a:gd name="connsiteX41" fmla="*/ 2473923 w 3079638"/>
                <a:gd name="connsiteY41" fmla="*/ 365734 h 1954089"/>
                <a:gd name="connsiteX42" fmla="*/ 2538164 w 3079638"/>
                <a:gd name="connsiteY42" fmla="*/ 312433 h 1954089"/>
                <a:gd name="connsiteX43" fmla="*/ 2651760 w 3079638"/>
                <a:gd name="connsiteY43" fmla="*/ 293389 h 1954089"/>
                <a:gd name="connsiteX44" fmla="*/ 2727960 w 3079638"/>
                <a:gd name="connsiteY44" fmla="*/ 220980 h 1954089"/>
                <a:gd name="connsiteX45" fmla="*/ 2842261 w 3079638"/>
                <a:gd name="connsiteY45" fmla="*/ 160020 h 1954089"/>
                <a:gd name="connsiteX46" fmla="*/ 2910841 w 3079638"/>
                <a:gd name="connsiteY46" fmla="*/ 102864 h 1954089"/>
                <a:gd name="connsiteX47" fmla="*/ 2960898 w 3079638"/>
                <a:gd name="connsiteY47" fmla="*/ 34309 h 1954089"/>
                <a:gd name="connsiteX48" fmla="*/ 3017520 w 3079638"/>
                <a:gd name="connsiteY48" fmla="*/ 11449 h 1954089"/>
                <a:gd name="connsiteX49" fmla="*/ 3078833 w 3079638"/>
                <a:gd name="connsiteY49" fmla="*/ 0 h 1954089"/>
                <a:gd name="connsiteX0" fmla="*/ 3079638 w 3079638"/>
                <a:gd name="connsiteY0" fmla="*/ 178579 h 1954089"/>
                <a:gd name="connsiteX1" fmla="*/ 2584931 w 3079638"/>
                <a:gd name="connsiteY1" fmla="*/ 339203 h 1954089"/>
                <a:gd name="connsiteX2" fmla="*/ 2475892 w 3079638"/>
                <a:gd name="connsiteY2" fmla="*/ 448889 h 1954089"/>
                <a:gd name="connsiteX3" fmla="*/ 2369579 w 3079638"/>
                <a:gd name="connsiteY3" fmla="*/ 483525 h 1954089"/>
                <a:gd name="connsiteX4" fmla="*/ 2086077 w 3079638"/>
                <a:gd name="connsiteY4" fmla="*/ 685576 h 1954089"/>
                <a:gd name="connsiteX5" fmla="*/ 1404584 w 3079638"/>
                <a:gd name="connsiteY5" fmla="*/ 870307 h 1954089"/>
                <a:gd name="connsiteX6" fmla="*/ 1216295 w 3079638"/>
                <a:gd name="connsiteY6" fmla="*/ 1106164 h 1954089"/>
                <a:gd name="connsiteX7" fmla="*/ 1014769 w 3079638"/>
                <a:gd name="connsiteY7" fmla="*/ 1303273 h 1954089"/>
                <a:gd name="connsiteX8" fmla="*/ 938442 w 3079638"/>
                <a:gd name="connsiteY8" fmla="*/ 1280182 h 1954089"/>
                <a:gd name="connsiteX9" fmla="*/ 818499 w 3079638"/>
                <a:gd name="connsiteY9" fmla="*/ 1389864 h 1954089"/>
                <a:gd name="connsiteX10" fmla="*/ 676748 w 3079638"/>
                <a:gd name="connsiteY10" fmla="*/ 1418730 h 1954089"/>
                <a:gd name="connsiteX11" fmla="*/ 469573 w 3079638"/>
                <a:gd name="connsiteY11" fmla="*/ 1574596 h 1954089"/>
                <a:gd name="connsiteX12" fmla="*/ 295111 w 3079638"/>
                <a:gd name="connsiteY12" fmla="*/ 1753556 h 1954089"/>
                <a:gd name="connsiteX13" fmla="*/ 189590 w 3079638"/>
                <a:gd name="connsiteY13" fmla="*/ 1843475 h 1954089"/>
                <a:gd name="connsiteX14" fmla="*/ 73298 w 3079638"/>
                <a:gd name="connsiteY14" fmla="*/ 1928219 h 1954089"/>
                <a:gd name="connsiteX15" fmla="*/ 0 w 3079638"/>
                <a:gd name="connsiteY15" fmla="*/ 1954089 h 1954089"/>
                <a:gd name="connsiteX16" fmla="*/ 108848 w 3079638"/>
                <a:gd name="connsiteY16" fmla="*/ 1859185 h 1954089"/>
                <a:gd name="connsiteX17" fmla="*/ 205740 w 3079638"/>
                <a:gd name="connsiteY17" fmla="*/ 1847869 h 1954089"/>
                <a:gd name="connsiteX18" fmla="*/ 335280 w 3079638"/>
                <a:gd name="connsiteY18" fmla="*/ 1680229 h 1954089"/>
                <a:gd name="connsiteX19" fmla="*/ 419100 w 3079638"/>
                <a:gd name="connsiteY19" fmla="*/ 1619269 h 1954089"/>
                <a:gd name="connsiteX20" fmla="*/ 458256 w 3079638"/>
                <a:gd name="connsiteY20" fmla="*/ 1482109 h 1954089"/>
                <a:gd name="connsiteX21" fmla="*/ 541020 w 3079638"/>
                <a:gd name="connsiteY21" fmla="*/ 1358256 h 1954089"/>
                <a:gd name="connsiteX22" fmla="*/ 633516 w 3079638"/>
                <a:gd name="connsiteY22" fmla="*/ 1106833 h 1954089"/>
                <a:gd name="connsiteX23" fmla="*/ 704266 w 3079638"/>
                <a:gd name="connsiteY23" fmla="*/ 971570 h 1954089"/>
                <a:gd name="connsiteX24" fmla="*/ 834918 w 3079638"/>
                <a:gd name="connsiteY24" fmla="*/ 895369 h 1954089"/>
                <a:gd name="connsiteX25" fmla="*/ 890428 w 3079638"/>
                <a:gd name="connsiteY25" fmla="*/ 781069 h 1954089"/>
                <a:gd name="connsiteX26" fmla="*/ 953557 w 3079638"/>
                <a:gd name="connsiteY26" fmla="*/ 704844 h 1954089"/>
                <a:gd name="connsiteX27" fmla="*/ 1036320 w 3079638"/>
                <a:gd name="connsiteY27" fmla="*/ 704869 h 1954089"/>
                <a:gd name="connsiteX28" fmla="*/ 1082040 w 3079638"/>
                <a:gd name="connsiteY28" fmla="*/ 720109 h 1954089"/>
                <a:gd name="connsiteX29" fmla="*/ 1143000 w 3079638"/>
                <a:gd name="connsiteY29" fmla="*/ 643909 h 1954089"/>
                <a:gd name="connsiteX30" fmla="*/ 1188720 w 3079638"/>
                <a:gd name="connsiteY30" fmla="*/ 598189 h 1954089"/>
                <a:gd name="connsiteX31" fmla="*/ 1333500 w 3079638"/>
                <a:gd name="connsiteY31" fmla="*/ 613429 h 1954089"/>
                <a:gd name="connsiteX32" fmla="*/ 1455420 w 3079638"/>
                <a:gd name="connsiteY32" fmla="*/ 628669 h 1954089"/>
                <a:gd name="connsiteX33" fmla="*/ 1584960 w 3079638"/>
                <a:gd name="connsiteY33" fmla="*/ 674389 h 1954089"/>
                <a:gd name="connsiteX34" fmla="*/ 1653540 w 3079638"/>
                <a:gd name="connsiteY34" fmla="*/ 643909 h 1954089"/>
                <a:gd name="connsiteX35" fmla="*/ 1828800 w 3079638"/>
                <a:gd name="connsiteY35" fmla="*/ 641975 h 1954089"/>
                <a:gd name="connsiteX36" fmla="*/ 1881028 w 3079638"/>
                <a:gd name="connsiteY36" fmla="*/ 611496 h 1954089"/>
                <a:gd name="connsiteX37" fmla="*/ 1918015 w 3079638"/>
                <a:gd name="connsiteY37" fmla="*/ 529609 h 1954089"/>
                <a:gd name="connsiteX38" fmla="*/ 2041048 w 3079638"/>
                <a:gd name="connsiteY38" fmla="*/ 485783 h 1954089"/>
                <a:gd name="connsiteX39" fmla="*/ 2103824 w 3079638"/>
                <a:gd name="connsiteY39" fmla="*/ 415310 h 1954089"/>
                <a:gd name="connsiteX40" fmla="*/ 2247900 w 3079638"/>
                <a:gd name="connsiteY40" fmla="*/ 415309 h 1954089"/>
                <a:gd name="connsiteX41" fmla="*/ 2362200 w 3079638"/>
                <a:gd name="connsiteY41" fmla="*/ 422929 h 1954089"/>
                <a:gd name="connsiteX42" fmla="*/ 2473923 w 3079638"/>
                <a:gd name="connsiteY42" fmla="*/ 365734 h 1954089"/>
                <a:gd name="connsiteX43" fmla="*/ 2538164 w 3079638"/>
                <a:gd name="connsiteY43" fmla="*/ 312433 h 1954089"/>
                <a:gd name="connsiteX44" fmla="*/ 2651760 w 3079638"/>
                <a:gd name="connsiteY44" fmla="*/ 293389 h 1954089"/>
                <a:gd name="connsiteX45" fmla="*/ 2727960 w 3079638"/>
                <a:gd name="connsiteY45" fmla="*/ 220980 h 1954089"/>
                <a:gd name="connsiteX46" fmla="*/ 2842261 w 3079638"/>
                <a:gd name="connsiteY46" fmla="*/ 160020 h 1954089"/>
                <a:gd name="connsiteX47" fmla="*/ 2910841 w 3079638"/>
                <a:gd name="connsiteY47" fmla="*/ 102864 h 1954089"/>
                <a:gd name="connsiteX48" fmla="*/ 2960898 w 3079638"/>
                <a:gd name="connsiteY48" fmla="*/ 34309 h 1954089"/>
                <a:gd name="connsiteX49" fmla="*/ 3017520 w 3079638"/>
                <a:gd name="connsiteY49" fmla="*/ 11449 h 1954089"/>
                <a:gd name="connsiteX50" fmla="*/ 3078833 w 3079638"/>
                <a:gd name="connsiteY50" fmla="*/ 0 h 1954089"/>
                <a:gd name="connsiteX0" fmla="*/ 3079638 w 3079638"/>
                <a:gd name="connsiteY0" fmla="*/ 178579 h 1954089"/>
                <a:gd name="connsiteX1" fmla="*/ 2775750 w 3079638"/>
                <a:gd name="connsiteY1" fmla="*/ 298793 h 1954089"/>
                <a:gd name="connsiteX2" fmla="*/ 2584931 w 3079638"/>
                <a:gd name="connsiteY2" fmla="*/ 339203 h 1954089"/>
                <a:gd name="connsiteX3" fmla="*/ 2475892 w 3079638"/>
                <a:gd name="connsiteY3" fmla="*/ 448889 h 1954089"/>
                <a:gd name="connsiteX4" fmla="*/ 2369579 w 3079638"/>
                <a:gd name="connsiteY4" fmla="*/ 483525 h 1954089"/>
                <a:gd name="connsiteX5" fmla="*/ 2086077 w 3079638"/>
                <a:gd name="connsiteY5" fmla="*/ 685576 h 1954089"/>
                <a:gd name="connsiteX6" fmla="*/ 1404584 w 3079638"/>
                <a:gd name="connsiteY6" fmla="*/ 870307 h 1954089"/>
                <a:gd name="connsiteX7" fmla="*/ 1216295 w 3079638"/>
                <a:gd name="connsiteY7" fmla="*/ 1106164 h 1954089"/>
                <a:gd name="connsiteX8" fmla="*/ 1014769 w 3079638"/>
                <a:gd name="connsiteY8" fmla="*/ 1303273 h 1954089"/>
                <a:gd name="connsiteX9" fmla="*/ 938442 w 3079638"/>
                <a:gd name="connsiteY9" fmla="*/ 1280182 h 1954089"/>
                <a:gd name="connsiteX10" fmla="*/ 818499 w 3079638"/>
                <a:gd name="connsiteY10" fmla="*/ 1389864 h 1954089"/>
                <a:gd name="connsiteX11" fmla="*/ 676748 w 3079638"/>
                <a:gd name="connsiteY11" fmla="*/ 1418730 h 1954089"/>
                <a:gd name="connsiteX12" fmla="*/ 469573 w 3079638"/>
                <a:gd name="connsiteY12" fmla="*/ 1574596 h 1954089"/>
                <a:gd name="connsiteX13" fmla="*/ 295111 w 3079638"/>
                <a:gd name="connsiteY13" fmla="*/ 1753556 h 1954089"/>
                <a:gd name="connsiteX14" fmla="*/ 189590 w 3079638"/>
                <a:gd name="connsiteY14" fmla="*/ 1843475 h 1954089"/>
                <a:gd name="connsiteX15" fmla="*/ 73298 w 3079638"/>
                <a:gd name="connsiteY15" fmla="*/ 1928219 h 1954089"/>
                <a:gd name="connsiteX16" fmla="*/ 0 w 3079638"/>
                <a:gd name="connsiteY16" fmla="*/ 1954089 h 1954089"/>
                <a:gd name="connsiteX17" fmla="*/ 108848 w 3079638"/>
                <a:gd name="connsiteY17" fmla="*/ 1859185 h 1954089"/>
                <a:gd name="connsiteX18" fmla="*/ 205740 w 3079638"/>
                <a:gd name="connsiteY18" fmla="*/ 1847869 h 1954089"/>
                <a:gd name="connsiteX19" fmla="*/ 335280 w 3079638"/>
                <a:gd name="connsiteY19" fmla="*/ 1680229 h 1954089"/>
                <a:gd name="connsiteX20" fmla="*/ 419100 w 3079638"/>
                <a:gd name="connsiteY20" fmla="*/ 1619269 h 1954089"/>
                <a:gd name="connsiteX21" fmla="*/ 458256 w 3079638"/>
                <a:gd name="connsiteY21" fmla="*/ 1482109 h 1954089"/>
                <a:gd name="connsiteX22" fmla="*/ 541020 w 3079638"/>
                <a:gd name="connsiteY22" fmla="*/ 1358256 h 1954089"/>
                <a:gd name="connsiteX23" fmla="*/ 633516 w 3079638"/>
                <a:gd name="connsiteY23" fmla="*/ 1106833 h 1954089"/>
                <a:gd name="connsiteX24" fmla="*/ 704266 w 3079638"/>
                <a:gd name="connsiteY24" fmla="*/ 971570 h 1954089"/>
                <a:gd name="connsiteX25" fmla="*/ 834918 w 3079638"/>
                <a:gd name="connsiteY25" fmla="*/ 895369 h 1954089"/>
                <a:gd name="connsiteX26" fmla="*/ 890428 w 3079638"/>
                <a:gd name="connsiteY26" fmla="*/ 781069 h 1954089"/>
                <a:gd name="connsiteX27" fmla="*/ 953557 w 3079638"/>
                <a:gd name="connsiteY27" fmla="*/ 704844 h 1954089"/>
                <a:gd name="connsiteX28" fmla="*/ 1036320 w 3079638"/>
                <a:gd name="connsiteY28" fmla="*/ 704869 h 1954089"/>
                <a:gd name="connsiteX29" fmla="*/ 1082040 w 3079638"/>
                <a:gd name="connsiteY29" fmla="*/ 720109 h 1954089"/>
                <a:gd name="connsiteX30" fmla="*/ 1143000 w 3079638"/>
                <a:gd name="connsiteY30" fmla="*/ 643909 h 1954089"/>
                <a:gd name="connsiteX31" fmla="*/ 1188720 w 3079638"/>
                <a:gd name="connsiteY31" fmla="*/ 598189 h 1954089"/>
                <a:gd name="connsiteX32" fmla="*/ 1333500 w 3079638"/>
                <a:gd name="connsiteY32" fmla="*/ 613429 h 1954089"/>
                <a:gd name="connsiteX33" fmla="*/ 1455420 w 3079638"/>
                <a:gd name="connsiteY33" fmla="*/ 628669 h 1954089"/>
                <a:gd name="connsiteX34" fmla="*/ 1584960 w 3079638"/>
                <a:gd name="connsiteY34" fmla="*/ 674389 h 1954089"/>
                <a:gd name="connsiteX35" fmla="*/ 1653540 w 3079638"/>
                <a:gd name="connsiteY35" fmla="*/ 643909 h 1954089"/>
                <a:gd name="connsiteX36" fmla="*/ 1828800 w 3079638"/>
                <a:gd name="connsiteY36" fmla="*/ 641975 h 1954089"/>
                <a:gd name="connsiteX37" fmla="*/ 1881028 w 3079638"/>
                <a:gd name="connsiteY37" fmla="*/ 611496 h 1954089"/>
                <a:gd name="connsiteX38" fmla="*/ 1918015 w 3079638"/>
                <a:gd name="connsiteY38" fmla="*/ 529609 h 1954089"/>
                <a:gd name="connsiteX39" fmla="*/ 2041048 w 3079638"/>
                <a:gd name="connsiteY39" fmla="*/ 485783 h 1954089"/>
                <a:gd name="connsiteX40" fmla="*/ 2103824 w 3079638"/>
                <a:gd name="connsiteY40" fmla="*/ 415310 h 1954089"/>
                <a:gd name="connsiteX41" fmla="*/ 2247900 w 3079638"/>
                <a:gd name="connsiteY41" fmla="*/ 415309 h 1954089"/>
                <a:gd name="connsiteX42" fmla="*/ 2362200 w 3079638"/>
                <a:gd name="connsiteY42" fmla="*/ 422929 h 1954089"/>
                <a:gd name="connsiteX43" fmla="*/ 2473923 w 3079638"/>
                <a:gd name="connsiteY43" fmla="*/ 365734 h 1954089"/>
                <a:gd name="connsiteX44" fmla="*/ 2538164 w 3079638"/>
                <a:gd name="connsiteY44" fmla="*/ 312433 h 1954089"/>
                <a:gd name="connsiteX45" fmla="*/ 2651760 w 3079638"/>
                <a:gd name="connsiteY45" fmla="*/ 293389 h 1954089"/>
                <a:gd name="connsiteX46" fmla="*/ 2727960 w 3079638"/>
                <a:gd name="connsiteY46" fmla="*/ 220980 h 1954089"/>
                <a:gd name="connsiteX47" fmla="*/ 2842261 w 3079638"/>
                <a:gd name="connsiteY47" fmla="*/ 160020 h 1954089"/>
                <a:gd name="connsiteX48" fmla="*/ 2910841 w 3079638"/>
                <a:gd name="connsiteY48" fmla="*/ 102864 h 1954089"/>
                <a:gd name="connsiteX49" fmla="*/ 2960898 w 3079638"/>
                <a:gd name="connsiteY49" fmla="*/ 34309 h 1954089"/>
                <a:gd name="connsiteX50" fmla="*/ 3017520 w 3079638"/>
                <a:gd name="connsiteY50" fmla="*/ 11449 h 1954089"/>
                <a:gd name="connsiteX51" fmla="*/ 3078833 w 3079638"/>
                <a:gd name="connsiteY51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086077 w 3079638"/>
                <a:gd name="connsiteY6" fmla="*/ 685576 h 1954089"/>
                <a:gd name="connsiteX7" fmla="*/ 1404584 w 3079638"/>
                <a:gd name="connsiteY7" fmla="*/ 870307 h 1954089"/>
                <a:gd name="connsiteX8" fmla="*/ 1216295 w 3079638"/>
                <a:gd name="connsiteY8" fmla="*/ 1106164 h 1954089"/>
                <a:gd name="connsiteX9" fmla="*/ 1014769 w 3079638"/>
                <a:gd name="connsiteY9" fmla="*/ 1303273 h 1954089"/>
                <a:gd name="connsiteX10" fmla="*/ 938442 w 3079638"/>
                <a:gd name="connsiteY10" fmla="*/ 1280182 h 1954089"/>
                <a:gd name="connsiteX11" fmla="*/ 818499 w 3079638"/>
                <a:gd name="connsiteY11" fmla="*/ 1389864 h 1954089"/>
                <a:gd name="connsiteX12" fmla="*/ 676748 w 3079638"/>
                <a:gd name="connsiteY12" fmla="*/ 1418730 h 1954089"/>
                <a:gd name="connsiteX13" fmla="*/ 469573 w 3079638"/>
                <a:gd name="connsiteY13" fmla="*/ 1574596 h 1954089"/>
                <a:gd name="connsiteX14" fmla="*/ 295111 w 3079638"/>
                <a:gd name="connsiteY14" fmla="*/ 1753556 h 1954089"/>
                <a:gd name="connsiteX15" fmla="*/ 189590 w 3079638"/>
                <a:gd name="connsiteY15" fmla="*/ 1843475 h 1954089"/>
                <a:gd name="connsiteX16" fmla="*/ 73298 w 3079638"/>
                <a:gd name="connsiteY16" fmla="*/ 1928219 h 1954089"/>
                <a:gd name="connsiteX17" fmla="*/ 0 w 3079638"/>
                <a:gd name="connsiteY17" fmla="*/ 1954089 h 1954089"/>
                <a:gd name="connsiteX18" fmla="*/ 108848 w 3079638"/>
                <a:gd name="connsiteY18" fmla="*/ 1859185 h 1954089"/>
                <a:gd name="connsiteX19" fmla="*/ 205740 w 3079638"/>
                <a:gd name="connsiteY19" fmla="*/ 1847869 h 1954089"/>
                <a:gd name="connsiteX20" fmla="*/ 335280 w 3079638"/>
                <a:gd name="connsiteY20" fmla="*/ 1680229 h 1954089"/>
                <a:gd name="connsiteX21" fmla="*/ 419100 w 3079638"/>
                <a:gd name="connsiteY21" fmla="*/ 1619269 h 1954089"/>
                <a:gd name="connsiteX22" fmla="*/ 458256 w 3079638"/>
                <a:gd name="connsiteY22" fmla="*/ 1482109 h 1954089"/>
                <a:gd name="connsiteX23" fmla="*/ 541020 w 3079638"/>
                <a:gd name="connsiteY23" fmla="*/ 1358256 h 1954089"/>
                <a:gd name="connsiteX24" fmla="*/ 633516 w 3079638"/>
                <a:gd name="connsiteY24" fmla="*/ 1106833 h 1954089"/>
                <a:gd name="connsiteX25" fmla="*/ 704266 w 3079638"/>
                <a:gd name="connsiteY25" fmla="*/ 971570 h 1954089"/>
                <a:gd name="connsiteX26" fmla="*/ 834918 w 3079638"/>
                <a:gd name="connsiteY26" fmla="*/ 895369 h 1954089"/>
                <a:gd name="connsiteX27" fmla="*/ 890428 w 3079638"/>
                <a:gd name="connsiteY27" fmla="*/ 781069 h 1954089"/>
                <a:gd name="connsiteX28" fmla="*/ 953557 w 3079638"/>
                <a:gd name="connsiteY28" fmla="*/ 704844 h 1954089"/>
                <a:gd name="connsiteX29" fmla="*/ 1036320 w 3079638"/>
                <a:gd name="connsiteY29" fmla="*/ 704869 h 1954089"/>
                <a:gd name="connsiteX30" fmla="*/ 1082040 w 3079638"/>
                <a:gd name="connsiteY30" fmla="*/ 720109 h 1954089"/>
                <a:gd name="connsiteX31" fmla="*/ 1143000 w 3079638"/>
                <a:gd name="connsiteY31" fmla="*/ 643909 h 1954089"/>
                <a:gd name="connsiteX32" fmla="*/ 1188720 w 3079638"/>
                <a:gd name="connsiteY32" fmla="*/ 598189 h 1954089"/>
                <a:gd name="connsiteX33" fmla="*/ 1333500 w 3079638"/>
                <a:gd name="connsiteY33" fmla="*/ 613429 h 1954089"/>
                <a:gd name="connsiteX34" fmla="*/ 1455420 w 3079638"/>
                <a:gd name="connsiteY34" fmla="*/ 628669 h 1954089"/>
                <a:gd name="connsiteX35" fmla="*/ 1584960 w 3079638"/>
                <a:gd name="connsiteY35" fmla="*/ 674389 h 1954089"/>
                <a:gd name="connsiteX36" fmla="*/ 1653540 w 3079638"/>
                <a:gd name="connsiteY36" fmla="*/ 643909 h 1954089"/>
                <a:gd name="connsiteX37" fmla="*/ 1828800 w 3079638"/>
                <a:gd name="connsiteY37" fmla="*/ 641975 h 1954089"/>
                <a:gd name="connsiteX38" fmla="*/ 1881028 w 3079638"/>
                <a:gd name="connsiteY38" fmla="*/ 611496 h 1954089"/>
                <a:gd name="connsiteX39" fmla="*/ 1918015 w 3079638"/>
                <a:gd name="connsiteY39" fmla="*/ 529609 h 1954089"/>
                <a:gd name="connsiteX40" fmla="*/ 2041048 w 3079638"/>
                <a:gd name="connsiteY40" fmla="*/ 485783 h 1954089"/>
                <a:gd name="connsiteX41" fmla="*/ 2103824 w 3079638"/>
                <a:gd name="connsiteY41" fmla="*/ 415310 h 1954089"/>
                <a:gd name="connsiteX42" fmla="*/ 2247900 w 3079638"/>
                <a:gd name="connsiteY42" fmla="*/ 415309 h 1954089"/>
                <a:gd name="connsiteX43" fmla="*/ 2362200 w 3079638"/>
                <a:gd name="connsiteY43" fmla="*/ 422929 h 1954089"/>
                <a:gd name="connsiteX44" fmla="*/ 2473923 w 3079638"/>
                <a:gd name="connsiteY44" fmla="*/ 365734 h 1954089"/>
                <a:gd name="connsiteX45" fmla="*/ 2538164 w 3079638"/>
                <a:gd name="connsiteY45" fmla="*/ 312433 h 1954089"/>
                <a:gd name="connsiteX46" fmla="*/ 2651760 w 3079638"/>
                <a:gd name="connsiteY46" fmla="*/ 293389 h 1954089"/>
                <a:gd name="connsiteX47" fmla="*/ 2727960 w 3079638"/>
                <a:gd name="connsiteY47" fmla="*/ 220980 h 1954089"/>
                <a:gd name="connsiteX48" fmla="*/ 2842261 w 3079638"/>
                <a:gd name="connsiteY48" fmla="*/ 160020 h 1954089"/>
                <a:gd name="connsiteX49" fmla="*/ 2910841 w 3079638"/>
                <a:gd name="connsiteY49" fmla="*/ 102864 h 1954089"/>
                <a:gd name="connsiteX50" fmla="*/ 2960898 w 3079638"/>
                <a:gd name="connsiteY50" fmla="*/ 34309 h 1954089"/>
                <a:gd name="connsiteX51" fmla="*/ 3017520 w 3079638"/>
                <a:gd name="connsiteY51" fmla="*/ 11449 h 1954089"/>
                <a:gd name="connsiteX52" fmla="*/ 3078833 w 3079638"/>
                <a:gd name="connsiteY52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404584 w 3079638"/>
                <a:gd name="connsiteY8" fmla="*/ 870307 h 1954089"/>
                <a:gd name="connsiteX9" fmla="*/ 1216295 w 3079638"/>
                <a:gd name="connsiteY9" fmla="*/ 1106164 h 1954089"/>
                <a:gd name="connsiteX10" fmla="*/ 1014769 w 3079638"/>
                <a:gd name="connsiteY10" fmla="*/ 1303273 h 1954089"/>
                <a:gd name="connsiteX11" fmla="*/ 938442 w 3079638"/>
                <a:gd name="connsiteY11" fmla="*/ 1280182 h 1954089"/>
                <a:gd name="connsiteX12" fmla="*/ 818499 w 3079638"/>
                <a:gd name="connsiteY12" fmla="*/ 1389864 h 1954089"/>
                <a:gd name="connsiteX13" fmla="*/ 676748 w 3079638"/>
                <a:gd name="connsiteY13" fmla="*/ 1418730 h 1954089"/>
                <a:gd name="connsiteX14" fmla="*/ 469573 w 3079638"/>
                <a:gd name="connsiteY14" fmla="*/ 1574596 h 1954089"/>
                <a:gd name="connsiteX15" fmla="*/ 295111 w 3079638"/>
                <a:gd name="connsiteY15" fmla="*/ 1753556 h 1954089"/>
                <a:gd name="connsiteX16" fmla="*/ 189590 w 3079638"/>
                <a:gd name="connsiteY16" fmla="*/ 1843475 h 1954089"/>
                <a:gd name="connsiteX17" fmla="*/ 73298 w 3079638"/>
                <a:gd name="connsiteY17" fmla="*/ 1928219 h 1954089"/>
                <a:gd name="connsiteX18" fmla="*/ 0 w 3079638"/>
                <a:gd name="connsiteY18" fmla="*/ 1954089 h 1954089"/>
                <a:gd name="connsiteX19" fmla="*/ 108848 w 3079638"/>
                <a:gd name="connsiteY19" fmla="*/ 1859185 h 1954089"/>
                <a:gd name="connsiteX20" fmla="*/ 205740 w 3079638"/>
                <a:gd name="connsiteY20" fmla="*/ 1847869 h 1954089"/>
                <a:gd name="connsiteX21" fmla="*/ 335280 w 3079638"/>
                <a:gd name="connsiteY21" fmla="*/ 1680229 h 1954089"/>
                <a:gd name="connsiteX22" fmla="*/ 419100 w 3079638"/>
                <a:gd name="connsiteY22" fmla="*/ 1619269 h 1954089"/>
                <a:gd name="connsiteX23" fmla="*/ 458256 w 3079638"/>
                <a:gd name="connsiteY23" fmla="*/ 1482109 h 1954089"/>
                <a:gd name="connsiteX24" fmla="*/ 541020 w 3079638"/>
                <a:gd name="connsiteY24" fmla="*/ 1358256 h 1954089"/>
                <a:gd name="connsiteX25" fmla="*/ 633516 w 3079638"/>
                <a:gd name="connsiteY25" fmla="*/ 1106833 h 1954089"/>
                <a:gd name="connsiteX26" fmla="*/ 704266 w 3079638"/>
                <a:gd name="connsiteY26" fmla="*/ 971570 h 1954089"/>
                <a:gd name="connsiteX27" fmla="*/ 834918 w 3079638"/>
                <a:gd name="connsiteY27" fmla="*/ 895369 h 1954089"/>
                <a:gd name="connsiteX28" fmla="*/ 890428 w 3079638"/>
                <a:gd name="connsiteY28" fmla="*/ 781069 h 1954089"/>
                <a:gd name="connsiteX29" fmla="*/ 953557 w 3079638"/>
                <a:gd name="connsiteY29" fmla="*/ 704844 h 1954089"/>
                <a:gd name="connsiteX30" fmla="*/ 1036320 w 3079638"/>
                <a:gd name="connsiteY30" fmla="*/ 704869 h 1954089"/>
                <a:gd name="connsiteX31" fmla="*/ 1082040 w 3079638"/>
                <a:gd name="connsiteY31" fmla="*/ 720109 h 1954089"/>
                <a:gd name="connsiteX32" fmla="*/ 1143000 w 3079638"/>
                <a:gd name="connsiteY32" fmla="*/ 643909 h 1954089"/>
                <a:gd name="connsiteX33" fmla="*/ 1188720 w 3079638"/>
                <a:gd name="connsiteY33" fmla="*/ 598189 h 1954089"/>
                <a:gd name="connsiteX34" fmla="*/ 1333500 w 3079638"/>
                <a:gd name="connsiteY34" fmla="*/ 613429 h 1954089"/>
                <a:gd name="connsiteX35" fmla="*/ 1455420 w 3079638"/>
                <a:gd name="connsiteY35" fmla="*/ 628669 h 1954089"/>
                <a:gd name="connsiteX36" fmla="*/ 1584960 w 3079638"/>
                <a:gd name="connsiteY36" fmla="*/ 674389 h 1954089"/>
                <a:gd name="connsiteX37" fmla="*/ 1653540 w 3079638"/>
                <a:gd name="connsiteY37" fmla="*/ 643909 h 1954089"/>
                <a:gd name="connsiteX38" fmla="*/ 1828800 w 3079638"/>
                <a:gd name="connsiteY38" fmla="*/ 641975 h 1954089"/>
                <a:gd name="connsiteX39" fmla="*/ 1881028 w 3079638"/>
                <a:gd name="connsiteY39" fmla="*/ 611496 h 1954089"/>
                <a:gd name="connsiteX40" fmla="*/ 1918015 w 3079638"/>
                <a:gd name="connsiteY40" fmla="*/ 529609 h 1954089"/>
                <a:gd name="connsiteX41" fmla="*/ 2041048 w 3079638"/>
                <a:gd name="connsiteY41" fmla="*/ 485783 h 1954089"/>
                <a:gd name="connsiteX42" fmla="*/ 2103824 w 3079638"/>
                <a:gd name="connsiteY42" fmla="*/ 415310 h 1954089"/>
                <a:gd name="connsiteX43" fmla="*/ 2247900 w 3079638"/>
                <a:gd name="connsiteY43" fmla="*/ 415309 h 1954089"/>
                <a:gd name="connsiteX44" fmla="*/ 2362200 w 3079638"/>
                <a:gd name="connsiteY44" fmla="*/ 422929 h 1954089"/>
                <a:gd name="connsiteX45" fmla="*/ 2473923 w 3079638"/>
                <a:gd name="connsiteY45" fmla="*/ 365734 h 1954089"/>
                <a:gd name="connsiteX46" fmla="*/ 2538164 w 3079638"/>
                <a:gd name="connsiteY46" fmla="*/ 312433 h 1954089"/>
                <a:gd name="connsiteX47" fmla="*/ 2651760 w 3079638"/>
                <a:gd name="connsiteY47" fmla="*/ 293389 h 1954089"/>
                <a:gd name="connsiteX48" fmla="*/ 2727960 w 3079638"/>
                <a:gd name="connsiteY48" fmla="*/ 220980 h 1954089"/>
                <a:gd name="connsiteX49" fmla="*/ 2842261 w 3079638"/>
                <a:gd name="connsiteY49" fmla="*/ 160020 h 1954089"/>
                <a:gd name="connsiteX50" fmla="*/ 2910841 w 3079638"/>
                <a:gd name="connsiteY50" fmla="*/ 102864 h 1954089"/>
                <a:gd name="connsiteX51" fmla="*/ 2960898 w 3079638"/>
                <a:gd name="connsiteY51" fmla="*/ 34309 h 1954089"/>
                <a:gd name="connsiteX52" fmla="*/ 3017520 w 3079638"/>
                <a:gd name="connsiteY52" fmla="*/ 11449 h 1954089"/>
                <a:gd name="connsiteX53" fmla="*/ 3078833 w 3079638"/>
                <a:gd name="connsiteY53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857095 w 3079638"/>
                <a:gd name="connsiteY8" fmla="*/ 749078 h 1954089"/>
                <a:gd name="connsiteX9" fmla="*/ 1404584 w 3079638"/>
                <a:gd name="connsiteY9" fmla="*/ 870307 h 1954089"/>
                <a:gd name="connsiteX10" fmla="*/ 1216295 w 3079638"/>
                <a:gd name="connsiteY10" fmla="*/ 1106164 h 1954089"/>
                <a:gd name="connsiteX11" fmla="*/ 1014769 w 3079638"/>
                <a:gd name="connsiteY11" fmla="*/ 1303273 h 1954089"/>
                <a:gd name="connsiteX12" fmla="*/ 938442 w 3079638"/>
                <a:gd name="connsiteY12" fmla="*/ 1280182 h 1954089"/>
                <a:gd name="connsiteX13" fmla="*/ 818499 w 3079638"/>
                <a:gd name="connsiteY13" fmla="*/ 1389864 h 1954089"/>
                <a:gd name="connsiteX14" fmla="*/ 676748 w 3079638"/>
                <a:gd name="connsiteY14" fmla="*/ 1418730 h 1954089"/>
                <a:gd name="connsiteX15" fmla="*/ 469573 w 3079638"/>
                <a:gd name="connsiteY15" fmla="*/ 1574596 h 1954089"/>
                <a:gd name="connsiteX16" fmla="*/ 295111 w 3079638"/>
                <a:gd name="connsiteY16" fmla="*/ 1753556 h 1954089"/>
                <a:gd name="connsiteX17" fmla="*/ 189590 w 3079638"/>
                <a:gd name="connsiteY17" fmla="*/ 1843475 h 1954089"/>
                <a:gd name="connsiteX18" fmla="*/ 73298 w 3079638"/>
                <a:gd name="connsiteY18" fmla="*/ 1928219 h 1954089"/>
                <a:gd name="connsiteX19" fmla="*/ 0 w 3079638"/>
                <a:gd name="connsiteY19" fmla="*/ 1954089 h 1954089"/>
                <a:gd name="connsiteX20" fmla="*/ 108848 w 3079638"/>
                <a:gd name="connsiteY20" fmla="*/ 1859185 h 1954089"/>
                <a:gd name="connsiteX21" fmla="*/ 205740 w 3079638"/>
                <a:gd name="connsiteY21" fmla="*/ 1847869 h 1954089"/>
                <a:gd name="connsiteX22" fmla="*/ 335280 w 3079638"/>
                <a:gd name="connsiteY22" fmla="*/ 1680229 h 1954089"/>
                <a:gd name="connsiteX23" fmla="*/ 419100 w 3079638"/>
                <a:gd name="connsiteY23" fmla="*/ 1619269 h 1954089"/>
                <a:gd name="connsiteX24" fmla="*/ 458256 w 3079638"/>
                <a:gd name="connsiteY24" fmla="*/ 1482109 h 1954089"/>
                <a:gd name="connsiteX25" fmla="*/ 541020 w 3079638"/>
                <a:gd name="connsiteY25" fmla="*/ 1358256 h 1954089"/>
                <a:gd name="connsiteX26" fmla="*/ 633516 w 3079638"/>
                <a:gd name="connsiteY26" fmla="*/ 1106833 h 1954089"/>
                <a:gd name="connsiteX27" fmla="*/ 704266 w 3079638"/>
                <a:gd name="connsiteY27" fmla="*/ 971570 h 1954089"/>
                <a:gd name="connsiteX28" fmla="*/ 834918 w 3079638"/>
                <a:gd name="connsiteY28" fmla="*/ 895369 h 1954089"/>
                <a:gd name="connsiteX29" fmla="*/ 890428 w 3079638"/>
                <a:gd name="connsiteY29" fmla="*/ 781069 h 1954089"/>
                <a:gd name="connsiteX30" fmla="*/ 953557 w 3079638"/>
                <a:gd name="connsiteY30" fmla="*/ 704844 h 1954089"/>
                <a:gd name="connsiteX31" fmla="*/ 1036320 w 3079638"/>
                <a:gd name="connsiteY31" fmla="*/ 704869 h 1954089"/>
                <a:gd name="connsiteX32" fmla="*/ 1082040 w 3079638"/>
                <a:gd name="connsiteY32" fmla="*/ 720109 h 1954089"/>
                <a:gd name="connsiteX33" fmla="*/ 1143000 w 3079638"/>
                <a:gd name="connsiteY33" fmla="*/ 643909 h 1954089"/>
                <a:gd name="connsiteX34" fmla="*/ 1188720 w 3079638"/>
                <a:gd name="connsiteY34" fmla="*/ 598189 h 1954089"/>
                <a:gd name="connsiteX35" fmla="*/ 1333500 w 3079638"/>
                <a:gd name="connsiteY35" fmla="*/ 613429 h 1954089"/>
                <a:gd name="connsiteX36" fmla="*/ 1455420 w 3079638"/>
                <a:gd name="connsiteY36" fmla="*/ 628669 h 1954089"/>
                <a:gd name="connsiteX37" fmla="*/ 1584960 w 3079638"/>
                <a:gd name="connsiteY37" fmla="*/ 674389 h 1954089"/>
                <a:gd name="connsiteX38" fmla="*/ 1653540 w 3079638"/>
                <a:gd name="connsiteY38" fmla="*/ 643909 h 1954089"/>
                <a:gd name="connsiteX39" fmla="*/ 1828800 w 3079638"/>
                <a:gd name="connsiteY39" fmla="*/ 641975 h 1954089"/>
                <a:gd name="connsiteX40" fmla="*/ 1881028 w 3079638"/>
                <a:gd name="connsiteY40" fmla="*/ 611496 h 1954089"/>
                <a:gd name="connsiteX41" fmla="*/ 1918015 w 3079638"/>
                <a:gd name="connsiteY41" fmla="*/ 529609 h 1954089"/>
                <a:gd name="connsiteX42" fmla="*/ 2041048 w 3079638"/>
                <a:gd name="connsiteY42" fmla="*/ 485783 h 1954089"/>
                <a:gd name="connsiteX43" fmla="*/ 2103824 w 3079638"/>
                <a:gd name="connsiteY43" fmla="*/ 415310 h 1954089"/>
                <a:gd name="connsiteX44" fmla="*/ 2247900 w 3079638"/>
                <a:gd name="connsiteY44" fmla="*/ 415309 h 1954089"/>
                <a:gd name="connsiteX45" fmla="*/ 2362200 w 3079638"/>
                <a:gd name="connsiteY45" fmla="*/ 422929 h 1954089"/>
                <a:gd name="connsiteX46" fmla="*/ 2473923 w 3079638"/>
                <a:gd name="connsiteY46" fmla="*/ 365734 h 1954089"/>
                <a:gd name="connsiteX47" fmla="*/ 2538164 w 3079638"/>
                <a:gd name="connsiteY47" fmla="*/ 312433 h 1954089"/>
                <a:gd name="connsiteX48" fmla="*/ 2651760 w 3079638"/>
                <a:gd name="connsiteY48" fmla="*/ 293389 h 1954089"/>
                <a:gd name="connsiteX49" fmla="*/ 2727960 w 3079638"/>
                <a:gd name="connsiteY49" fmla="*/ 220980 h 1954089"/>
                <a:gd name="connsiteX50" fmla="*/ 2842261 w 3079638"/>
                <a:gd name="connsiteY50" fmla="*/ 160020 h 1954089"/>
                <a:gd name="connsiteX51" fmla="*/ 2910841 w 3079638"/>
                <a:gd name="connsiteY51" fmla="*/ 102864 h 1954089"/>
                <a:gd name="connsiteX52" fmla="*/ 2960898 w 3079638"/>
                <a:gd name="connsiteY52" fmla="*/ 34309 h 1954089"/>
                <a:gd name="connsiteX53" fmla="*/ 3017520 w 3079638"/>
                <a:gd name="connsiteY53" fmla="*/ 11449 h 1954089"/>
                <a:gd name="connsiteX54" fmla="*/ 3078833 w 3079638"/>
                <a:gd name="connsiteY54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857095 w 3079638"/>
                <a:gd name="connsiteY8" fmla="*/ 749078 h 1954089"/>
                <a:gd name="connsiteX9" fmla="*/ 1685359 w 3079638"/>
                <a:gd name="connsiteY9" fmla="*/ 725986 h 1954089"/>
                <a:gd name="connsiteX10" fmla="*/ 1404584 w 3079638"/>
                <a:gd name="connsiteY10" fmla="*/ 870307 h 1954089"/>
                <a:gd name="connsiteX11" fmla="*/ 1216295 w 3079638"/>
                <a:gd name="connsiteY11" fmla="*/ 1106164 h 1954089"/>
                <a:gd name="connsiteX12" fmla="*/ 1014769 w 3079638"/>
                <a:gd name="connsiteY12" fmla="*/ 1303273 h 1954089"/>
                <a:gd name="connsiteX13" fmla="*/ 938442 w 3079638"/>
                <a:gd name="connsiteY13" fmla="*/ 1280182 h 1954089"/>
                <a:gd name="connsiteX14" fmla="*/ 818499 w 3079638"/>
                <a:gd name="connsiteY14" fmla="*/ 1389864 h 1954089"/>
                <a:gd name="connsiteX15" fmla="*/ 676748 w 3079638"/>
                <a:gd name="connsiteY15" fmla="*/ 1418730 h 1954089"/>
                <a:gd name="connsiteX16" fmla="*/ 469573 w 3079638"/>
                <a:gd name="connsiteY16" fmla="*/ 1574596 h 1954089"/>
                <a:gd name="connsiteX17" fmla="*/ 295111 w 3079638"/>
                <a:gd name="connsiteY17" fmla="*/ 1753556 h 1954089"/>
                <a:gd name="connsiteX18" fmla="*/ 189590 w 3079638"/>
                <a:gd name="connsiteY18" fmla="*/ 1843475 h 1954089"/>
                <a:gd name="connsiteX19" fmla="*/ 73298 w 3079638"/>
                <a:gd name="connsiteY19" fmla="*/ 1928219 h 1954089"/>
                <a:gd name="connsiteX20" fmla="*/ 0 w 3079638"/>
                <a:gd name="connsiteY20" fmla="*/ 1954089 h 1954089"/>
                <a:gd name="connsiteX21" fmla="*/ 108848 w 3079638"/>
                <a:gd name="connsiteY21" fmla="*/ 1859185 h 1954089"/>
                <a:gd name="connsiteX22" fmla="*/ 205740 w 3079638"/>
                <a:gd name="connsiteY22" fmla="*/ 1847869 h 1954089"/>
                <a:gd name="connsiteX23" fmla="*/ 335280 w 3079638"/>
                <a:gd name="connsiteY23" fmla="*/ 1680229 h 1954089"/>
                <a:gd name="connsiteX24" fmla="*/ 419100 w 3079638"/>
                <a:gd name="connsiteY24" fmla="*/ 1619269 h 1954089"/>
                <a:gd name="connsiteX25" fmla="*/ 458256 w 3079638"/>
                <a:gd name="connsiteY25" fmla="*/ 1482109 h 1954089"/>
                <a:gd name="connsiteX26" fmla="*/ 541020 w 3079638"/>
                <a:gd name="connsiteY26" fmla="*/ 1358256 h 1954089"/>
                <a:gd name="connsiteX27" fmla="*/ 633516 w 3079638"/>
                <a:gd name="connsiteY27" fmla="*/ 1106833 h 1954089"/>
                <a:gd name="connsiteX28" fmla="*/ 704266 w 3079638"/>
                <a:gd name="connsiteY28" fmla="*/ 971570 h 1954089"/>
                <a:gd name="connsiteX29" fmla="*/ 834918 w 3079638"/>
                <a:gd name="connsiteY29" fmla="*/ 895369 h 1954089"/>
                <a:gd name="connsiteX30" fmla="*/ 890428 w 3079638"/>
                <a:gd name="connsiteY30" fmla="*/ 781069 h 1954089"/>
                <a:gd name="connsiteX31" fmla="*/ 953557 w 3079638"/>
                <a:gd name="connsiteY31" fmla="*/ 704844 h 1954089"/>
                <a:gd name="connsiteX32" fmla="*/ 1036320 w 3079638"/>
                <a:gd name="connsiteY32" fmla="*/ 704869 h 1954089"/>
                <a:gd name="connsiteX33" fmla="*/ 1082040 w 3079638"/>
                <a:gd name="connsiteY33" fmla="*/ 720109 h 1954089"/>
                <a:gd name="connsiteX34" fmla="*/ 1143000 w 3079638"/>
                <a:gd name="connsiteY34" fmla="*/ 643909 h 1954089"/>
                <a:gd name="connsiteX35" fmla="*/ 1188720 w 3079638"/>
                <a:gd name="connsiteY35" fmla="*/ 598189 h 1954089"/>
                <a:gd name="connsiteX36" fmla="*/ 1333500 w 3079638"/>
                <a:gd name="connsiteY36" fmla="*/ 613429 h 1954089"/>
                <a:gd name="connsiteX37" fmla="*/ 1455420 w 3079638"/>
                <a:gd name="connsiteY37" fmla="*/ 628669 h 1954089"/>
                <a:gd name="connsiteX38" fmla="*/ 1584960 w 3079638"/>
                <a:gd name="connsiteY38" fmla="*/ 674389 h 1954089"/>
                <a:gd name="connsiteX39" fmla="*/ 1653540 w 3079638"/>
                <a:gd name="connsiteY39" fmla="*/ 643909 h 1954089"/>
                <a:gd name="connsiteX40" fmla="*/ 1828800 w 3079638"/>
                <a:gd name="connsiteY40" fmla="*/ 641975 h 1954089"/>
                <a:gd name="connsiteX41" fmla="*/ 1881028 w 3079638"/>
                <a:gd name="connsiteY41" fmla="*/ 611496 h 1954089"/>
                <a:gd name="connsiteX42" fmla="*/ 1918015 w 3079638"/>
                <a:gd name="connsiteY42" fmla="*/ 529609 h 1954089"/>
                <a:gd name="connsiteX43" fmla="*/ 2041048 w 3079638"/>
                <a:gd name="connsiteY43" fmla="*/ 485783 h 1954089"/>
                <a:gd name="connsiteX44" fmla="*/ 2103824 w 3079638"/>
                <a:gd name="connsiteY44" fmla="*/ 415310 h 1954089"/>
                <a:gd name="connsiteX45" fmla="*/ 2247900 w 3079638"/>
                <a:gd name="connsiteY45" fmla="*/ 415309 h 1954089"/>
                <a:gd name="connsiteX46" fmla="*/ 2362200 w 3079638"/>
                <a:gd name="connsiteY46" fmla="*/ 422929 h 1954089"/>
                <a:gd name="connsiteX47" fmla="*/ 2473923 w 3079638"/>
                <a:gd name="connsiteY47" fmla="*/ 365734 h 1954089"/>
                <a:gd name="connsiteX48" fmla="*/ 2538164 w 3079638"/>
                <a:gd name="connsiteY48" fmla="*/ 312433 h 1954089"/>
                <a:gd name="connsiteX49" fmla="*/ 2651760 w 3079638"/>
                <a:gd name="connsiteY49" fmla="*/ 293389 h 1954089"/>
                <a:gd name="connsiteX50" fmla="*/ 2727960 w 3079638"/>
                <a:gd name="connsiteY50" fmla="*/ 220980 h 1954089"/>
                <a:gd name="connsiteX51" fmla="*/ 2842261 w 3079638"/>
                <a:gd name="connsiteY51" fmla="*/ 160020 h 1954089"/>
                <a:gd name="connsiteX52" fmla="*/ 2910841 w 3079638"/>
                <a:gd name="connsiteY52" fmla="*/ 102864 h 1954089"/>
                <a:gd name="connsiteX53" fmla="*/ 2960898 w 3079638"/>
                <a:gd name="connsiteY53" fmla="*/ 34309 h 1954089"/>
                <a:gd name="connsiteX54" fmla="*/ 3017520 w 3079638"/>
                <a:gd name="connsiteY54" fmla="*/ 11449 h 1954089"/>
                <a:gd name="connsiteX55" fmla="*/ 3078833 w 3079638"/>
                <a:gd name="connsiteY55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857095 w 3079638"/>
                <a:gd name="connsiteY8" fmla="*/ 749078 h 1954089"/>
                <a:gd name="connsiteX9" fmla="*/ 1685359 w 3079638"/>
                <a:gd name="connsiteY9" fmla="*/ 725986 h 1954089"/>
                <a:gd name="connsiteX10" fmla="*/ 1404584 w 3079638"/>
                <a:gd name="connsiteY10" fmla="*/ 870307 h 1954089"/>
                <a:gd name="connsiteX11" fmla="*/ 1216295 w 3079638"/>
                <a:gd name="connsiteY11" fmla="*/ 1106164 h 1954089"/>
                <a:gd name="connsiteX12" fmla="*/ 1014769 w 3079638"/>
                <a:gd name="connsiteY12" fmla="*/ 1303273 h 1954089"/>
                <a:gd name="connsiteX13" fmla="*/ 938442 w 3079638"/>
                <a:gd name="connsiteY13" fmla="*/ 1280182 h 1954089"/>
                <a:gd name="connsiteX14" fmla="*/ 818499 w 3079638"/>
                <a:gd name="connsiteY14" fmla="*/ 1389864 h 1954089"/>
                <a:gd name="connsiteX15" fmla="*/ 676748 w 3079638"/>
                <a:gd name="connsiteY15" fmla="*/ 1418730 h 1954089"/>
                <a:gd name="connsiteX16" fmla="*/ 469573 w 3079638"/>
                <a:gd name="connsiteY16" fmla="*/ 1574596 h 1954089"/>
                <a:gd name="connsiteX17" fmla="*/ 295111 w 3079638"/>
                <a:gd name="connsiteY17" fmla="*/ 1753556 h 1954089"/>
                <a:gd name="connsiteX18" fmla="*/ 189590 w 3079638"/>
                <a:gd name="connsiteY18" fmla="*/ 1843475 h 1954089"/>
                <a:gd name="connsiteX19" fmla="*/ 73298 w 3079638"/>
                <a:gd name="connsiteY19" fmla="*/ 1928219 h 1954089"/>
                <a:gd name="connsiteX20" fmla="*/ 0 w 3079638"/>
                <a:gd name="connsiteY20" fmla="*/ 1954089 h 1954089"/>
                <a:gd name="connsiteX21" fmla="*/ 108848 w 3079638"/>
                <a:gd name="connsiteY21" fmla="*/ 1859185 h 1954089"/>
                <a:gd name="connsiteX22" fmla="*/ 205740 w 3079638"/>
                <a:gd name="connsiteY22" fmla="*/ 1847869 h 1954089"/>
                <a:gd name="connsiteX23" fmla="*/ 335280 w 3079638"/>
                <a:gd name="connsiteY23" fmla="*/ 1680229 h 1954089"/>
                <a:gd name="connsiteX24" fmla="*/ 419100 w 3079638"/>
                <a:gd name="connsiteY24" fmla="*/ 1619269 h 1954089"/>
                <a:gd name="connsiteX25" fmla="*/ 458256 w 3079638"/>
                <a:gd name="connsiteY25" fmla="*/ 1482109 h 1954089"/>
                <a:gd name="connsiteX26" fmla="*/ 541020 w 3079638"/>
                <a:gd name="connsiteY26" fmla="*/ 1358256 h 1954089"/>
                <a:gd name="connsiteX27" fmla="*/ 633516 w 3079638"/>
                <a:gd name="connsiteY27" fmla="*/ 1106833 h 1954089"/>
                <a:gd name="connsiteX28" fmla="*/ 704266 w 3079638"/>
                <a:gd name="connsiteY28" fmla="*/ 971570 h 1954089"/>
                <a:gd name="connsiteX29" fmla="*/ 834918 w 3079638"/>
                <a:gd name="connsiteY29" fmla="*/ 895369 h 1954089"/>
                <a:gd name="connsiteX30" fmla="*/ 890428 w 3079638"/>
                <a:gd name="connsiteY30" fmla="*/ 781069 h 1954089"/>
                <a:gd name="connsiteX31" fmla="*/ 953557 w 3079638"/>
                <a:gd name="connsiteY31" fmla="*/ 704844 h 1954089"/>
                <a:gd name="connsiteX32" fmla="*/ 1036320 w 3079638"/>
                <a:gd name="connsiteY32" fmla="*/ 704869 h 1954089"/>
                <a:gd name="connsiteX33" fmla="*/ 1082040 w 3079638"/>
                <a:gd name="connsiteY33" fmla="*/ 720109 h 1954089"/>
                <a:gd name="connsiteX34" fmla="*/ 1143000 w 3079638"/>
                <a:gd name="connsiteY34" fmla="*/ 643909 h 1954089"/>
                <a:gd name="connsiteX35" fmla="*/ 1188720 w 3079638"/>
                <a:gd name="connsiteY35" fmla="*/ 598189 h 1954089"/>
                <a:gd name="connsiteX36" fmla="*/ 1333500 w 3079638"/>
                <a:gd name="connsiteY36" fmla="*/ 613429 h 1954089"/>
                <a:gd name="connsiteX37" fmla="*/ 1455420 w 3079638"/>
                <a:gd name="connsiteY37" fmla="*/ 628669 h 1954089"/>
                <a:gd name="connsiteX38" fmla="*/ 1584960 w 3079638"/>
                <a:gd name="connsiteY38" fmla="*/ 674389 h 1954089"/>
                <a:gd name="connsiteX39" fmla="*/ 1653540 w 3079638"/>
                <a:gd name="connsiteY39" fmla="*/ 643909 h 1954089"/>
                <a:gd name="connsiteX40" fmla="*/ 1828800 w 3079638"/>
                <a:gd name="connsiteY40" fmla="*/ 641975 h 1954089"/>
                <a:gd name="connsiteX41" fmla="*/ 1881028 w 3079638"/>
                <a:gd name="connsiteY41" fmla="*/ 611496 h 1954089"/>
                <a:gd name="connsiteX42" fmla="*/ 1918015 w 3079638"/>
                <a:gd name="connsiteY42" fmla="*/ 529609 h 1954089"/>
                <a:gd name="connsiteX43" fmla="*/ 2041048 w 3079638"/>
                <a:gd name="connsiteY43" fmla="*/ 485783 h 1954089"/>
                <a:gd name="connsiteX44" fmla="*/ 2103824 w 3079638"/>
                <a:gd name="connsiteY44" fmla="*/ 415310 h 1954089"/>
                <a:gd name="connsiteX45" fmla="*/ 2247900 w 3079638"/>
                <a:gd name="connsiteY45" fmla="*/ 415309 h 1954089"/>
                <a:gd name="connsiteX46" fmla="*/ 2362200 w 3079638"/>
                <a:gd name="connsiteY46" fmla="*/ 422929 h 1954089"/>
                <a:gd name="connsiteX47" fmla="*/ 2473923 w 3079638"/>
                <a:gd name="connsiteY47" fmla="*/ 365734 h 1954089"/>
                <a:gd name="connsiteX48" fmla="*/ 2538164 w 3079638"/>
                <a:gd name="connsiteY48" fmla="*/ 312433 h 1954089"/>
                <a:gd name="connsiteX49" fmla="*/ 2651760 w 3079638"/>
                <a:gd name="connsiteY49" fmla="*/ 293389 h 1954089"/>
                <a:gd name="connsiteX50" fmla="*/ 2727960 w 3079638"/>
                <a:gd name="connsiteY50" fmla="*/ 220980 h 1954089"/>
                <a:gd name="connsiteX51" fmla="*/ 2842261 w 3079638"/>
                <a:gd name="connsiteY51" fmla="*/ 160020 h 1954089"/>
                <a:gd name="connsiteX52" fmla="*/ 2910841 w 3079638"/>
                <a:gd name="connsiteY52" fmla="*/ 102864 h 1954089"/>
                <a:gd name="connsiteX53" fmla="*/ 2960898 w 3079638"/>
                <a:gd name="connsiteY53" fmla="*/ 34309 h 1954089"/>
                <a:gd name="connsiteX54" fmla="*/ 3017520 w 3079638"/>
                <a:gd name="connsiteY54" fmla="*/ 11449 h 1954089"/>
                <a:gd name="connsiteX55" fmla="*/ 3078833 w 3079638"/>
                <a:gd name="connsiteY55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857095 w 3079638"/>
                <a:gd name="connsiteY8" fmla="*/ 749078 h 1954089"/>
                <a:gd name="connsiteX9" fmla="*/ 1685359 w 3079638"/>
                <a:gd name="connsiteY9" fmla="*/ 725986 h 1954089"/>
                <a:gd name="connsiteX10" fmla="*/ 1404584 w 3079638"/>
                <a:gd name="connsiteY10" fmla="*/ 870307 h 1954089"/>
                <a:gd name="connsiteX11" fmla="*/ 1216295 w 3079638"/>
                <a:gd name="connsiteY11" fmla="*/ 1106164 h 1954089"/>
                <a:gd name="connsiteX12" fmla="*/ 1014769 w 3079638"/>
                <a:gd name="connsiteY12" fmla="*/ 1303273 h 1954089"/>
                <a:gd name="connsiteX13" fmla="*/ 938442 w 3079638"/>
                <a:gd name="connsiteY13" fmla="*/ 1280182 h 1954089"/>
                <a:gd name="connsiteX14" fmla="*/ 818499 w 3079638"/>
                <a:gd name="connsiteY14" fmla="*/ 1389864 h 1954089"/>
                <a:gd name="connsiteX15" fmla="*/ 676748 w 3079638"/>
                <a:gd name="connsiteY15" fmla="*/ 1418730 h 1954089"/>
                <a:gd name="connsiteX16" fmla="*/ 469573 w 3079638"/>
                <a:gd name="connsiteY16" fmla="*/ 1574596 h 1954089"/>
                <a:gd name="connsiteX17" fmla="*/ 295111 w 3079638"/>
                <a:gd name="connsiteY17" fmla="*/ 1753556 h 1954089"/>
                <a:gd name="connsiteX18" fmla="*/ 189590 w 3079638"/>
                <a:gd name="connsiteY18" fmla="*/ 1843475 h 1954089"/>
                <a:gd name="connsiteX19" fmla="*/ 73298 w 3079638"/>
                <a:gd name="connsiteY19" fmla="*/ 1928219 h 1954089"/>
                <a:gd name="connsiteX20" fmla="*/ 0 w 3079638"/>
                <a:gd name="connsiteY20" fmla="*/ 1954089 h 1954089"/>
                <a:gd name="connsiteX21" fmla="*/ 108848 w 3079638"/>
                <a:gd name="connsiteY21" fmla="*/ 1859185 h 1954089"/>
                <a:gd name="connsiteX22" fmla="*/ 205740 w 3079638"/>
                <a:gd name="connsiteY22" fmla="*/ 1847869 h 1954089"/>
                <a:gd name="connsiteX23" fmla="*/ 335280 w 3079638"/>
                <a:gd name="connsiteY23" fmla="*/ 1680229 h 1954089"/>
                <a:gd name="connsiteX24" fmla="*/ 419100 w 3079638"/>
                <a:gd name="connsiteY24" fmla="*/ 1619269 h 1954089"/>
                <a:gd name="connsiteX25" fmla="*/ 458256 w 3079638"/>
                <a:gd name="connsiteY25" fmla="*/ 1482109 h 1954089"/>
                <a:gd name="connsiteX26" fmla="*/ 541020 w 3079638"/>
                <a:gd name="connsiteY26" fmla="*/ 1358256 h 1954089"/>
                <a:gd name="connsiteX27" fmla="*/ 633516 w 3079638"/>
                <a:gd name="connsiteY27" fmla="*/ 1106833 h 1954089"/>
                <a:gd name="connsiteX28" fmla="*/ 704266 w 3079638"/>
                <a:gd name="connsiteY28" fmla="*/ 971570 h 1954089"/>
                <a:gd name="connsiteX29" fmla="*/ 834918 w 3079638"/>
                <a:gd name="connsiteY29" fmla="*/ 895369 h 1954089"/>
                <a:gd name="connsiteX30" fmla="*/ 890428 w 3079638"/>
                <a:gd name="connsiteY30" fmla="*/ 781069 h 1954089"/>
                <a:gd name="connsiteX31" fmla="*/ 953557 w 3079638"/>
                <a:gd name="connsiteY31" fmla="*/ 704844 h 1954089"/>
                <a:gd name="connsiteX32" fmla="*/ 1036320 w 3079638"/>
                <a:gd name="connsiteY32" fmla="*/ 704869 h 1954089"/>
                <a:gd name="connsiteX33" fmla="*/ 1082040 w 3079638"/>
                <a:gd name="connsiteY33" fmla="*/ 720109 h 1954089"/>
                <a:gd name="connsiteX34" fmla="*/ 1143000 w 3079638"/>
                <a:gd name="connsiteY34" fmla="*/ 643909 h 1954089"/>
                <a:gd name="connsiteX35" fmla="*/ 1188720 w 3079638"/>
                <a:gd name="connsiteY35" fmla="*/ 598189 h 1954089"/>
                <a:gd name="connsiteX36" fmla="*/ 1333500 w 3079638"/>
                <a:gd name="connsiteY36" fmla="*/ 613429 h 1954089"/>
                <a:gd name="connsiteX37" fmla="*/ 1455420 w 3079638"/>
                <a:gd name="connsiteY37" fmla="*/ 628669 h 1954089"/>
                <a:gd name="connsiteX38" fmla="*/ 1584960 w 3079638"/>
                <a:gd name="connsiteY38" fmla="*/ 674389 h 1954089"/>
                <a:gd name="connsiteX39" fmla="*/ 1653540 w 3079638"/>
                <a:gd name="connsiteY39" fmla="*/ 643909 h 1954089"/>
                <a:gd name="connsiteX40" fmla="*/ 1828800 w 3079638"/>
                <a:gd name="connsiteY40" fmla="*/ 641975 h 1954089"/>
                <a:gd name="connsiteX41" fmla="*/ 1881028 w 3079638"/>
                <a:gd name="connsiteY41" fmla="*/ 611496 h 1954089"/>
                <a:gd name="connsiteX42" fmla="*/ 1918015 w 3079638"/>
                <a:gd name="connsiteY42" fmla="*/ 529609 h 1954089"/>
                <a:gd name="connsiteX43" fmla="*/ 2041048 w 3079638"/>
                <a:gd name="connsiteY43" fmla="*/ 485783 h 1954089"/>
                <a:gd name="connsiteX44" fmla="*/ 2103824 w 3079638"/>
                <a:gd name="connsiteY44" fmla="*/ 415310 h 1954089"/>
                <a:gd name="connsiteX45" fmla="*/ 2247900 w 3079638"/>
                <a:gd name="connsiteY45" fmla="*/ 415309 h 1954089"/>
                <a:gd name="connsiteX46" fmla="*/ 2362200 w 3079638"/>
                <a:gd name="connsiteY46" fmla="*/ 422929 h 1954089"/>
                <a:gd name="connsiteX47" fmla="*/ 2473923 w 3079638"/>
                <a:gd name="connsiteY47" fmla="*/ 365734 h 1954089"/>
                <a:gd name="connsiteX48" fmla="*/ 2538164 w 3079638"/>
                <a:gd name="connsiteY48" fmla="*/ 312433 h 1954089"/>
                <a:gd name="connsiteX49" fmla="*/ 2651760 w 3079638"/>
                <a:gd name="connsiteY49" fmla="*/ 293389 h 1954089"/>
                <a:gd name="connsiteX50" fmla="*/ 2727960 w 3079638"/>
                <a:gd name="connsiteY50" fmla="*/ 220980 h 1954089"/>
                <a:gd name="connsiteX51" fmla="*/ 2842261 w 3079638"/>
                <a:gd name="connsiteY51" fmla="*/ 160020 h 1954089"/>
                <a:gd name="connsiteX52" fmla="*/ 2910841 w 3079638"/>
                <a:gd name="connsiteY52" fmla="*/ 102864 h 1954089"/>
                <a:gd name="connsiteX53" fmla="*/ 2960898 w 3079638"/>
                <a:gd name="connsiteY53" fmla="*/ 34309 h 1954089"/>
                <a:gd name="connsiteX54" fmla="*/ 3017520 w 3079638"/>
                <a:gd name="connsiteY54" fmla="*/ 11449 h 1954089"/>
                <a:gd name="connsiteX55" fmla="*/ 3078833 w 3079638"/>
                <a:gd name="connsiteY55" fmla="*/ 0 h 1954089"/>
                <a:gd name="connsiteX0" fmla="*/ 3079638 w 3079638"/>
                <a:gd name="connsiteY0" fmla="*/ 178579 h 1954089"/>
                <a:gd name="connsiteX1" fmla="*/ 2969294 w 3079638"/>
                <a:gd name="connsiteY1" fmla="*/ 189108 h 1954089"/>
                <a:gd name="connsiteX2" fmla="*/ 2775750 w 3079638"/>
                <a:gd name="connsiteY2" fmla="*/ 298793 h 1954089"/>
                <a:gd name="connsiteX3" fmla="*/ 2584931 w 3079638"/>
                <a:gd name="connsiteY3" fmla="*/ 339203 h 1954089"/>
                <a:gd name="connsiteX4" fmla="*/ 2475892 w 3079638"/>
                <a:gd name="connsiteY4" fmla="*/ 448889 h 1954089"/>
                <a:gd name="connsiteX5" fmla="*/ 2369579 w 3079638"/>
                <a:gd name="connsiteY5" fmla="*/ 483525 h 1954089"/>
                <a:gd name="connsiteX6" fmla="*/ 2252362 w 3079638"/>
                <a:gd name="connsiteY6" fmla="*/ 604754 h 1954089"/>
                <a:gd name="connsiteX7" fmla="*/ 2086077 w 3079638"/>
                <a:gd name="connsiteY7" fmla="*/ 685576 h 1954089"/>
                <a:gd name="connsiteX8" fmla="*/ 1857095 w 3079638"/>
                <a:gd name="connsiteY8" fmla="*/ 749078 h 1954089"/>
                <a:gd name="connsiteX9" fmla="*/ 1685359 w 3079638"/>
                <a:gd name="connsiteY9" fmla="*/ 725986 h 1954089"/>
                <a:gd name="connsiteX10" fmla="*/ 1404584 w 3079638"/>
                <a:gd name="connsiteY10" fmla="*/ 870307 h 1954089"/>
                <a:gd name="connsiteX11" fmla="*/ 1216295 w 3079638"/>
                <a:gd name="connsiteY11" fmla="*/ 1106164 h 1954089"/>
                <a:gd name="connsiteX12" fmla="*/ 1014769 w 3079638"/>
                <a:gd name="connsiteY12" fmla="*/ 1303273 h 1954089"/>
                <a:gd name="connsiteX13" fmla="*/ 938442 w 3079638"/>
                <a:gd name="connsiteY13" fmla="*/ 1280182 h 1954089"/>
                <a:gd name="connsiteX14" fmla="*/ 818499 w 3079638"/>
                <a:gd name="connsiteY14" fmla="*/ 1389864 h 1954089"/>
                <a:gd name="connsiteX15" fmla="*/ 676748 w 3079638"/>
                <a:gd name="connsiteY15" fmla="*/ 1418730 h 1954089"/>
                <a:gd name="connsiteX16" fmla="*/ 469573 w 3079638"/>
                <a:gd name="connsiteY16" fmla="*/ 1574596 h 1954089"/>
                <a:gd name="connsiteX17" fmla="*/ 295111 w 3079638"/>
                <a:gd name="connsiteY17" fmla="*/ 1753556 h 1954089"/>
                <a:gd name="connsiteX18" fmla="*/ 189590 w 3079638"/>
                <a:gd name="connsiteY18" fmla="*/ 1843475 h 1954089"/>
                <a:gd name="connsiteX19" fmla="*/ 73298 w 3079638"/>
                <a:gd name="connsiteY19" fmla="*/ 1928219 h 1954089"/>
                <a:gd name="connsiteX20" fmla="*/ 0 w 3079638"/>
                <a:gd name="connsiteY20" fmla="*/ 1954089 h 1954089"/>
                <a:gd name="connsiteX21" fmla="*/ 108848 w 3079638"/>
                <a:gd name="connsiteY21" fmla="*/ 1859185 h 1954089"/>
                <a:gd name="connsiteX22" fmla="*/ 205740 w 3079638"/>
                <a:gd name="connsiteY22" fmla="*/ 1847869 h 1954089"/>
                <a:gd name="connsiteX23" fmla="*/ 335280 w 3079638"/>
                <a:gd name="connsiteY23" fmla="*/ 1680229 h 1954089"/>
                <a:gd name="connsiteX24" fmla="*/ 419100 w 3079638"/>
                <a:gd name="connsiteY24" fmla="*/ 1619269 h 1954089"/>
                <a:gd name="connsiteX25" fmla="*/ 458256 w 3079638"/>
                <a:gd name="connsiteY25" fmla="*/ 1482109 h 1954089"/>
                <a:gd name="connsiteX26" fmla="*/ 541020 w 3079638"/>
                <a:gd name="connsiteY26" fmla="*/ 1358256 h 1954089"/>
                <a:gd name="connsiteX27" fmla="*/ 633516 w 3079638"/>
                <a:gd name="connsiteY27" fmla="*/ 1106833 h 1954089"/>
                <a:gd name="connsiteX28" fmla="*/ 704266 w 3079638"/>
                <a:gd name="connsiteY28" fmla="*/ 971570 h 1954089"/>
                <a:gd name="connsiteX29" fmla="*/ 834918 w 3079638"/>
                <a:gd name="connsiteY29" fmla="*/ 895369 h 1954089"/>
                <a:gd name="connsiteX30" fmla="*/ 890428 w 3079638"/>
                <a:gd name="connsiteY30" fmla="*/ 781069 h 1954089"/>
                <a:gd name="connsiteX31" fmla="*/ 953557 w 3079638"/>
                <a:gd name="connsiteY31" fmla="*/ 704844 h 1954089"/>
                <a:gd name="connsiteX32" fmla="*/ 1036320 w 3079638"/>
                <a:gd name="connsiteY32" fmla="*/ 704869 h 1954089"/>
                <a:gd name="connsiteX33" fmla="*/ 1082040 w 3079638"/>
                <a:gd name="connsiteY33" fmla="*/ 720109 h 1954089"/>
                <a:gd name="connsiteX34" fmla="*/ 1143000 w 3079638"/>
                <a:gd name="connsiteY34" fmla="*/ 643909 h 1954089"/>
                <a:gd name="connsiteX35" fmla="*/ 1188720 w 3079638"/>
                <a:gd name="connsiteY35" fmla="*/ 598189 h 1954089"/>
                <a:gd name="connsiteX36" fmla="*/ 1333500 w 3079638"/>
                <a:gd name="connsiteY36" fmla="*/ 613429 h 1954089"/>
                <a:gd name="connsiteX37" fmla="*/ 1455420 w 3079638"/>
                <a:gd name="connsiteY37" fmla="*/ 628669 h 1954089"/>
                <a:gd name="connsiteX38" fmla="*/ 1584960 w 3079638"/>
                <a:gd name="connsiteY38" fmla="*/ 674389 h 1954089"/>
                <a:gd name="connsiteX39" fmla="*/ 1653540 w 3079638"/>
                <a:gd name="connsiteY39" fmla="*/ 643909 h 1954089"/>
                <a:gd name="connsiteX40" fmla="*/ 1828800 w 3079638"/>
                <a:gd name="connsiteY40" fmla="*/ 641975 h 1954089"/>
                <a:gd name="connsiteX41" fmla="*/ 1881028 w 3079638"/>
                <a:gd name="connsiteY41" fmla="*/ 611496 h 1954089"/>
                <a:gd name="connsiteX42" fmla="*/ 1918015 w 3079638"/>
                <a:gd name="connsiteY42" fmla="*/ 529609 h 1954089"/>
                <a:gd name="connsiteX43" fmla="*/ 2041048 w 3079638"/>
                <a:gd name="connsiteY43" fmla="*/ 485783 h 1954089"/>
                <a:gd name="connsiteX44" fmla="*/ 2103824 w 3079638"/>
                <a:gd name="connsiteY44" fmla="*/ 415310 h 1954089"/>
                <a:gd name="connsiteX45" fmla="*/ 2247900 w 3079638"/>
                <a:gd name="connsiteY45" fmla="*/ 415309 h 1954089"/>
                <a:gd name="connsiteX46" fmla="*/ 2362200 w 3079638"/>
                <a:gd name="connsiteY46" fmla="*/ 422929 h 1954089"/>
                <a:gd name="connsiteX47" fmla="*/ 2473923 w 3079638"/>
                <a:gd name="connsiteY47" fmla="*/ 365734 h 1954089"/>
                <a:gd name="connsiteX48" fmla="*/ 2538164 w 3079638"/>
                <a:gd name="connsiteY48" fmla="*/ 312433 h 1954089"/>
                <a:gd name="connsiteX49" fmla="*/ 2651760 w 3079638"/>
                <a:gd name="connsiteY49" fmla="*/ 293389 h 1954089"/>
                <a:gd name="connsiteX50" fmla="*/ 2727960 w 3079638"/>
                <a:gd name="connsiteY50" fmla="*/ 220980 h 1954089"/>
                <a:gd name="connsiteX51" fmla="*/ 2842261 w 3079638"/>
                <a:gd name="connsiteY51" fmla="*/ 160020 h 1954089"/>
                <a:gd name="connsiteX52" fmla="*/ 2910841 w 3079638"/>
                <a:gd name="connsiteY52" fmla="*/ 102864 h 1954089"/>
                <a:gd name="connsiteX53" fmla="*/ 2960898 w 3079638"/>
                <a:gd name="connsiteY53" fmla="*/ 34309 h 1954089"/>
                <a:gd name="connsiteX54" fmla="*/ 3017520 w 3079638"/>
                <a:gd name="connsiteY54" fmla="*/ 11449 h 1954089"/>
                <a:gd name="connsiteX55" fmla="*/ 3078833 w 3079638"/>
                <a:gd name="connsiteY55" fmla="*/ 0 h 1954089"/>
                <a:gd name="connsiteX56" fmla="*/ 3079638 w 3079638"/>
                <a:gd name="connsiteY56" fmla="*/ 178579 h 1954089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197768 w 3087816"/>
                <a:gd name="connsiteY18" fmla="*/ 1843475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17026 w 3087816"/>
                <a:gd name="connsiteY21" fmla="*/ 1859185 h 1971408"/>
                <a:gd name="connsiteX22" fmla="*/ 213918 w 3087816"/>
                <a:gd name="connsiteY22" fmla="*/ 1847869 h 1971408"/>
                <a:gd name="connsiteX23" fmla="*/ 343458 w 3087816"/>
                <a:gd name="connsiteY23" fmla="*/ 168022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197768 w 3087816"/>
                <a:gd name="connsiteY18" fmla="*/ 1843475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213918 w 3087816"/>
                <a:gd name="connsiteY22" fmla="*/ 1847869 h 1971408"/>
                <a:gd name="connsiteX23" fmla="*/ 343458 w 3087816"/>
                <a:gd name="connsiteY23" fmla="*/ 168022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184138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213918 w 3087816"/>
                <a:gd name="connsiteY22" fmla="*/ 1847869 h 1971408"/>
                <a:gd name="connsiteX23" fmla="*/ 343458 w 3087816"/>
                <a:gd name="connsiteY23" fmla="*/ 168022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184138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211192 w 3087816"/>
                <a:gd name="connsiteY22" fmla="*/ 1640045 h 1971408"/>
                <a:gd name="connsiteX23" fmla="*/ 343458 w 3087816"/>
                <a:gd name="connsiteY23" fmla="*/ 168022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211192 w 3087816"/>
                <a:gd name="connsiteY22" fmla="*/ 1640045 h 1971408"/>
                <a:gd name="connsiteX23" fmla="*/ 343458 w 3087816"/>
                <a:gd name="connsiteY23" fmla="*/ 168022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43458 w 3087816"/>
                <a:gd name="connsiteY23" fmla="*/ 168022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7278 w 3087816"/>
                <a:gd name="connsiteY24" fmla="*/ 1619269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7278 w 3087816"/>
                <a:gd name="connsiteY24" fmla="*/ 1596177 h 1971408"/>
                <a:gd name="connsiteX25" fmla="*/ 466434 w 3087816"/>
                <a:gd name="connsiteY25" fmla="*/ 1482109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7278 w 3087816"/>
                <a:gd name="connsiteY24" fmla="*/ 1596177 h 1971408"/>
                <a:gd name="connsiteX25" fmla="*/ 452805 w 3087816"/>
                <a:gd name="connsiteY25" fmla="*/ 1464792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9198 w 3087816"/>
                <a:gd name="connsiteY26" fmla="*/ 1358256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41694 w 3087816"/>
                <a:gd name="connsiteY27" fmla="*/ 110683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12444 w 3087816"/>
                <a:gd name="connsiteY28" fmla="*/ 971570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43096 w 3087816"/>
                <a:gd name="connsiteY29" fmla="*/ 895369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8606 w 3087816"/>
                <a:gd name="connsiteY30" fmla="*/ 781069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61735 w 3087816"/>
                <a:gd name="connsiteY31" fmla="*/ 704844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50831 w 3087816"/>
                <a:gd name="connsiteY31" fmla="*/ 681752 h 1971408"/>
                <a:gd name="connsiteX32" fmla="*/ 1044498 w 3087816"/>
                <a:gd name="connsiteY32" fmla="*/ 704869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50831 w 3087816"/>
                <a:gd name="connsiteY31" fmla="*/ 681752 h 1971408"/>
                <a:gd name="connsiteX32" fmla="*/ 1039046 w 3087816"/>
                <a:gd name="connsiteY32" fmla="*/ 664457 h 1971408"/>
                <a:gd name="connsiteX33" fmla="*/ 1090218 w 3087816"/>
                <a:gd name="connsiteY33" fmla="*/ 720109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50831 w 3087816"/>
                <a:gd name="connsiteY31" fmla="*/ 681752 h 1971408"/>
                <a:gd name="connsiteX32" fmla="*/ 1039046 w 3087816"/>
                <a:gd name="connsiteY32" fmla="*/ 664457 h 1971408"/>
                <a:gd name="connsiteX33" fmla="*/ 1082040 w 3087816"/>
                <a:gd name="connsiteY33" fmla="*/ 685471 h 1971408"/>
                <a:gd name="connsiteX34" fmla="*/ 1151178 w 3087816"/>
                <a:gd name="connsiteY34" fmla="*/ 643909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50831 w 3087816"/>
                <a:gd name="connsiteY31" fmla="*/ 681752 h 1971408"/>
                <a:gd name="connsiteX32" fmla="*/ 1039046 w 3087816"/>
                <a:gd name="connsiteY32" fmla="*/ 664457 h 1971408"/>
                <a:gd name="connsiteX33" fmla="*/ 1082040 w 3087816"/>
                <a:gd name="connsiteY33" fmla="*/ 685471 h 1971408"/>
                <a:gd name="connsiteX34" fmla="*/ 1137549 w 3087816"/>
                <a:gd name="connsiteY34" fmla="*/ 632364 h 1971408"/>
                <a:gd name="connsiteX35" fmla="*/ 1196898 w 3087816"/>
                <a:gd name="connsiteY35" fmla="*/ 598189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280182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50831 w 3087816"/>
                <a:gd name="connsiteY31" fmla="*/ 681752 h 1971408"/>
                <a:gd name="connsiteX32" fmla="*/ 1039046 w 3087816"/>
                <a:gd name="connsiteY32" fmla="*/ 664457 h 1971408"/>
                <a:gd name="connsiteX33" fmla="*/ 1082040 w 3087816"/>
                <a:gd name="connsiteY33" fmla="*/ 685471 h 1971408"/>
                <a:gd name="connsiteX34" fmla="*/ 1137549 w 3087816"/>
                <a:gd name="connsiteY34" fmla="*/ 632364 h 1971408"/>
                <a:gd name="connsiteX35" fmla="*/ 1191446 w 3087816"/>
                <a:gd name="connsiteY35" fmla="*/ 569325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46620 w 3087816"/>
                <a:gd name="connsiteY13" fmla="*/ 1314820 h 1971408"/>
                <a:gd name="connsiteX14" fmla="*/ 826677 w 3087816"/>
                <a:gd name="connsiteY14" fmla="*/ 1389864 h 1971408"/>
                <a:gd name="connsiteX15" fmla="*/ 684926 w 3087816"/>
                <a:gd name="connsiteY15" fmla="*/ 1418730 h 1971408"/>
                <a:gd name="connsiteX16" fmla="*/ 477751 w 3087816"/>
                <a:gd name="connsiteY16" fmla="*/ 1574596 h 1971408"/>
                <a:gd name="connsiteX17" fmla="*/ 303289 w 3087816"/>
                <a:gd name="connsiteY17" fmla="*/ 1753556 h 1971408"/>
                <a:gd name="connsiteX18" fmla="*/ 208672 w 3087816"/>
                <a:gd name="connsiteY18" fmla="*/ 1808837 h 1971408"/>
                <a:gd name="connsiteX19" fmla="*/ 81476 w 3087816"/>
                <a:gd name="connsiteY19" fmla="*/ 1928219 h 1971408"/>
                <a:gd name="connsiteX20" fmla="*/ 0 w 3087816"/>
                <a:gd name="connsiteY20" fmla="*/ 1971408 h 1971408"/>
                <a:gd name="connsiteX21" fmla="*/ 106122 w 3087816"/>
                <a:gd name="connsiteY21" fmla="*/ 1841865 h 1971408"/>
                <a:gd name="connsiteX22" fmla="*/ 186658 w 3087816"/>
                <a:gd name="connsiteY22" fmla="*/ 1807457 h 1971408"/>
                <a:gd name="connsiteX23" fmla="*/ 332554 w 3087816"/>
                <a:gd name="connsiteY23" fmla="*/ 1657139 h 1971408"/>
                <a:gd name="connsiteX24" fmla="*/ 424552 w 3087816"/>
                <a:gd name="connsiteY24" fmla="*/ 1578858 h 1971408"/>
                <a:gd name="connsiteX25" fmla="*/ 452805 w 3087816"/>
                <a:gd name="connsiteY25" fmla="*/ 1464792 h 1971408"/>
                <a:gd name="connsiteX26" fmla="*/ 543745 w 3087816"/>
                <a:gd name="connsiteY26" fmla="*/ 1323620 h 1971408"/>
                <a:gd name="connsiteX27" fmla="*/ 628063 w 3087816"/>
                <a:gd name="connsiteY27" fmla="*/ 1083743 h 1971408"/>
                <a:gd name="connsiteX28" fmla="*/ 704266 w 3087816"/>
                <a:gd name="connsiteY28" fmla="*/ 942707 h 1971408"/>
                <a:gd name="connsiteX29" fmla="*/ 834918 w 3087816"/>
                <a:gd name="connsiteY29" fmla="*/ 849187 h 1971408"/>
                <a:gd name="connsiteX30" fmla="*/ 890428 w 3087816"/>
                <a:gd name="connsiteY30" fmla="*/ 746433 h 1971408"/>
                <a:gd name="connsiteX31" fmla="*/ 950831 w 3087816"/>
                <a:gd name="connsiteY31" fmla="*/ 681752 h 1971408"/>
                <a:gd name="connsiteX32" fmla="*/ 1039046 w 3087816"/>
                <a:gd name="connsiteY32" fmla="*/ 664457 h 1971408"/>
                <a:gd name="connsiteX33" fmla="*/ 1082040 w 3087816"/>
                <a:gd name="connsiteY33" fmla="*/ 685471 h 1971408"/>
                <a:gd name="connsiteX34" fmla="*/ 1137549 w 3087816"/>
                <a:gd name="connsiteY34" fmla="*/ 632364 h 1971408"/>
                <a:gd name="connsiteX35" fmla="*/ 1191446 w 3087816"/>
                <a:gd name="connsiteY35" fmla="*/ 569325 h 1971408"/>
                <a:gd name="connsiteX36" fmla="*/ 1341678 w 3087816"/>
                <a:gd name="connsiteY36" fmla="*/ 613429 h 1971408"/>
                <a:gd name="connsiteX37" fmla="*/ 1463598 w 3087816"/>
                <a:gd name="connsiteY37" fmla="*/ 628669 h 1971408"/>
                <a:gd name="connsiteX38" fmla="*/ 1593138 w 3087816"/>
                <a:gd name="connsiteY38" fmla="*/ 674389 h 1971408"/>
                <a:gd name="connsiteX39" fmla="*/ 1661718 w 3087816"/>
                <a:gd name="connsiteY39" fmla="*/ 643909 h 1971408"/>
                <a:gd name="connsiteX40" fmla="*/ 1836978 w 3087816"/>
                <a:gd name="connsiteY40" fmla="*/ 641975 h 1971408"/>
                <a:gd name="connsiteX41" fmla="*/ 1889206 w 3087816"/>
                <a:gd name="connsiteY41" fmla="*/ 611496 h 1971408"/>
                <a:gd name="connsiteX42" fmla="*/ 1926193 w 3087816"/>
                <a:gd name="connsiteY42" fmla="*/ 529609 h 1971408"/>
                <a:gd name="connsiteX43" fmla="*/ 2049226 w 3087816"/>
                <a:gd name="connsiteY43" fmla="*/ 485783 h 1971408"/>
                <a:gd name="connsiteX44" fmla="*/ 2112002 w 3087816"/>
                <a:gd name="connsiteY44" fmla="*/ 415310 h 1971408"/>
                <a:gd name="connsiteX45" fmla="*/ 2256078 w 3087816"/>
                <a:gd name="connsiteY45" fmla="*/ 415309 h 1971408"/>
                <a:gd name="connsiteX46" fmla="*/ 2370378 w 3087816"/>
                <a:gd name="connsiteY46" fmla="*/ 422929 h 1971408"/>
                <a:gd name="connsiteX47" fmla="*/ 2482101 w 3087816"/>
                <a:gd name="connsiteY47" fmla="*/ 365734 h 1971408"/>
                <a:gd name="connsiteX48" fmla="*/ 2546342 w 3087816"/>
                <a:gd name="connsiteY48" fmla="*/ 312433 h 1971408"/>
                <a:gd name="connsiteX49" fmla="*/ 2659938 w 3087816"/>
                <a:gd name="connsiteY49" fmla="*/ 293389 h 1971408"/>
                <a:gd name="connsiteX50" fmla="*/ 2736138 w 3087816"/>
                <a:gd name="connsiteY50" fmla="*/ 220980 h 1971408"/>
                <a:gd name="connsiteX51" fmla="*/ 2850439 w 3087816"/>
                <a:gd name="connsiteY51" fmla="*/ 160020 h 1971408"/>
                <a:gd name="connsiteX52" fmla="*/ 2919019 w 3087816"/>
                <a:gd name="connsiteY52" fmla="*/ 102864 h 1971408"/>
                <a:gd name="connsiteX53" fmla="*/ 2969076 w 3087816"/>
                <a:gd name="connsiteY53" fmla="*/ 34309 h 1971408"/>
                <a:gd name="connsiteX54" fmla="*/ 3025698 w 3087816"/>
                <a:gd name="connsiteY54" fmla="*/ 11449 h 1971408"/>
                <a:gd name="connsiteX55" fmla="*/ 3087011 w 3087816"/>
                <a:gd name="connsiteY55" fmla="*/ 0 h 1971408"/>
                <a:gd name="connsiteX56" fmla="*/ 3087816 w 3087816"/>
                <a:gd name="connsiteY56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22947 w 3087816"/>
                <a:gd name="connsiteY12" fmla="*/ 1303273 h 1971408"/>
                <a:gd name="connsiteX13" fmla="*/ 998412 w 3087816"/>
                <a:gd name="connsiteY13" fmla="*/ 1303273 h 1971408"/>
                <a:gd name="connsiteX14" fmla="*/ 946620 w 3087816"/>
                <a:gd name="connsiteY14" fmla="*/ 1314820 h 1971408"/>
                <a:gd name="connsiteX15" fmla="*/ 826677 w 3087816"/>
                <a:gd name="connsiteY15" fmla="*/ 1389864 h 1971408"/>
                <a:gd name="connsiteX16" fmla="*/ 684926 w 3087816"/>
                <a:gd name="connsiteY16" fmla="*/ 1418730 h 1971408"/>
                <a:gd name="connsiteX17" fmla="*/ 477751 w 3087816"/>
                <a:gd name="connsiteY17" fmla="*/ 1574596 h 1971408"/>
                <a:gd name="connsiteX18" fmla="*/ 303289 w 3087816"/>
                <a:gd name="connsiteY18" fmla="*/ 1753556 h 1971408"/>
                <a:gd name="connsiteX19" fmla="*/ 208672 w 3087816"/>
                <a:gd name="connsiteY19" fmla="*/ 1808837 h 1971408"/>
                <a:gd name="connsiteX20" fmla="*/ 81476 w 3087816"/>
                <a:gd name="connsiteY20" fmla="*/ 1928219 h 1971408"/>
                <a:gd name="connsiteX21" fmla="*/ 0 w 3087816"/>
                <a:gd name="connsiteY21" fmla="*/ 1971408 h 1971408"/>
                <a:gd name="connsiteX22" fmla="*/ 106122 w 3087816"/>
                <a:gd name="connsiteY22" fmla="*/ 1841865 h 1971408"/>
                <a:gd name="connsiteX23" fmla="*/ 186658 w 3087816"/>
                <a:gd name="connsiteY23" fmla="*/ 1807457 h 1971408"/>
                <a:gd name="connsiteX24" fmla="*/ 332554 w 3087816"/>
                <a:gd name="connsiteY24" fmla="*/ 1657139 h 1971408"/>
                <a:gd name="connsiteX25" fmla="*/ 424552 w 3087816"/>
                <a:gd name="connsiteY25" fmla="*/ 1578858 h 1971408"/>
                <a:gd name="connsiteX26" fmla="*/ 452805 w 3087816"/>
                <a:gd name="connsiteY26" fmla="*/ 1464792 h 1971408"/>
                <a:gd name="connsiteX27" fmla="*/ 543745 w 3087816"/>
                <a:gd name="connsiteY27" fmla="*/ 1323620 h 1971408"/>
                <a:gd name="connsiteX28" fmla="*/ 628063 w 3087816"/>
                <a:gd name="connsiteY28" fmla="*/ 1083743 h 1971408"/>
                <a:gd name="connsiteX29" fmla="*/ 704266 w 3087816"/>
                <a:gd name="connsiteY29" fmla="*/ 942707 h 1971408"/>
                <a:gd name="connsiteX30" fmla="*/ 834918 w 3087816"/>
                <a:gd name="connsiteY30" fmla="*/ 849187 h 1971408"/>
                <a:gd name="connsiteX31" fmla="*/ 890428 w 3087816"/>
                <a:gd name="connsiteY31" fmla="*/ 746433 h 1971408"/>
                <a:gd name="connsiteX32" fmla="*/ 950831 w 3087816"/>
                <a:gd name="connsiteY32" fmla="*/ 681752 h 1971408"/>
                <a:gd name="connsiteX33" fmla="*/ 1039046 w 3087816"/>
                <a:gd name="connsiteY33" fmla="*/ 664457 h 1971408"/>
                <a:gd name="connsiteX34" fmla="*/ 1082040 w 3087816"/>
                <a:gd name="connsiteY34" fmla="*/ 685471 h 1971408"/>
                <a:gd name="connsiteX35" fmla="*/ 1137549 w 3087816"/>
                <a:gd name="connsiteY35" fmla="*/ 632364 h 1971408"/>
                <a:gd name="connsiteX36" fmla="*/ 1191446 w 3087816"/>
                <a:gd name="connsiteY36" fmla="*/ 569325 h 1971408"/>
                <a:gd name="connsiteX37" fmla="*/ 1341678 w 3087816"/>
                <a:gd name="connsiteY37" fmla="*/ 613429 h 1971408"/>
                <a:gd name="connsiteX38" fmla="*/ 1463598 w 3087816"/>
                <a:gd name="connsiteY38" fmla="*/ 628669 h 1971408"/>
                <a:gd name="connsiteX39" fmla="*/ 1593138 w 3087816"/>
                <a:gd name="connsiteY39" fmla="*/ 674389 h 1971408"/>
                <a:gd name="connsiteX40" fmla="*/ 1661718 w 3087816"/>
                <a:gd name="connsiteY40" fmla="*/ 643909 h 1971408"/>
                <a:gd name="connsiteX41" fmla="*/ 1836978 w 3087816"/>
                <a:gd name="connsiteY41" fmla="*/ 641975 h 1971408"/>
                <a:gd name="connsiteX42" fmla="*/ 1889206 w 3087816"/>
                <a:gd name="connsiteY42" fmla="*/ 611496 h 1971408"/>
                <a:gd name="connsiteX43" fmla="*/ 1926193 w 3087816"/>
                <a:gd name="connsiteY43" fmla="*/ 529609 h 1971408"/>
                <a:gd name="connsiteX44" fmla="*/ 2049226 w 3087816"/>
                <a:gd name="connsiteY44" fmla="*/ 485783 h 1971408"/>
                <a:gd name="connsiteX45" fmla="*/ 2112002 w 3087816"/>
                <a:gd name="connsiteY45" fmla="*/ 415310 h 1971408"/>
                <a:gd name="connsiteX46" fmla="*/ 2256078 w 3087816"/>
                <a:gd name="connsiteY46" fmla="*/ 415309 h 1971408"/>
                <a:gd name="connsiteX47" fmla="*/ 2370378 w 3087816"/>
                <a:gd name="connsiteY47" fmla="*/ 422929 h 1971408"/>
                <a:gd name="connsiteX48" fmla="*/ 2482101 w 3087816"/>
                <a:gd name="connsiteY48" fmla="*/ 365734 h 1971408"/>
                <a:gd name="connsiteX49" fmla="*/ 2546342 w 3087816"/>
                <a:gd name="connsiteY49" fmla="*/ 312433 h 1971408"/>
                <a:gd name="connsiteX50" fmla="*/ 2659938 w 3087816"/>
                <a:gd name="connsiteY50" fmla="*/ 293389 h 1971408"/>
                <a:gd name="connsiteX51" fmla="*/ 2736138 w 3087816"/>
                <a:gd name="connsiteY51" fmla="*/ 220980 h 1971408"/>
                <a:gd name="connsiteX52" fmla="*/ 2850439 w 3087816"/>
                <a:gd name="connsiteY52" fmla="*/ 160020 h 1971408"/>
                <a:gd name="connsiteX53" fmla="*/ 2919019 w 3087816"/>
                <a:gd name="connsiteY53" fmla="*/ 102864 h 1971408"/>
                <a:gd name="connsiteX54" fmla="*/ 2969076 w 3087816"/>
                <a:gd name="connsiteY54" fmla="*/ 34309 h 1971408"/>
                <a:gd name="connsiteX55" fmla="*/ 3025698 w 3087816"/>
                <a:gd name="connsiteY55" fmla="*/ 11449 h 1971408"/>
                <a:gd name="connsiteX56" fmla="*/ 3087011 w 3087816"/>
                <a:gd name="connsiteY56" fmla="*/ 0 h 1971408"/>
                <a:gd name="connsiteX57" fmla="*/ 3087816 w 3087816"/>
                <a:gd name="connsiteY57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224473 w 3087816"/>
                <a:gd name="connsiteY11" fmla="*/ 1106164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6677 w 3087816"/>
                <a:gd name="connsiteY16" fmla="*/ 1389864 h 1971408"/>
                <a:gd name="connsiteX17" fmla="*/ 684926 w 3087816"/>
                <a:gd name="connsiteY17" fmla="*/ 1418730 h 1971408"/>
                <a:gd name="connsiteX18" fmla="*/ 477751 w 3087816"/>
                <a:gd name="connsiteY18" fmla="*/ 1574596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341678 w 3087816"/>
                <a:gd name="connsiteY38" fmla="*/ 613429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6677 w 3087816"/>
                <a:gd name="connsiteY16" fmla="*/ 1389864 h 1971408"/>
                <a:gd name="connsiteX17" fmla="*/ 684926 w 3087816"/>
                <a:gd name="connsiteY17" fmla="*/ 1418730 h 1971408"/>
                <a:gd name="connsiteX18" fmla="*/ 477751 w 3087816"/>
                <a:gd name="connsiteY18" fmla="*/ 1574596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341678 w 3087816"/>
                <a:gd name="connsiteY38" fmla="*/ 613429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6677 w 3087816"/>
                <a:gd name="connsiteY16" fmla="*/ 1389864 h 1971408"/>
                <a:gd name="connsiteX17" fmla="*/ 684926 w 3087816"/>
                <a:gd name="connsiteY17" fmla="*/ 1418730 h 1971408"/>
                <a:gd name="connsiteX18" fmla="*/ 477751 w 3087816"/>
                <a:gd name="connsiteY18" fmla="*/ 1574596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341678 w 3087816"/>
                <a:gd name="connsiteY38" fmla="*/ 613429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84926 w 3087816"/>
                <a:gd name="connsiteY17" fmla="*/ 1418730 h 1971408"/>
                <a:gd name="connsiteX18" fmla="*/ 477751 w 3087816"/>
                <a:gd name="connsiteY18" fmla="*/ 1574596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341678 w 3087816"/>
                <a:gd name="connsiteY38" fmla="*/ 613429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1 w 3087816"/>
                <a:gd name="connsiteY18" fmla="*/ 1574596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341678 w 3087816"/>
                <a:gd name="connsiteY38" fmla="*/ 613429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2 w 3087816"/>
                <a:gd name="connsiteY18" fmla="*/ 1586143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341678 w 3087816"/>
                <a:gd name="connsiteY38" fmla="*/ 613429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2 w 3087816"/>
                <a:gd name="connsiteY18" fmla="*/ 1586143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289884 w 3087816"/>
                <a:gd name="connsiteY38" fmla="*/ 590337 h 1971408"/>
                <a:gd name="connsiteX39" fmla="*/ 1463598 w 3087816"/>
                <a:gd name="connsiteY39" fmla="*/ 628669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2 w 3087816"/>
                <a:gd name="connsiteY18" fmla="*/ 1586143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289884 w 3087816"/>
                <a:gd name="connsiteY38" fmla="*/ 590337 h 1971408"/>
                <a:gd name="connsiteX39" fmla="*/ 1463598 w 3087816"/>
                <a:gd name="connsiteY39" fmla="*/ 599804 h 1971408"/>
                <a:gd name="connsiteX40" fmla="*/ 1593138 w 3087816"/>
                <a:gd name="connsiteY40" fmla="*/ 674389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2 w 3087816"/>
                <a:gd name="connsiteY18" fmla="*/ 1586143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289884 w 3087816"/>
                <a:gd name="connsiteY38" fmla="*/ 590337 h 1971408"/>
                <a:gd name="connsiteX39" fmla="*/ 1463598 w 3087816"/>
                <a:gd name="connsiteY39" fmla="*/ 599804 h 1971408"/>
                <a:gd name="connsiteX40" fmla="*/ 1590411 w 3087816"/>
                <a:gd name="connsiteY40" fmla="*/ 639751 h 1971408"/>
                <a:gd name="connsiteX41" fmla="*/ 1661718 w 3087816"/>
                <a:gd name="connsiteY41" fmla="*/ 643909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12762 w 3087816"/>
                <a:gd name="connsiteY10" fmla="*/ 870307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2 w 3087816"/>
                <a:gd name="connsiteY18" fmla="*/ 1586143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289884 w 3087816"/>
                <a:gd name="connsiteY38" fmla="*/ 590337 h 1971408"/>
                <a:gd name="connsiteX39" fmla="*/ 1463598 w 3087816"/>
                <a:gd name="connsiteY39" fmla="*/ 599804 h 1971408"/>
                <a:gd name="connsiteX40" fmla="*/ 1590411 w 3087816"/>
                <a:gd name="connsiteY40" fmla="*/ 639751 h 1971408"/>
                <a:gd name="connsiteX41" fmla="*/ 1653540 w 3087816"/>
                <a:gd name="connsiteY41" fmla="*/ 615045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20940 w 3087816"/>
                <a:gd name="connsiteY10" fmla="*/ 899173 h 1971408"/>
                <a:gd name="connsiteX11" fmla="*/ 1183583 w 3087816"/>
                <a:gd name="connsiteY11" fmla="*/ 1181212 h 1971408"/>
                <a:gd name="connsiteX12" fmla="*/ 1096548 w 3087816"/>
                <a:gd name="connsiteY12" fmla="*/ 1233999 h 1971408"/>
                <a:gd name="connsiteX13" fmla="*/ 1022947 w 3087816"/>
                <a:gd name="connsiteY13" fmla="*/ 1303273 h 1971408"/>
                <a:gd name="connsiteX14" fmla="*/ 998412 w 3087816"/>
                <a:gd name="connsiteY14" fmla="*/ 1303273 h 1971408"/>
                <a:gd name="connsiteX15" fmla="*/ 946620 w 3087816"/>
                <a:gd name="connsiteY15" fmla="*/ 1314820 h 1971408"/>
                <a:gd name="connsiteX16" fmla="*/ 823950 w 3087816"/>
                <a:gd name="connsiteY16" fmla="*/ 1412956 h 1971408"/>
                <a:gd name="connsiteX17" fmla="*/ 698556 w 3087816"/>
                <a:gd name="connsiteY17" fmla="*/ 1412956 h 1971408"/>
                <a:gd name="connsiteX18" fmla="*/ 477752 w 3087816"/>
                <a:gd name="connsiteY18" fmla="*/ 1586143 h 1971408"/>
                <a:gd name="connsiteX19" fmla="*/ 303289 w 3087816"/>
                <a:gd name="connsiteY19" fmla="*/ 1753556 h 1971408"/>
                <a:gd name="connsiteX20" fmla="*/ 208672 w 3087816"/>
                <a:gd name="connsiteY20" fmla="*/ 1808837 h 1971408"/>
                <a:gd name="connsiteX21" fmla="*/ 81476 w 3087816"/>
                <a:gd name="connsiteY21" fmla="*/ 1928219 h 1971408"/>
                <a:gd name="connsiteX22" fmla="*/ 0 w 3087816"/>
                <a:gd name="connsiteY22" fmla="*/ 1971408 h 1971408"/>
                <a:gd name="connsiteX23" fmla="*/ 106122 w 3087816"/>
                <a:gd name="connsiteY23" fmla="*/ 1841865 h 1971408"/>
                <a:gd name="connsiteX24" fmla="*/ 186658 w 3087816"/>
                <a:gd name="connsiteY24" fmla="*/ 1807457 h 1971408"/>
                <a:gd name="connsiteX25" fmla="*/ 332554 w 3087816"/>
                <a:gd name="connsiteY25" fmla="*/ 1657139 h 1971408"/>
                <a:gd name="connsiteX26" fmla="*/ 424552 w 3087816"/>
                <a:gd name="connsiteY26" fmla="*/ 1578858 h 1971408"/>
                <a:gd name="connsiteX27" fmla="*/ 452805 w 3087816"/>
                <a:gd name="connsiteY27" fmla="*/ 1464792 h 1971408"/>
                <a:gd name="connsiteX28" fmla="*/ 543745 w 3087816"/>
                <a:gd name="connsiteY28" fmla="*/ 1323620 h 1971408"/>
                <a:gd name="connsiteX29" fmla="*/ 628063 w 3087816"/>
                <a:gd name="connsiteY29" fmla="*/ 1083743 h 1971408"/>
                <a:gd name="connsiteX30" fmla="*/ 704266 w 3087816"/>
                <a:gd name="connsiteY30" fmla="*/ 942707 h 1971408"/>
                <a:gd name="connsiteX31" fmla="*/ 834918 w 3087816"/>
                <a:gd name="connsiteY31" fmla="*/ 849187 h 1971408"/>
                <a:gd name="connsiteX32" fmla="*/ 890428 w 3087816"/>
                <a:gd name="connsiteY32" fmla="*/ 746433 h 1971408"/>
                <a:gd name="connsiteX33" fmla="*/ 950831 w 3087816"/>
                <a:gd name="connsiteY33" fmla="*/ 681752 h 1971408"/>
                <a:gd name="connsiteX34" fmla="*/ 1039046 w 3087816"/>
                <a:gd name="connsiteY34" fmla="*/ 664457 h 1971408"/>
                <a:gd name="connsiteX35" fmla="*/ 1082040 w 3087816"/>
                <a:gd name="connsiteY35" fmla="*/ 685471 h 1971408"/>
                <a:gd name="connsiteX36" fmla="*/ 1137549 w 3087816"/>
                <a:gd name="connsiteY36" fmla="*/ 632364 h 1971408"/>
                <a:gd name="connsiteX37" fmla="*/ 1191446 w 3087816"/>
                <a:gd name="connsiteY37" fmla="*/ 569325 h 1971408"/>
                <a:gd name="connsiteX38" fmla="*/ 1289884 w 3087816"/>
                <a:gd name="connsiteY38" fmla="*/ 590337 h 1971408"/>
                <a:gd name="connsiteX39" fmla="*/ 1463598 w 3087816"/>
                <a:gd name="connsiteY39" fmla="*/ 599804 h 1971408"/>
                <a:gd name="connsiteX40" fmla="*/ 1590411 w 3087816"/>
                <a:gd name="connsiteY40" fmla="*/ 639751 h 1971408"/>
                <a:gd name="connsiteX41" fmla="*/ 1653540 w 3087816"/>
                <a:gd name="connsiteY41" fmla="*/ 615045 h 1971408"/>
                <a:gd name="connsiteX42" fmla="*/ 1836978 w 3087816"/>
                <a:gd name="connsiteY42" fmla="*/ 641975 h 1971408"/>
                <a:gd name="connsiteX43" fmla="*/ 1889206 w 3087816"/>
                <a:gd name="connsiteY43" fmla="*/ 611496 h 1971408"/>
                <a:gd name="connsiteX44" fmla="*/ 1926193 w 3087816"/>
                <a:gd name="connsiteY44" fmla="*/ 529609 h 1971408"/>
                <a:gd name="connsiteX45" fmla="*/ 2049226 w 3087816"/>
                <a:gd name="connsiteY45" fmla="*/ 485783 h 1971408"/>
                <a:gd name="connsiteX46" fmla="*/ 2112002 w 3087816"/>
                <a:gd name="connsiteY46" fmla="*/ 415310 h 1971408"/>
                <a:gd name="connsiteX47" fmla="*/ 2256078 w 3087816"/>
                <a:gd name="connsiteY47" fmla="*/ 415309 h 1971408"/>
                <a:gd name="connsiteX48" fmla="*/ 2370378 w 3087816"/>
                <a:gd name="connsiteY48" fmla="*/ 422929 h 1971408"/>
                <a:gd name="connsiteX49" fmla="*/ 2482101 w 3087816"/>
                <a:gd name="connsiteY49" fmla="*/ 365734 h 1971408"/>
                <a:gd name="connsiteX50" fmla="*/ 2546342 w 3087816"/>
                <a:gd name="connsiteY50" fmla="*/ 312433 h 1971408"/>
                <a:gd name="connsiteX51" fmla="*/ 2659938 w 3087816"/>
                <a:gd name="connsiteY51" fmla="*/ 293389 h 1971408"/>
                <a:gd name="connsiteX52" fmla="*/ 2736138 w 3087816"/>
                <a:gd name="connsiteY52" fmla="*/ 220980 h 1971408"/>
                <a:gd name="connsiteX53" fmla="*/ 2850439 w 3087816"/>
                <a:gd name="connsiteY53" fmla="*/ 160020 h 1971408"/>
                <a:gd name="connsiteX54" fmla="*/ 2919019 w 3087816"/>
                <a:gd name="connsiteY54" fmla="*/ 102864 h 1971408"/>
                <a:gd name="connsiteX55" fmla="*/ 2969076 w 3087816"/>
                <a:gd name="connsiteY55" fmla="*/ 34309 h 1971408"/>
                <a:gd name="connsiteX56" fmla="*/ 3025698 w 3087816"/>
                <a:gd name="connsiteY56" fmla="*/ 11449 h 1971408"/>
                <a:gd name="connsiteX57" fmla="*/ 3087011 w 3087816"/>
                <a:gd name="connsiteY57" fmla="*/ 0 h 1971408"/>
                <a:gd name="connsiteX58" fmla="*/ 3087816 w 3087816"/>
                <a:gd name="connsiteY58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6978 w 3087816"/>
                <a:gd name="connsiteY43" fmla="*/ 641975 h 1971408"/>
                <a:gd name="connsiteX44" fmla="*/ 1889206 w 3087816"/>
                <a:gd name="connsiteY44" fmla="*/ 611496 h 1971408"/>
                <a:gd name="connsiteX45" fmla="*/ 1926193 w 3087816"/>
                <a:gd name="connsiteY45" fmla="*/ 529609 h 1971408"/>
                <a:gd name="connsiteX46" fmla="*/ 2049226 w 3087816"/>
                <a:gd name="connsiteY46" fmla="*/ 485783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3537 w 3087816"/>
                <a:gd name="connsiteY9" fmla="*/ 725986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6978 w 3087816"/>
                <a:gd name="connsiteY43" fmla="*/ 641975 h 1971408"/>
                <a:gd name="connsiteX44" fmla="*/ 1889206 w 3087816"/>
                <a:gd name="connsiteY44" fmla="*/ 611496 h 1971408"/>
                <a:gd name="connsiteX45" fmla="*/ 1926193 w 3087816"/>
                <a:gd name="connsiteY45" fmla="*/ 529609 h 1971408"/>
                <a:gd name="connsiteX46" fmla="*/ 2049226 w 3087816"/>
                <a:gd name="connsiteY46" fmla="*/ 485783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6978 w 3087816"/>
                <a:gd name="connsiteY43" fmla="*/ 641975 h 1971408"/>
                <a:gd name="connsiteX44" fmla="*/ 1889206 w 3087816"/>
                <a:gd name="connsiteY44" fmla="*/ 611496 h 1971408"/>
                <a:gd name="connsiteX45" fmla="*/ 1926193 w 3087816"/>
                <a:gd name="connsiteY45" fmla="*/ 529609 h 1971408"/>
                <a:gd name="connsiteX46" fmla="*/ 2049226 w 3087816"/>
                <a:gd name="connsiteY46" fmla="*/ 485783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9206 w 3087816"/>
                <a:gd name="connsiteY44" fmla="*/ 611496 h 1971408"/>
                <a:gd name="connsiteX45" fmla="*/ 1926193 w 3087816"/>
                <a:gd name="connsiteY45" fmla="*/ 529609 h 1971408"/>
                <a:gd name="connsiteX46" fmla="*/ 2049226 w 3087816"/>
                <a:gd name="connsiteY46" fmla="*/ 485783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29609 h 1971408"/>
                <a:gd name="connsiteX46" fmla="*/ 2049226 w 3087816"/>
                <a:gd name="connsiteY46" fmla="*/ 485783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49226 w 3087816"/>
                <a:gd name="connsiteY46" fmla="*/ 485783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2002 w 3087816"/>
                <a:gd name="connsiteY47" fmla="*/ 415310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685576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60540 w 3087816"/>
                <a:gd name="connsiteY6" fmla="*/ 604754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7757 w 3087816"/>
                <a:gd name="connsiteY5" fmla="*/ 483525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56078 w 3087816"/>
                <a:gd name="connsiteY48" fmla="*/ 415309 h 1971408"/>
                <a:gd name="connsiteX49" fmla="*/ 2370378 w 3087816"/>
                <a:gd name="connsiteY49" fmla="*/ 422929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56078 w 3087816"/>
                <a:gd name="connsiteY48" fmla="*/ 415309 h 1971408"/>
                <a:gd name="connsiteX49" fmla="*/ 2375830 w 3087816"/>
                <a:gd name="connsiteY49" fmla="*/ 388291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65734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312433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283568 h 1971408"/>
                <a:gd name="connsiteX52" fmla="*/ 2659938 w 3087816"/>
                <a:gd name="connsiteY52" fmla="*/ 293389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283568 h 1971408"/>
                <a:gd name="connsiteX52" fmla="*/ 2659939 w 3087816"/>
                <a:gd name="connsiteY52" fmla="*/ 264525 h 1971408"/>
                <a:gd name="connsiteX53" fmla="*/ 2736138 w 3087816"/>
                <a:gd name="connsiteY53" fmla="*/ 220980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283568 h 1971408"/>
                <a:gd name="connsiteX52" fmla="*/ 2659939 w 3087816"/>
                <a:gd name="connsiteY52" fmla="*/ 264525 h 1971408"/>
                <a:gd name="connsiteX53" fmla="*/ 2736138 w 3087816"/>
                <a:gd name="connsiteY53" fmla="*/ 203663 h 1971408"/>
                <a:gd name="connsiteX54" fmla="*/ 2850439 w 3087816"/>
                <a:gd name="connsiteY54" fmla="*/ 160020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283568 h 1971408"/>
                <a:gd name="connsiteX52" fmla="*/ 2659939 w 3087816"/>
                <a:gd name="connsiteY52" fmla="*/ 264525 h 1971408"/>
                <a:gd name="connsiteX53" fmla="*/ 2736138 w 3087816"/>
                <a:gd name="connsiteY53" fmla="*/ 203663 h 1971408"/>
                <a:gd name="connsiteX54" fmla="*/ 2850439 w 3087816"/>
                <a:gd name="connsiteY54" fmla="*/ 136929 h 1971408"/>
                <a:gd name="connsiteX55" fmla="*/ 2919019 w 3087816"/>
                <a:gd name="connsiteY55" fmla="*/ 102864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283568 h 1971408"/>
                <a:gd name="connsiteX52" fmla="*/ 2659939 w 3087816"/>
                <a:gd name="connsiteY52" fmla="*/ 264525 h 1971408"/>
                <a:gd name="connsiteX53" fmla="*/ 2736138 w 3087816"/>
                <a:gd name="connsiteY53" fmla="*/ 203663 h 1971408"/>
                <a:gd name="connsiteX54" fmla="*/ 2850439 w 3087816"/>
                <a:gd name="connsiteY54" fmla="*/ 136929 h 1971408"/>
                <a:gd name="connsiteX55" fmla="*/ 2913567 w 3087816"/>
                <a:gd name="connsiteY55" fmla="*/ 68225 h 1971408"/>
                <a:gd name="connsiteX56" fmla="*/ 2969076 w 3087816"/>
                <a:gd name="connsiteY56" fmla="*/ 34309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178579 h 1971408"/>
                <a:gd name="connsiteX1" fmla="*/ 2977472 w 3087816"/>
                <a:gd name="connsiteY1" fmla="*/ 189108 h 1971408"/>
                <a:gd name="connsiteX2" fmla="*/ 2783928 w 3087816"/>
                <a:gd name="connsiteY2" fmla="*/ 298793 h 1971408"/>
                <a:gd name="connsiteX3" fmla="*/ 2593109 w 3087816"/>
                <a:gd name="connsiteY3" fmla="*/ 339203 h 1971408"/>
                <a:gd name="connsiteX4" fmla="*/ 2484070 w 3087816"/>
                <a:gd name="connsiteY4" fmla="*/ 448889 h 1971408"/>
                <a:gd name="connsiteX5" fmla="*/ 2375031 w 3087816"/>
                <a:gd name="connsiteY5" fmla="*/ 512388 h 1971408"/>
                <a:gd name="connsiteX6" fmla="*/ 2279623 w 3087816"/>
                <a:gd name="connsiteY6" fmla="*/ 610526 h 1971408"/>
                <a:gd name="connsiteX7" fmla="*/ 2094255 w 3087816"/>
                <a:gd name="connsiteY7" fmla="*/ 702895 h 1971408"/>
                <a:gd name="connsiteX8" fmla="*/ 1865273 w 3087816"/>
                <a:gd name="connsiteY8" fmla="*/ 749078 h 1971408"/>
                <a:gd name="connsiteX9" fmla="*/ 1690811 w 3087816"/>
                <a:gd name="connsiteY9" fmla="*/ 743305 h 1971408"/>
                <a:gd name="connsiteX10" fmla="*/ 1420940 w 3087816"/>
                <a:gd name="connsiteY10" fmla="*/ 899173 h 1971408"/>
                <a:gd name="connsiteX11" fmla="*/ 1287366 w 3087816"/>
                <a:gd name="connsiteY11" fmla="*/ 1066584 h 1971408"/>
                <a:gd name="connsiteX12" fmla="*/ 1183583 w 3087816"/>
                <a:gd name="connsiteY12" fmla="*/ 1181212 h 1971408"/>
                <a:gd name="connsiteX13" fmla="*/ 1096548 w 3087816"/>
                <a:gd name="connsiteY13" fmla="*/ 1233999 h 1971408"/>
                <a:gd name="connsiteX14" fmla="*/ 1022947 w 3087816"/>
                <a:gd name="connsiteY14" fmla="*/ 1303273 h 1971408"/>
                <a:gd name="connsiteX15" fmla="*/ 998412 w 3087816"/>
                <a:gd name="connsiteY15" fmla="*/ 1303273 h 1971408"/>
                <a:gd name="connsiteX16" fmla="*/ 946620 w 3087816"/>
                <a:gd name="connsiteY16" fmla="*/ 1314820 h 1971408"/>
                <a:gd name="connsiteX17" fmla="*/ 823950 w 3087816"/>
                <a:gd name="connsiteY17" fmla="*/ 1412956 h 1971408"/>
                <a:gd name="connsiteX18" fmla="*/ 698556 w 3087816"/>
                <a:gd name="connsiteY18" fmla="*/ 1412956 h 1971408"/>
                <a:gd name="connsiteX19" fmla="*/ 477752 w 3087816"/>
                <a:gd name="connsiteY19" fmla="*/ 1586143 h 1971408"/>
                <a:gd name="connsiteX20" fmla="*/ 303289 w 3087816"/>
                <a:gd name="connsiteY20" fmla="*/ 1753556 h 1971408"/>
                <a:gd name="connsiteX21" fmla="*/ 208672 w 3087816"/>
                <a:gd name="connsiteY21" fmla="*/ 1808837 h 1971408"/>
                <a:gd name="connsiteX22" fmla="*/ 81476 w 3087816"/>
                <a:gd name="connsiteY22" fmla="*/ 1928219 h 1971408"/>
                <a:gd name="connsiteX23" fmla="*/ 0 w 3087816"/>
                <a:gd name="connsiteY23" fmla="*/ 1971408 h 1971408"/>
                <a:gd name="connsiteX24" fmla="*/ 106122 w 3087816"/>
                <a:gd name="connsiteY24" fmla="*/ 1841865 h 1971408"/>
                <a:gd name="connsiteX25" fmla="*/ 186658 w 3087816"/>
                <a:gd name="connsiteY25" fmla="*/ 1807457 h 1971408"/>
                <a:gd name="connsiteX26" fmla="*/ 332554 w 3087816"/>
                <a:gd name="connsiteY26" fmla="*/ 1657139 h 1971408"/>
                <a:gd name="connsiteX27" fmla="*/ 424552 w 3087816"/>
                <a:gd name="connsiteY27" fmla="*/ 1578858 h 1971408"/>
                <a:gd name="connsiteX28" fmla="*/ 452805 w 3087816"/>
                <a:gd name="connsiteY28" fmla="*/ 1464792 h 1971408"/>
                <a:gd name="connsiteX29" fmla="*/ 543745 w 3087816"/>
                <a:gd name="connsiteY29" fmla="*/ 1323620 h 1971408"/>
                <a:gd name="connsiteX30" fmla="*/ 628063 w 3087816"/>
                <a:gd name="connsiteY30" fmla="*/ 1083743 h 1971408"/>
                <a:gd name="connsiteX31" fmla="*/ 704266 w 3087816"/>
                <a:gd name="connsiteY31" fmla="*/ 942707 h 1971408"/>
                <a:gd name="connsiteX32" fmla="*/ 834918 w 3087816"/>
                <a:gd name="connsiteY32" fmla="*/ 849187 h 1971408"/>
                <a:gd name="connsiteX33" fmla="*/ 890428 w 3087816"/>
                <a:gd name="connsiteY33" fmla="*/ 746433 h 1971408"/>
                <a:gd name="connsiteX34" fmla="*/ 950831 w 3087816"/>
                <a:gd name="connsiteY34" fmla="*/ 681752 h 1971408"/>
                <a:gd name="connsiteX35" fmla="*/ 1039046 w 3087816"/>
                <a:gd name="connsiteY35" fmla="*/ 664457 h 1971408"/>
                <a:gd name="connsiteX36" fmla="*/ 1082040 w 3087816"/>
                <a:gd name="connsiteY36" fmla="*/ 685471 h 1971408"/>
                <a:gd name="connsiteX37" fmla="*/ 1137549 w 3087816"/>
                <a:gd name="connsiteY37" fmla="*/ 632364 h 1971408"/>
                <a:gd name="connsiteX38" fmla="*/ 1191446 w 3087816"/>
                <a:gd name="connsiteY38" fmla="*/ 569325 h 1971408"/>
                <a:gd name="connsiteX39" fmla="*/ 1289884 w 3087816"/>
                <a:gd name="connsiteY39" fmla="*/ 590337 h 1971408"/>
                <a:gd name="connsiteX40" fmla="*/ 1463598 w 3087816"/>
                <a:gd name="connsiteY40" fmla="*/ 599804 h 1971408"/>
                <a:gd name="connsiteX41" fmla="*/ 1590411 w 3087816"/>
                <a:gd name="connsiteY41" fmla="*/ 639751 h 1971408"/>
                <a:gd name="connsiteX42" fmla="*/ 1653540 w 3087816"/>
                <a:gd name="connsiteY42" fmla="*/ 615045 h 1971408"/>
                <a:gd name="connsiteX43" fmla="*/ 1839703 w 3087816"/>
                <a:gd name="connsiteY43" fmla="*/ 613111 h 1971408"/>
                <a:gd name="connsiteX44" fmla="*/ 1883755 w 3087816"/>
                <a:gd name="connsiteY44" fmla="*/ 582632 h 1971408"/>
                <a:gd name="connsiteX45" fmla="*/ 1926193 w 3087816"/>
                <a:gd name="connsiteY45" fmla="*/ 500744 h 1971408"/>
                <a:gd name="connsiteX46" fmla="*/ 2035596 w 3087816"/>
                <a:gd name="connsiteY46" fmla="*/ 468465 h 1971408"/>
                <a:gd name="connsiteX47" fmla="*/ 2117454 w 3087816"/>
                <a:gd name="connsiteY47" fmla="*/ 380674 h 1971408"/>
                <a:gd name="connsiteX48" fmla="*/ 2272434 w 3087816"/>
                <a:gd name="connsiteY48" fmla="*/ 386446 h 1971408"/>
                <a:gd name="connsiteX49" fmla="*/ 2375830 w 3087816"/>
                <a:gd name="connsiteY49" fmla="*/ 388291 h 1971408"/>
                <a:gd name="connsiteX50" fmla="*/ 2482101 w 3087816"/>
                <a:gd name="connsiteY50" fmla="*/ 336871 h 1971408"/>
                <a:gd name="connsiteX51" fmla="*/ 2546342 w 3087816"/>
                <a:gd name="connsiteY51" fmla="*/ 283568 h 1971408"/>
                <a:gd name="connsiteX52" fmla="*/ 2659939 w 3087816"/>
                <a:gd name="connsiteY52" fmla="*/ 264525 h 1971408"/>
                <a:gd name="connsiteX53" fmla="*/ 2736138 w 3087816"/>
                <a:gd name="connsiteY53" fmla="*/ 203663 h 1971408"/>
                <a:gd name="connsiteX54" fmla="*/ 2850439 w 3087816"/>
                <a:gd name="connsiteY54" fmla="*/ 136929 h 1971408"/>
                <a:gd name="connsiteX55" fmla="*/ 2913567 w 3087816"/>
                <a:gd name="connsiteY55" fmla="*/ 68225 h 1971408"/>
                <a:gd name="connsiteX56" fmla="*/ 2958172 w 3087816"/>
                <a:gd name="connsiteY56" fmla="*/ 5445 h 1971408"/>
                <a:gd name="connsiteX57" fmla="*/ 3025698 w 3087816"/>
                <a:gd name="connsiteY57" fmla="*/ 11449 h 1971408"/>
                <a:gd name="connsiteX58" fmla="*/ 3087011 w 3087816"/>
                <a:gd name="connsiteY58" fmla="*/ 0 h 1971408"/>
                <a:gd name="connsiteX59" fmla="*/ 3087816 w 3087816"/>
                <a:gd name="connsiteY59" fmla="*/ 178579 h 1971408"/>
                <a:gd name="connsiteX0" fmla="*/ 3087816 w 3087816"/>
                <a:gd name="connsiteY0" fmla="*/ 201767 h 1994596"/>
                <a:gd name="connsiteX1" fmla="*/ 2977472 w 3087816"/>
                <a:gd name="connsiteY1" fmla="*/ 212296 h 1994596"/>
                <a:gd name="connsiteX2" fmla="*/ 2783928 w 3087816"/>
                <a:gd name="connsiteY2" fmla="*/ 321981 h 1994596"/>
                <a:gd name="connsiteX3" fmla="*/ 2593109 w 3087816"/>
                <a:gd name="connsiteY3" fmla="*/ 362391 h 1994596"/>
                <a:gd name="connsiteX4" fmla="*/ 2484070 w 3087816"/>
                <a:gd name="connsiteY4" fmla="*/ 472077 h 1994596"/>
                <a:gd name="connsiteX5" fmla="*/ 2375031 w 3087816"/>
                <a:gd name="connsiteY5" fmla="*/ 535576 h 1994596"/>
                <a:gd name="connsiteX6" fmla="*/ 2279623 w 3087816"/>
                <a:gd name="connsiteY6" fmla="*/ 633714 h 1994596"/>
                <a:gd name="connsiteX7" fmla="*/ 2094255 w 3087816"/>
                <a:gd name="connsiteY7" fmla="*/ 726083 h 1994596"/>
                <a:gd name="connsiteX8" fmla="*/ 1865273 w 3087816"/>
                <a:gd name="connsiteY8" fmla="*/ 772266 h 1994596"/>
                <a:gd name="connsiteX9" fmla="*/ 1690811 w 3087816"/>
                <a:gd name="connsiteY9" fmla="*/ 766493 h 1994596"/>
                <a:gd name="connsiteX10" fmla="*/ 1420940 w 3087816"/>
                <a:gd name="connsiteY10" fmla="*/ 922361 h 1994596"/>
                <a:gd name="connsiteX11" fmla="*/ 1287366 w 3087816"/>
                <a:gd name="connsiteY11" fmla="*/ 1089772 h 1994596"/>
                <a:gd name="connsiteX12" fmla="*/ 1183583 w 3087816"/>
                <a:gd name="connsiteY12" fmla="*/ 1204400 h 1994596"/>
                <a:gd name="connsiteX13" fmla="*/ 1096548 w 3087816"/>
                <a:gd name="connsiteY13" fmla="*/ 1257187 h 1994596"/>
                <a:gd name="connsiteX14" fmla="*/ 1022947 w 3087816"/>
                <a:gd name="connsiteY14" fmla="*/ 1326461 h 1994596"/>
                <a:gd name="connsiteX15" fmla="*/ 998412 w 3087816"/>
                <a:gd name="connsiteY15" fmla="*/ 1326461 h 1994596"/>
                <a:gd name="connsiteX16" fmla="*/ 946620 w 3087816"/>
                <a:gd name="connsiteY16" fmla="*/ 1338008 h 1994596"/>
                <a:gd name="connsiteX17" fmla="*/ 823950 w 3087816"/>
                <a:gd name="connsiteY17" fmla="*/ 1436144 h 1994596"/>
                <a:gd name="connsiteX18" fmla="*/ 698556 w 3087816"/>
                <a:gd name="connsiteY18" fmla="*/ 1436144 h 1994596"/>
                <a:gd name="connsiteX19" fmla="*/ 477752 w 3087816"/>
                <a:gd name="connsiteY19" fmla="*/ 1609331 h 1994596"/>
                <a:gd name="connsiteX20" fmla="*/ 303289 w 3087816"/>
                <a:gd name="connsiteY20" fmla="*/ 1776744 h 1994596"/>
                <a:gd name="connsiteX21" fmla="*/ 208672 w 3087816"/>
                <a:gd name="connsiteY21" fmla="*/ 1832025 h 1994596"/>
                <a:gd name="connsiteX22" fmla="*/ 81476 w 3087816"/>
                <a:gd name="connsiteY22" fmla="*/ 1951407 h 1994596"/>
                <a:gd name="connsiteX23" fmla="*/ 0 w 3087816"/>
                <a:gd name="connsiteY23" fmla="*/ 1994596 h 1994596"/>
                <a:gd name="connsiteX24" fmla="*/ 106122 w 3087816"/>
                <a:gd name="connsiteY24" fmla="*/ 1865053 h 1994596"/>
                <a:gd name="connsiteX25" fmla="*/ 186658 w 3087816"/>
                <a:gd name="connsiteY25" fmla="*/ 1830645 h 1994596"/>
                <a:gd name="connsiteX26" fmla="*/ 332554 w 3087816"/>
                <a:gd name="connsiteY26" fmla="*/ 1680327 h 1994596"/>
                <a:gd name="connsiteX27" fmla="*/ 424552 w 3087816"/>
                <a:gd name="connsiteY27" fmla="*/ 1602046 h 1994596"/>
                <a:gd name="connsiteX28" fmla="*/ 452805 w 3087816"/>
                <a:gd name="connsiteY28" fmla="*/ 1487980 h 1994596"/>
                <a:gd name="connsiteX29" fmla="*/ 543745 w 3087816"/>
                <a:gd name="connsiteY29" fmla="*/ 1346808 h 1994596"/>
                <a:gd name="connsiteX30" fmla="*/ 628063 w 3087816"/>
                <a:gd name="connsiteY30" fmla="*/ 1106931 h 1994596"/>
                <a:gd name="connsiteX31" fmla="*/ 704266 w 3087816"/>
                <a:gd name="connsiteY31" fmla="*/ 965895 h 1994596"/>
                <a:gd name="connsiteX32" fmla="*/ 834918 w 3087816"/>
                <a:gd name="connsiteY32" fmla="*/ 872375 h 1994596"/>
                <a:gd name="connsiteX33" fmla="*/ 890428 w 3087816"/>
                <a:gd name="connsiteY33" fmla="*/ 769621 h 1994596"/>
                <a:gd name="connsiteX34" fmla="*/ 950831 w 3087816"/>
                <a:gd name="connsiteY34" fmla="*/ 704940 h 1994596"/>
                <a:gd name="connsiteX35" fmla="*/ 1039046 w 3087816"/>
                <a:gd name="connsiteY35" fmla="*/ 687645 h 1994596"/>
                <a:gd name="connsiteX36" fmla="*/ 1082040 w 3087816"/>
                <a:gd name="connsiteY36" fmla="*/ 708659 h 1994596"/>
                <a:gd name="connsiteX37" fmla="*/ 1137549 w 3087816"/>
                <a:gd name="connsiteY37" fmla="*/ 655552 h 1994596"/>
                <a:gd name="connsiteX38" fmla="*/ 1191446 w 3087816"/>
                <a:gd name="connsiteY38" fmla="*/ 592513 h 1994596"/>
                <a:gd name="connsiteX39" fmla="*/ 1289884 w 3087816"/>
                <a:gd name="connsiteY39" fmla="*/ 613525 h 1994596"/>
                <a:gd name="connsiteX40" fmla="*/ 1463598 w 3087816"/>
                <a:gd name="connsiteY40" fmla="*/ 622992 h 1994596"/>
                <a:gd name="connsiteX41" fmla="*/ 1590411 w 3087816"/>
                <a:gd name="connsiteY41" fmla="*/ 662939 h 1994596"/>
                <a:gd name="connsiteX42" fmla="*/ 1653540 w 3087816"/>
                <a:gd name="connsiteY42" fmla="*/ 638233 h 1994596"/>
                <a:gd name="connsiteX43" fmla="*/ 1839703 w 3087816"/>
                <a:gd name="connsiteY43" fmla="*/ 636299 h 1994596"/>
                <a:gd name="connsiteX44" fmla="*/ 1883755 w 3087816"/>
                <a:gd name="connsiteY44" fmla="*/ 605820 h 1994596"/>
                <a:gd name="connsiteX45" fmla="*/ 1926193 w 3087816"/>
                <a:gd name="connsiteY45" fmla="*/ 523932 h 1994596"/>
                <a:gd name="connsiteX46" fmla="*/ 2035596 w 3087816"/>
                <a:gd name="connsiteY46" fmla="*/ 491653 h 1994596"/>
                <a:gd name="connsiteX47" fmla="*/ 2117454 w 3087816"/>
                <a:gd name="connsiteY47" fmla="*/ 403862 h 1994596"/>
                <a:gd name="connsiteX48" fmla="*/ 2272434 w 3087816"/>
                <a:gd name="connsiteY48" fmla="*/ 409634 h 1994596"/>
                <a:gd name="connsiteX49" fmla="*/ 2375830 w 3087816"/>
                <a:gd name="connsiteY49" fmla="*/ 411479 h 1994596"/>
                <a:gd name="connsiteX50" fmla="*/ 2482101 w 3087816"/>
                <a:gd name="connsiteY50" fmla="*/ 360059 h 1994596"/>
                <a:gd name="connsiteX51" fmla="*/ 2546342 w 3087816"/>
                <a:gd name="connsiteY51" fmla="*/ 306756 h 1994596"/>
                <a:gd name="connsiteX52" fmla="*/ 2659939 w 3087816"/>
                <a:gd name="connsiteY52" fmla="*/ 287713 h 1994596"/>
                <a:gd name="connsiteX53" fmla="*/ 2736138 w 3087816"/>
                <a:gd name="connsiteY53" fmla="*/ 226851 h 1994596"/>
                <a:gd name="connsiteX54" fmla="*/ 2850439 w 3087816"/>
                <a:gd name="connsiteY54" fmla="*/ 160117 h 1994596"/>
                <a:gd name="connsiteX55" fmla="*/ 2913567 w 3087816"/>
                <a:gd name="connsiteY55" fmla="*/ 91413 h 1994596"/>
                <a:gd name="connsiteX56" fmla="*/ 2958172 w 3087816"/>
                <a:gd name="connsiteY56" fmla="*/ 28633 h 1994596"/>
                <a:gd name="connsiteX57" fmla="*/ 3028424 w 3087816"/>
                <a:gd name="connsiteY57" fmla="*/ 0 h 1994596"/>
                <a:gd name="connsiteX58" fmla="*/ 3087011 w 3087816"/>
                <a:gd name="connsiteY58" fmla="*/ 23188 h 1994596"/>
                <a:gd name="connsiteX59" fmla="*/ 3087816 w 3087816"/>
                <a:gd name="connsiteY59" fmla="*/ 201767 h 1994596"/>
                <a:gd name="connsiteX0" fmla="*/ 3087816 w 3089758"/>
                <a:gd name="connsiteY0" fmla="*/ 207442 h 2000271"/>
                <a:gd name="connsiteX1" fmla="*/ 2977472 w 3089758"/>
                <a:gd name="connsiteY1" fmla="*/ 217971 h 2000271"/>
                <a:gd name="connsiteX2" fmla="*/ 2783928 w 3089758"/>
                <a:gd name="connsiteY2" fmla="*/ 327656 h 2000271"/>
                <a:gd name="connsiteX3" fmla="*/ 2593109 w 3089758"/>
                <a:gd name="connsiteY3" fmla="*/ 368066 h 2000271"/>
                <a:gd name="connsiteX4" fmla="*/ 2484070 w 3089758"/>
                <a:gd name="connsiteY4" fmla="*/ 477752 h 2000271"/>
                <a:gd name="connsiteX5" fmla="*/ 2375031 w 3089758"/>
                <a:gd name="connsiteY5" fmla="*/ 541251 h 2000271"/>
                <a:gd name="connsiteX6" fmla="*/ 2279623 w 3089758"/>
                <a:gd name="connsiteY6" fmla="*/ 639389 h 2000271"/>
                <a:gd name="connsiteX7" fmla="*/ 2094255 w 3089758"/>
                <a:gd name="connsiteY7" fmla="*/ 731758 h 2000271"/>
                <a:gd name="connsiteX8" fmla="*/ 1865273 w 3089758"/>
                <a:gd name="connsiteY8" fmla="*/ 777941 h 2000271"/>
                <a:gd name="connsiteX9" fmla="*/ 1690811 w 3089758"/>
                <a:gd name="connsiteY9" fmla="*/ 772168 h 2000271"/>
                <a:gd name="connsiteX10" fmla="*/ 1420940 w 3089758"/>
                <a:gd name="connsiteY10" fmla="*/ 928036 h 2000271"/>
                <a:gd name="connsiteX11" fmla="*/ 1287366 w 3089758"/>
                <a:gd name="connsiteY11" fmla="*/ 1095447 h 2000271"/>
                <a:gd name="connsiteX12" fmla="*/ 1183583 w 3089758"/>
                <a:gd name="connsiteY12" fmla="*/ 1210075 h 2000271"/>
                <a:gd name="connsiteX13" fmla="*/ 1096548 w 3089758"/>
                <a:gd name="connsiteY13" fmla="*/ 1262862 h 2000271"/>
                <a:gd name="connsiteX14" fmla="*/ 1022947 w 3089758"/>
                <a:gd name="connsiteY14" fmla="*/ 1332136 h 2000271"/>
                <a:gd name="connsiteX15" fmla="*/ 998412 w 3089758"/>
                <a:gd name="connsiteY15" fmla="*/ 1332136 h 2000271"/>
                <a:gd name="connsiteX16" fmla="*/ 946620 w 3089758"/>
                <a:gd name="connsiteY16" fmla="*/ 1343683 h 2000271"/>
                <a:gd name="connsiteX17" fmla="*/ 823950 w 3089758"/>
                <a:gd name="connsiteY17" fmla="*/ 1441819 h 2000271"/>
                <a:gd name="connsiteX18" fmla="*/ 698556 w 3089758"/>
                <a:gd name="connsiteY18" fmla="*/ 1441819 h 2000271"/>
                <a:gd name="connsiteX19" fmla="*/ 477752 w 3089758"/>
                <a:gd name="connsiteY19" fmla="*/ 1615006 h 2000271"/>
                <a:gd name="connsiteX20" fmla="*/ 303289 w 3089758"/>
                <a:gd name="connsiteY20" fmla="*/ 1782419 h 2000271"/>
                <a:gd name="connsiteX21" fmla="*/ 208672 w 3089758"/>
                <a:gd name="connsiteY21" fmla="*/ 1837700 h 2000271"/>
                <a:gd name="connsiteX22" fmla="*/ 81476 w 3089758"/>
                <a:gd name="connsiteY22" fmla="*/ 1957082 h 2000271"/>
                <a:gd name="connsiteX23" fmla="*/ 0 w 3089758"/>
                <a:gd name="connsiteY23" fmla="*/ 2000271 h 2000271"/>
                <a:gd name="connsiteX24" fmla="*/ 106122 w 3089758"/>
                <a:gd name="connsiteY24" fmla="*/ 1870728 h 2000271"/>
                <a:gd name="connsiteX25" fmla="*/ 186658 w 3089758"/>
                <a:gd name="connsiteY25" fmla="*/ 1836320 h 2000271"/>
                <a:gd name="connsiteX26" fmla="*/ 332554 w 3089758"/>
                <a:gd name="connsiteY26" fmla="*/ 1686002 h 2000271"/>
                <a:gd name="connsiteX27" fmla="*/ 424552 w 3089758"/>
                <a:gd name="connsiteY27" fmla="*/ 1607721 h 2000271"/>
                <a:gd name="connsiteX28" fmla="*/ 452805 w 3089758"/>
                <a:gd name="connsiteY28" fmla="*/ 1493655 h 2000271"/>
                <a:gd name="connsiteX29" fmla="*/ 543745 w 3089758"/>
                <a:gd name="connsiteY29" fmla="*/ 1352483 h 2000271"/>
                <a:gd name="connsiteX30" fmla="*/ 628063 w 3089758"/>
                <a:gd name="connsiteY30" fmla="*/ 1112606 h 2000271"/>
                <a:gd name="connsiteX31" fmla="*/ 704266 w 3089758"/>
                <a:gd name="connsiteY31" fmla="*/ 971570 h 2000271"/>
                <a:gd name="connsiteX32" fmla="*/ 834918 w 3089758"/>
                <a:gd name="connsiteY32" fmla="*/ 878050 h 2000271"/>
                <a:gd name="connsiteX33" fmla="*/ 890428 w 3089758"/>
                <a:gd name="connsiteY33" fmla="*/ 775296 h 2000271"/>
                <a:gd name="connsiteX34" fmla="*/ 950831 w 3089758"/>
                <a:gd name="connsiteY34" fmla="*/ 710615 h 2000271"/>
                <a:gd name="connsiteX35" fmla="*/ 1039046 w 3089758"/>
                <a:gd name="connsiteY35" fmla="*/ 693320 h 2000271"/>
                <a:gd name="connsiteX36" fmla="*/ 1082040 w 3089758"/>
                <a:gd name="connsiteY36" fmla="*/ 714334 h 2000271"/>
                <a:gd name="connsiteX37" fmla="*/ 1137549 w 3089758"/>
                <a:gd name="connsiteY37" fmla="*/ 661227 h 2000271"/>
                <a:gd name="connsiteX38" fmla="*/ 1191446 w 3089758"/>
                <a:gd name="connsiteY38" fmla="*/ 598188 h 2000271"/>
                <a:gd name="connsiteX39" fmla="*/ 1289884 w 3089758"/>
                <a:gd name="connsiteY39" fmla="*/ 619200 h 2000271"/>
                <a:gd name="connsiteX40" fmla="*/ 1463598 w 3089758"/>
                <a:gd name="connsiteY40" fmla="*/ 628667 h 2000271"/>
                <a:gd name="connsiteX41" fmla="*/ 1590411 w 3089758"/>
                <a:gd name="connsiteY41" fmla="*/ 668614 h 2000271"/>
                <a:gd name="connsiteX42" fmla="*/ 1653540 w 3089758"/>
                <a:gd name="connsiteY42" fmla="*/ 643908 h 2000271"/>
                <a:gd name="connsiteX43" fmla="*/ 1839703 w 3089758"/>
                <a:gd name="connsiteY43" fmla="*/ 641974 h 2000271"/>
                <a:gd name="connsiteX44" fmla="*/ 1883755 w 3089758"/>
                <a:gd name="connsiteY44" fmla="*/ 611495 h 2000271"/>
                <a:gd name="connsiteX45" fmla="*/ 1926193 w 3089758"/>
                <a:gd name="connsiteY45" fmla="*/ 529607 h 2000271"/>
                <a:gd name="connsiteX46" fmla="*/ 2035596 w 3089758"/>
                <a:gd name="connsiteY46" fmla="*/ 497328 h 2000271"/>
                <a:gd name="connsiteX47" fmla="*/ 2117454 w 3089758"/>
                <a:gd name="connsiteY47" fmla="*/ 409537 h 2000271"/>
                <a:gd name="connsiteX48" fmla="*/ 2272434 w 3089758"/>
                <a:gd name="connsiteY48" fmla="*/ 415309 h 2000271"/>
                <a:gd name="connsiteX49" fmla="*/ 2375830 w 3089758"/>
                <a:gd name="connsiteY49" fmla="*/ 417154 h 2000271"/>
                <a:gd name="connsiteX50" fmla="*/ 2482101 w 3089758"/>
                <a:gd name="connsiteY50" fmla="*/ 365734 h 2000271"/>
                <a:gd name="connsiteX51" fmla="*/ 2546342 w 3089758"/>
                <a:gd name="connsiteY51" fmla="*/ 312431 h 2000271"/>
                <a:gd name="connsiteX52" fmla="*/ 2659939 w 3089758"/>
                <a:gd name="connsiteY52" fmla="*/ 293388 h 2000271"/>
                <a:gd name="connsiteX53" fmla="*/ 2736138 w 3089758"/>
                <a:gd name="connsiteY53" fmla="*/ 232526 h 2000271"/>
                <a:gd name="connsiteX54" fmla="*/ 2850439 w 3089758"/>
                <a:gd name="connsiteY54" fmla="*/ 165792 h 2000271"/>
                <a:gd name="connsiteX55" fmla="*/ 2913567 w 3089758"/>
                <a:gd name="connsiteY55" fmla="*/ 97088 h 2000271"/>
                <a:gd name="connsiteX56" fmla="*/ 2958172 w 3089758"/>
                <a:gd name="connsiteY56" fmla="*/ 34308 h 2000271"/>
                <a:gd name="connsiteX57" fmla="*/ 3028424 w 3089758"/>
                <a:gd name="connsiteY57" fmla="*/ 5675 h 2000271"/>
                <a:gd name="connsiteX58" fmla="*/ 3089738 w 3089758"/>
                <a:gd name="connsiteY58" fmla="*/ 0 h 2000271"/>
                <a:gd name="connsiteX59" fmla="*/ 3087816 w 3089758"/>
                <a:gd name="connsiteY59" fmla="*/ 207442 h 2000271"/>
                <a:gd name="connsiteX0" fmla="*/ 3090542 w 3090542"/>
                <a:gd name="connsiteY0" fmla="*/ 230534 h 2000271"/>
                <a:gd name="connsiteX1" fmla="*/ 2977472 w 3090542"/>
                <a:gd name="connsiteY1" fmla="*/ 217971 h 2000271"/>
                <a:gd name="connsiteX2" fmla="*/ 2783928 w 3090542"/>
                <a:gd name="connsiteY2" fmla="*/ 327656 h 2000271"/>
                <a:gd name="connsiteX3" fmla="*/ 2593109 w 3090542"/>
                <a:gd name="connsiteY3" fmla="*/ 368066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65273 w 3090542"/>
                <a:gd name="connsiteY8" fmla="*/ 777941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03289 w 3090542"/>
                <a:gd name="connsiteY20" fmla="*/ 1782419 h 2000271"/>
                <a:gd name="connsiteX21" fmla="*/ 208672 w 3090542"/>
                <a:gd name="connsiteY21" fmla="*/ 1837700 h 2000271"/>
                <a:gd name="connsiteX22" fmla="*/ 81476 w 3090542"/>
                <a:gd name="connsiteY22" fmla="*/ 1957082 h 2000271"/>
                <a:gd name="connsiteX23" fmla="*/ 0 w 3090542"/>
                <a:gd name="connsiteY23" fmla="*/ 2000271 h 2000271"/>
                <a:gd name="connsiteX24" fmla="*/ 106122 w 3090542"/>
                <a:gd name="connsiteY24" fmla="*/ 1870728 h 2000271"/>
                <a:gd name="connsiteX25" fmla="*/ 186658 w 3090542"/>
                <a:gd name="connsiteY25" fmla="*/ 1836320 h 2000271"/>
                <a:gd name="connsiteX26" fmla="*/ 332554 w 3090542"/>
                <a:gd name="connsiteY26" fmla="*/ 1686002 h 2000271"/>
                <a:gd name="connsiteX27" fmla="*/ 424552 w 3090542"/>
                <a:gd name="connsiteY27" fmla="*/ 1607721 h 2000271"/>
                <a:gd name="connsiteX28" fmla="*/ 452805 w 3090542"/>
                <a:gd name="connsiteY28" fmla="*/ 1493655 h 2000271"/>
                <a:gd name="connsiteX29" fmla="*/ 543745 w 3090542"/>
                <a:gd name="connsiteY29" fmla="*/ 1352483 h 2000271"/>
                <a:gd name="connsiteX30" fmla="*/ 628063 w 3090542"/>
                <a:gd name="connsiteY30" fmla="*/ 1112606 h 2000271"/>
                <a:gd name="connsiteX31" fmla="*/ 704266 w 3090542"/>
                <a:gd name="connsiteY31" fmla="*/ 971570 h 2000271"/>
                <a:gd name="connsiteX32" fmla="*/ 834918 w 3090542"/>
                <a:gd name="connsiteY32" fmla="*/ 878050 h 2000271"/>
                <a:gd name="connsiteX33" fmla="*/ 890428 w 3090542"/>
                <a:gd name="connsiteY33" fmla="*/ 775296 h 2000271"/>
                <a:gd name="connsiteX34" fmla="*/ 950831 w 3090542"/>
                <a:gd name="connsiteY34" fmla="*/ 710615 h 2000271"/>
                <a:gd name="connsiteX35" fmla="*/ 1039046 w 3090542"/>
                <a:gd name="connsiteY35" fmla="*/ 693320 h 2000271"/>
                <a:gd name="connsiteX36" fmla="*/ 1082040 w 3090542"/>
                <a:gd name="connsiteY36" fmla="*/ 714334 h 2000271"/>
                <a:gd name="connsiteX37" fmla="*/ 1137549 w 3090542"/>
                <a:gd name="connsiteY37" fmla="*/ 661227 h 2000271"/>
                <a:gd name="connsiteX38" fmla="*/ 1191446 w 3090542"/>
                <a:gd name="connsiteY38" fmla="*/ 598188 h 2000271"/>
                <a:gd name="connsiteX39" fmla="*/ 1289884 w 3090542"/>
                <a:gd name="connsiteY39" fmla="*/ 619200 h 2000271"/>
                <a:gd name="connsiteX40" fmla="*/ 1463598 w 3090542"/>
                <a:gd name="connsiteY40" fmla="*/ 628667 h 2000271"/>
                <a:gd name="connsiteX41" fmla="*/ 1590411 w 3090542"/>
                <a:gd name="connsiteY41" fmla="*/ 66861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13567 w 3090542"/>
                <a:gd name="connsiteY55" fmla="*/ 97088 h 2000271"/>
                <a:gd name="connsiteX56" fmla="*/ 2958172 w 3090542"/>
                <a:gd name="connsiteY56" fmla="*/ 34308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93109 w 3090542"/>
                <a:gd name="connsiteY3" fmla="*/ 368066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65273 w 3090542"/>
                <a:gd name="connsiteY8" fmla="*/ 777941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03289 w 3090542"/>
                <a:gd name="connsiteY20" fmla="*/ 1782419 h 2000271"/>
                <a:gd name="connsiteX21" fmla="*/ 208672 w 3090542"/>
                <a:gd name="connsiteY21" fmla="*/ 1837700 h 2000271"/>
                <a:gd name="connsiteX22" fmla="*/ 81476 w 3090542"/>
                <a:gd name="connsiteY22" fmla="*/ 1957082 h 2000271"/>
                <a:gd name="connsiteX23" fmla="*/ 0 w 3090542"/>
                <a:gd name="connsiteY23" fmla="*/ 2000271 h 2000271"/>
                <a:gd name="connsiteX24" fmla="*/ 106122 w 3090542"/>
                <a:gd name="connsiteY24" fmla="*/ 1870728 h 2000271"/>
                <a:gd name="connsiteX25" fmla="*/ 186658 w 3090542"/>
                <a:gd name="connsiteY25" fmla="*/ 1836320 h 2000271"/>
                <a:gd name="connsiteX26" fmla="*/ 332554 w 3090542"/>
                <a:gd name="connsiteY26" fmla="*/ 1686002 h 2000271"/>
                <a:gd name="connsiteX27" fmla="*/ 424552 w 3090542"/>
                <a:gd name="connsiteY27" fmla="*/ 1607721 h 2000271"/>
                <a:gd name="connsiteX28" fmla="*/ 452805 w 3090542"/>
                <a:gd name="connsiteY28" fmla="*/ 1493655 h 2000271"/>
                <a:gd name="connsiteX29" fmla="*/ 543745 w 3090542"/>
                <a:gd name="connsiteY29" fmla="*/ 1352483 h 2000271"/>
                <a:gd name="connsiteX30" fmla="*/ 628063 w 3090542"/>
                <a:gd name="connsiteY30" fmla="*/ 1112606 h 2000271"/>
                <a:gd name="connsiteX31" fmla="*/ 704266 w 3090542"/>
                <a:gd name="connsiteY31" fmla="*/ 971570 h 2000271"/>
                <a:gd name="connsiteX32" fmla="*/ 834918 w 3090542"/>
                <a:gd name="connsiteY32" fmla="*/ 878050 h 2000271"/>
                <a:gd name="connsiteX33" fmla="*/ 890428 w 3090542"/>
                <a:gd name="connsiteY33" fmla="*/ 775296 h 2000271"/>
                <a:gd name="connsiteX34" fmla="*/ 950831 w 3090542"/>
                <a:gd name="connsiteY34" fmla="*/ 710615 h 2000271"/>
                <a:gd name="connsiteX35" fmla="*/ 1039046 w 3090542"/>
                <a:gd name="connsiteY35" fmla="*/ 693320 h 2000271"/>
                <a:gd name="connsiteX36" fmla="*/ 1082040 w 3090542"/>
                <a:gd name="connsiteY36" fmla="*/ 714334 h 2000271"/>
                <a:gd name="connsiteX37" fmla="*/ 1137549 w 3090542"/>
                <a:gd name="connsiteY37" fmla="*/ 661227 h 2000271"/>
                <a:gd name="connsiteX38" fmla="*/ 1191446 w 3090542"/>
                <a:gd name="connsiteY38" fmla="*/ 598188 h 2000271"/>
                <a:gd name="connsiteX39" fmla="*/ 1289884 w 3090542"/>
                <a:gd name="connsiteY39" fmla="*/ 619200 h 2000271"/>
                <a:gd name="connsiteX40" fmla="*/ 1463598 w 3090542"/>
                <a:gd name="connsiteY40" fmla="*/ 628667 h 2000271"/>
                <a:gd name="connsiteX41" fmla="*/ 1590411 w 3090542"/>
                <a:gd name="connsiteY41" fmla="*/ 66861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13567 w 3090542"/>
                <a:gd name="connsiteY55" fmla="*/ 97088 h 2000271"/>
                <a:gd name="connsiteX56" fmla="*/ 2958172 w 3090542"/>
                <a:gd name="connsiteY56" fmla="*/ 34308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65273 w 3090542"/>
                <a:gd name="connsiteY8" fmla="*/ 777941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03289 w 3090542"/>
                <a:gd name="connsiteY20" fmla="*/ 1782419 h 2000271"/>
                <a:gd name="connsiteX21" fmla="*/ 208672 w 3090542"/>
                <a:gd name="connsiteY21" fmla="*/ 1837700 h 2000271"/>
                <a:gd name="connsiteX22" fmla="*/ 81476 w 3090542"/>
                <a:gd name="connsiteY22" fmla="*/ 1957082 h 2000271"/>
                <a:gd name="connsiteX23" fmla="*/ 0 w 3090542"/>
                <a:gd name="connsiteY23" fmla="*/ 2000271 h 2000271"/>
                <a:gd name="connsiteX24" fmla="*/ 106122 w 3090542"/>
                <a:gd name="connsiteY24" fmla="*/ 1870728 h 2000271"/>
                <a:gd name="connsiteX25" fmla="*/ 186658 w 3090542"/>
                <a:gd name="connsiteY25" fmla="*/ 1836320 h 2000271"/>
                <a:gd name="connsiteX26" fmla="*/ 332554 w 3090542"/>
                <a:gd name="connsiteY26" fmla="*/ 1686002 h 2000271"/>
                <a:gd name="connsiteX27" fmla="*/ 424552 w 3090542"/>
                <a:gd name="connsiteY27" fmla="*/ 1607721 h 2000271"/>
                <a:gd name="connsiteX28" fmla="*/ 452805 w 3090542"/>
                <a:gd name="connsiteY28" fmla="*/ 1493655 h 2000271"/>
                <a:gd name="connsiteX29" fmla="*/ 543745 w 3090542"/>
                <a:gd name="connsiteY29" fmla="*/ 1352483 h 2000271"/>
                <a:gd name="connsiteX30" fmla="*/ 628063 w 3090542"/>
                <a:gd name="connsiteY30" fmla="*/ 1112606 h 2000271"/>
                <a:gd name="connsiteX31" fmla="*/ 704266 w 3090542"/>
                <a:gd name="connsiteY31" fmla="*/ 971570 h 2000271"/>
                <a:gd name="connsiteX32" fmla="*/ 834918 w 3090542"/>
                <a:gd name="connsiteY32" fmla="*/ 878050 h 2000271"/>
                <a:gd name="connsiteX33" fmla="*/ 890428 w 3090542"/>
                <a:gd name="connsiteY33" fmla="*/ 775296 h 2000271"/>
                <a:gd name="connsiteX34" fmla="*/ 950831 w 3090542"/>
                <a:gd name="connsiteY34" fmla="*/ 710615 h 2000271"/>
                <a:gd name="connsiteX35" fmla="*/ 1039046 w 3090542"/>
                <a:gd name="connsiteY35" fmla="*/ 693320 h 2000271"/>
                <a:gd name="connsiteX36" fmla="*/ 1082040 w 3090542"/>
                <a:gd name="connsiteY36" fmla="*/ 714334 h 2000271"/>
                <a:gd name="connsiteX37" fmla="*/ 1137549 w 3090542"/>
                <a:gd name="connsiteY37" fmla="*/ 661227 h 2000271"/>
                <a:gd name="connsiteX38" fmla="*/ 1191446 w 3090542"/>
                <a:gd name="connsiteY38" fmla="*/ 598188 h 2000271"/>
                <a:gd name="connsiteX39" fmla="*/ 1289884 w 3090542"/>
                <a:gd name="connsiteY39" fmla="*/ 619200 h 2000271"/>
                <a:gd name="connsiteX40" fmla="*/ 1463598 w 3090542"/>
                <a:gd name="connsiteY40" fmla="*/ 628667 h 2000271"/>
                <a:gd name="connsiteX41" fmla="*/ 1590411 w 3090542"/>
                <a:gd name="connsiteY41" fmla="*/ 66861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13567 w 3090542"/>
                <a:gd name="connsiteY55" fmla="*/ 97088 h 2000271"/>
                <a:gd name="connsiteX56" fmla="*/ 2958172 w 3090542"/>
                <a:gd name="connsiteY56" fmla="*/ 34308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03289 w 3090542"/>
                <a:gd name="connsiteY20" fmla="*/ 1782419 h 2000271"/>
                <a:gd name="connsiteX21" fmla="*/ 208672 w 3090542"/>
                <a:gd name="connsiteY21" fmla="*/ 1837700 h 2000271"/>
                <a:gd name="connsiteX22" fmla="*/ 81476 w 3090542"/>
                <a:gd name="connsiteY22" fmla="*/ 1957082 h 2000271"/>
                <a:gd name="connsiteX23" fmla="*/ 0 w 3090542"/>
                <a:gd name="connsiteY23" fmla="*/ 2000271 h 2000271"/>
                <a:gd name="connsiteX24" fmla="*/ 106122 w 3090542"/>
                <a:gd name="connsiteY24" fmla="*/ 1870728 h 2000271"/>
                <a:gd name="connsiteX25" fmla="*/ 186658 w 3090542"/>
                <a:gd name="connsiteY25" fmla="*/ 1836320 h 2000271"/>
                <a:gd name="connsiteX26" fmla="*/ 332554 w 3090542"/>
                <a:gd name="connsiteY26" fmla="*/ 1686002 h 2000271"/>
                <a:gd name="connsiteX27" fmla="*/ 424552 w 3090542"/>
                <a:gd name="connsiteY27" fmla="*/ 1607721 h 2000271"/>
                <a:gd name="connsiteX28" fmla="*/ 452805 w 3090542"/>
                <a:gd name="connsiteY28" fmla="*/ 1493655 h 2000271"/>
                <a:gd name="connsiteX29" fmla="*/ 543745 w 3090542"/>
                <a:gd name="connsiteY29" fmla="*/ 1352483 h 2000271"/>
                <a:gd name="connsiteX30" fmla="*/ 628063 w 3090542"/>
                <a:gd name="connsiteY30" fmla="*/ 1112606 h 2000271"/>
                <a:gd name="connsiteX31" fmla="*/ 704266 w 3090542"/>
                <a:gd name="connsiteY31" fmla="*/ 971570 h 2000271"/>
                <a:gd name="connsiteX32" fmla="*/ 834918 w 3090542"/>
                <a:gd name="connsiteY32" fmla="*/ 878050 h 2000271"/>
                <a:gd name="connsiteX33" fmla="*/ 890428 w 3090542"/>
                <a:gd name="connsiteY33" fmla="*/ 775296 h 2000271"/>
                <a:gd name="connsiteX34" fmla="*/ 950831 w 3090542"/>
                <a:gd name="connsiteY34" fmla="*/ 710615 h 2000271"/>
                <a:gd name="connsiteX35" fmla="*/ 1039046 w 3090542"/>
                <a:gd name="connsiteY35" fmla="*/ 693320 h 2000271"/>
                <a:gd name="connsiteX36" fmla="*/ 1082040 w 3090542"/>
                <a:gd name="connsiteY36" fmla="*/ 714334 h 2000271"/>
                <a:gd name="connsiteX37" fmla="*/ 1137549 w 3090542"/>
                <a:gd name="connsiteY37" fmla="*/ 661227 h 2000271"/>
                <a:gd name="connsiteX38" fmla="*/ 1191446 w 3090542"/>
                <a:gd name="connsiteY38" fmla="*/ 598188 h 2000271"/>
                <a:gd name="connsiteX39" fmla="*/ 1289884 w 3090542"/>
                <a:gd name="connsiteY39" fmla="*/ 619200 h 2000271"/>
                <a:gd name="connsiteX40" fmla="*/ 1463598 w 3090542"/>
                <a:gd name="connsiteY40" fmla="*/ 628667 h 2000271"/>
                <a:gd name="connsiteX41" fmla="*/ 1590411 w 3090542"/>
                <a:gd name="connsiteY41" fmla="*/ 66861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13567 w 3090542"/>
                <a:gd name="connsiteY55" fmla="*/ 97088 h 2000271"/>
                <a:gd name="connsiteX56" fmla="*/ 2958172 w 3090542"/>
                <a:gd name="connsiteY56" fmla="*/ 34308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03289 w 3090542"/>
                <a:gd name="connsiteY20" fmla="*/ 1782419 h 2000271"/>
                <a:gd name="connsiteX21" fmla="*/ 208672 w 3090542"/>
                <a:gd name="connsiteY21" fmla="*/ 1837700 h 2000271"/>
                <a:gd name="connsiteX22" fmla="*/ 81476 w 3090542"/>
                <a:gd name="connsiteY22" fmla="*/ 1957082 h 2000271"/>
                <a:gd name="connsiteX23" fmla="*/ 0 w 3090542"/>
                <a:gd name="connsiteY23" fmla="*/ 2000271 h 2000271"/>
                <a:gd name="connsiteX24" fmla="*/ 106122 w 3090542"/>
                <a:gd name="connsiteY24" fmla="*/ 1870728 h 2000271"/>
                <a:gd name="connsiteX25" fmla="*/ 186658 w 3090542"/>
                <a:gd name="connsiteY25" fmla="*/ 1836320 h 2000271"/>
                <a:gd name="connsiteX26" fmla="*/ 332554 w 3090542"/>
                <a:gd name="connsiteY26" fmla="*/ 1686002 h 2000271"/>
                <a:gd name="connsiteX27" fmla="*/ 424552 w 3090542"/>
                <a:gd name="connsiteY27" fmla="*/ 1607721 h 2000271"/>
                <a:gd name="connsiteX28" fmla="*/ 452805 w 3090542"/>
                <a:gd name="connsiteY28" fmla="*/ 1493655 h 2000271"/>
                <a:gd name="connsiteX29" fmla="*/ 543745 w 3090542"/>
                <a:gd name="connsiteY29" fmla="*/ 1352483 h 2000271"/>
                <a:gd name="connsiteX30" fmla="*/ 628063 w 3090542"/>
                <a:gd name="connsiteY30" fmla="*/ 1112606 h 2000271"/>
                <a:gd name="connsiteX31" fmla="*/ 704266 w 3090542"/>
                <a:gd name="connsiteY31" fmla="*/ 971570 h 2000271"/>
                <a:gd name="connsiteX32" fmla="*/ 834918 w 3090542"/>
                <a:gd name="connsiteY32" fmla="*/ 878050 h 2000271"/>
                <a:gd name="connsiteX33" fmla="*/ 890428 w 3090542"/>
                <a:gd name="connsiteY33" fmla="*/ 775296 h 2000271"/>
                <a:gd name="connsiteX34" fmla="*/ 950831 w 3090542"/>
                <a:gd name="connsiteY34" fmla="*/ 710615 h 2000271"/>
                <a:gd name="connsiteX35" fmla="*/ 1039046 w 3090542"/>
                <a:gd name="connsiteY35" fmla="*/ 693320 h 2000271"/>
                <a:gd name="connsiteX36" fmla="*/ 1082040 w 3090542"/>
                <a:gd name="connsiteY36" fmla="*/ 714334 h 2000271"/>
                <a:gd name="connsiteX37" fmla="*/ 1137549 w 3090542"/>
                <a:gd name="connsiteY37" fmla="*/ 661227 h 2000271"/>
                <a:gd name="connsiteX38" fmla="*/ 1191446 w 3090542"/>
                <a:gd name="connsiteY38" fmla="*/ 598188 h 2000271"/>
                <a:gd name="connsiteX39" fmla="*/ 1289884 w 3090542"/>
                <a:gd name="connsiteY39" fmla="*/ 619200 h 2000271"/>
                <a:gd name="connsiteX40" fmla="*/ 1463598 w 3090542"/>
                <a:gd name="connsiteY40" fmla="*/ 628667 h 2000271"/>
                <a:gd name="connsiteX41" fmla="*/ 1590411 w 3090542"/>
                <a:gd name="connsiteY41" fmla="*/ 66861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29923 w 3090542"/>
                <a:gd name="connsiteY55" fmla="*/ 108633 h 2000271"/>
                <a:gd name="connsiteX56" fmla="*/ 2958172 w 3090542"/>
                <a:gd name="connsiteY56" fmla="*/ 34308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03289 w 3090542"/>
                <a:gd name="connsiteY20" fmla="*/ 1782419 h 2000271"/>
                <a:gd name="connsiteX21" fmla="*/ 208672 w 3090542"/>
                <a:gd name="connsiteY21" fmla="*/ 1837700 h 2000271"/>
                <a:gd name="connsiteX22" fmla="*/ 81476 w 3090542"/>
                <a:gd name="connsiteY22" fmla="*/ 1957082 h 2000271"/>
                <a:gd name="connsiteX23" fmla="*/ 0 w 3090542"/>
                <a:gd name="connsiteY23" fmla="*/ 2000271 h 2000271"/>
                <a:gd name="connsiteX24" fmla="*/ 106122 w 3090542"/>
                <a:gd name="connsiteY24" fmla="*/ 1870728 h 2000271"/>
                <a:gd name="connsiteX25" fmla="*/ 186658 w 3090542"/>
                <a:gd name="connsiteY25" fmla="*/ 1836320 h 2000271"/>
                <a:gd name="connsiteX26" fmla="*/ 332554 w 3090542"/>
                <a:gd name="connsiteY26" fmla="*/ 1686002 h 2000271"/>
                <a:gd name="connsiteX27" fmla="*/ 424552 w 3090542"/>
                <a:gd name="connsiteY27" fmla="*/ 1607721 h 2000271"/>
                <a:gd name="connsiteX28" fmla="*/ 452805 w 3090542"/>
                <a:gd name="connsiteY28" fmla="*/ 1493655 h 2000271"/>
                <a:gd name="connsiteX29" fmla="*/ 543745 w 3090542"/>
                <a:gd name="connsiteY29" fmla="*/ 1352483 h 2000271"/>
                <a:gd name="connsiteX30" fmla="*/ 628063 w 3090542"/>
                <a:gd name="connsiteY30" fmla="*/ 1112606 h 2000271"/>
                <a:gd name="connsiteX31" fmla="*/ 704266 w 3090542"/>
                <a:gd name="connsiteY31" fmla="*/ 971570 h 2000271"/>
                <a:gd name="connsiteX32" fmla="*/ 834918 w 3090542"/>
                <a:gd name="connsiteY32" fmla="*/ 878050 h 2000271"/>
                <a:gd name="connsiteX33" fmla="*/ 890428 w 3090542"/>
                <a:gd name="connsiteY33" fmla="*/ 775296 h 2000271"/>
                <a:gd name="connsiteX34" fmla="*/ 950831 w 3090542"/>
                <a:gd name="connsiteY34" fmla="*/ 710615 h 2000271"/>
                <a:gd name="connsiteX35" fmla="*/ 1039046 w 3090542"/>
                <a:gd name="connsiteY35" fmla="*/ 693320 h 2000271"/>
                <a:gd name="connsiteX36" fmla="*/ 1082040 w 3090542"/>
                <a:gd name="connsiteY36" fmla="*/ 714334 h 2000271"/>
                <a:gd name="connsiteX37" fmla="*/ 1137549 w 3090542"/>
                <a:gd name="connsiteY37" fmla="*/ 661227 h 2000271"/>
                <a:gd name="connsiteX38" fmla="*/ 1191446 w 3090542"/>
                <a:gd name="connsiteY38" fmla="*/ 598188 h 2000271"/>
                <a:gd name="connsiteX39" fmla="*/ 1289884 w 3090542"/>
                <a:gd name="connsiteY39" fmla="*/ 619200 h 2000271"/>
                <a:gd name="connsiteX40" fmla="*/ 1463598 w 3090542"/>
                <a:gd name="connsiteY40" fmla="*/ 628667 h 2000271"/>
                <a:gd name="connsiteX41" fmla="*/ 1590411 w 3090542"/>
                <a:gd name="connsiteY41" fmla="*/ 66861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29923 w 3090542"/>
                <a:gd name="connsiteY55" fmla="*/ 108633 h 2000271"/>
                <a:gd name="connsiteX56" fmla="*/ 2966351 w 3090542"/>
                <a:gd name="connsiteY56" fmla="*/ 45853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4918 w 3090542"/>
                <a:gd name="connsiteY33" fmla="*/ 878050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693320 h 2000271"/>
                <a:gd name="connsiteX37" fmla="*/ 1082040 w 3090542"/>
                <a:gd name="connsiteY37" fmla="*/ 714334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8556 w 3090542"/>
                <a:gd name="connsiteY18" fmla="*/ 1441819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4918 w 3090542"/>
                <a:gd name="connsiteY33" fmla="*/ 878050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693320 h 2000271"/>
                <a:gd name="connsiteX37" fmla="*/ 1082040 w 3090542"/>
                <a:gd name="connsiteY37" fmla="*/ 714334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87652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4918 w 3090542"/>
                <a:gd name="connsiteY33" fmla="*/ 878050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693320 h 2000271"/>
                <a:gd name="connsiteX37" fmla="*/ 1082040 w 3090542"/>
                <a:gd name="connsiteY37" fmla="*/ 714334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87652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693320 h 2000271"/>
                <a:gd name="connsiteX37" fmla="*/ 1082040 w 3090542"/>
                <a:gd name="connsiteY37" fmla="*/ 714334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693320 h 2000271"/>
                <a:gd name="connsiteX37" fmla="*/ 1082040 w 3090542"/>
                <a:gd name="connsiteY37" fmla="*/ 714334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14334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90411 w 3090542"/>
                <a:gd name="connsiteY42" fmla="*/ 66861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463598 w 3090542"/>
                <a:gd name="connsiteY41" fmla="*/ 628667 h 2000271"/>
                <a:gd name="connsiteX42" fmla="*/ 1587685 w 3090542"/>
                <a:gd name="connsiteY42" fmla="*/ 685934 h 2000271"/>
                <a:gd name="connsiteX43" fmla="*/ 1653540 w 3090542"/>
                <a:gd name="connsiteY43" fmla="*/ 643908 h 2000271"/>
                <a:gd name="connsiteX44" fmla="*/ 1839703 w 3090542"/>
                <a:gd name="connsiteY44" fmla="*/ 641974 h 2000271"/>
                <a:gd name="connsiteX45" fmla="*/ 1883755 w 3090542"/>
                <a:gd name="connsiteY45" fmla="*/ 611495 h 2000271"/>
                <a:gd name="connsiteX46" fmla="*/ 1926193 w 3090542"/>
                <a:gd name="connsiteY46" fmla="*/ 529607 h 2000271"/>
                <a:gd name="connsiteX47" fmla="*/ 2035596 w 3090542"/>
                <a:gd name="connsiteY47" fmla="*/ 497328 h 2000271"/>
                <a:gd name="connsiteX48" fmla="*/ 2117454 w 3090542"/>
                <a:gd name="connsiteY48" fmla="*/ 409537 h 2000271"/>
                <a:gd name="connsiteX49" fmla="*/ 2272434 w 3090542"/>
                <a:gd name="connsiteY49" fmla="*/ 415309 h 2000271"/>
                <a:gd name="connsiteX50" fmla="*/ 2375830 w 3090542"/>
                <a:gd name="connsiteY50" fmla="*/ 417154 h 2000271"/>
                <a:gd name="connsiteX51" fmla="*/ 2482101 w 3090542"/>
                <a:gd name="connsiteY51" fmla="*/ 365734 h 2000271"/>
                <a:gd name="connsiteX52" fmla="*/ 2546342 w 3090542"/>
                <a:gd name="connsiteY52" fmla="*/ 312431 h 2000271"/>
                <a:gd name="connsiteX53" fmla="*/ 2659939 w 3090542"/>
                <a:gd name="connsiteY53" fmla="*/ 293388 h 2000271"/>
                <a:gd name="connsiteX54" fmla="*/ 2736138 w 3090542"/>
                <a:gd name="connsiteY54" fmla="*/ 232526 h 2000271"/>
                <a:gd name="connsiteX55" fmla="*/ 2850439 w 3090542"/>
                <a:gd name="connsiteY55" fmla="*/ 165792 h 2000271"/>
                <a:gd name="connsiteX56" fmla="*/ 2929923 w 3090542"/>
                <a:gd name="connsiteY56" fmla="*/ 108633 h 2000271"/>
                <a:gd name="connsiteX57" fmla="*/ 2966351 w 3090542"/>
                <a:gd name="connsiteY57" fmla="*/ 45853 h 2000271"/>
                <a:gd name="connsiteX58" fmla="*/ 3028424 w 3090542"/>
                <a:gd name="connsiteY58" fmla="*/ 5675 h 2000271"/>
                <a:gd name="connsiteX59" fmla="*/ 3089738 w 3090542"/>
                <a:gd name="connsiteY59" fmla="*/ 0 h 2000271"/>
                <a:gd name="connsiteX60" fmla="*/ 3090542 w 3090542"/>
                <a:gd name="connsiteY6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587685 w 3090542"/>
                <a:gd name="connsiteY41" fmla="*/ 685934 h 2000271"/>
                <a:gd name="connsiteX42" fmla="*/ 1653540 w 3090542"/>
                <a:gd name="connsiteY42" fmla="*/ 643908 h 2000271"/>
                <a:gd name="connsiteX43" fmla="*/ 1839703 w 3090542"/>
                <a:gd name="connsiteY43" fmla="*/ 641974 h 2000271"/>
                <a:gd name="connsiteX44" fmla="*/ 1883755 w 3090542"/>
                <a:gd name="connsiteY44" fmla="*/ 611495 h 2000271"/>
                <a:gd name="connsiteX45" fmla="*/ 1926193 w 3090542"/>
                <a:gd name="connsiteY45" fmla="*/ 529607 h 2000271"/>
                <a:gd name="connsiteX46" fmla="*/ 2035596 w 3090542"/>
                <a:gd name="connsiteY46" fmla="*/ 497328 h 2000271"/>
                <a:gd name="connsiteX47" fmla="*/ 2117454 w 3090542"/>
                <a:gd name="connsiteY47" fmla="*/ 409537 h 2000271"/>
                <a:gd name="connsiteX48" fmla="*/ 2272434 w 3090542"/>
                <a:gd name="connsiteY48" fmla="*/ 415309 h 2000271"/>
                <a:gd name="connsiteX49" fmla="*/ 2375830 w 3090542"/>
                <a:gd name="connsiteY49" fmla="*/ 417154 h 2000271"/>
                <a:gd name="connsiteX50" fmla="*/ 2482101 w 3090542"/>
                <a:gd name="connsiteY50" fmla="*/ 365734 h 2000271"/>
                <a:gd name="connsiteX51" fmla="*/ 2546342 w 3090542"/>
                <a:gd name="connsiteY51" fmla="*/ 312431 h 2000271"/>
                <a:gd name="connsiteX52" fmla="*/ 2659939 w 3090542"/>
                <a:gd name="connsiteY52" fmla="*/ 293388 h 2000271"/>
                <a:gd name="connsiteX53" fmla="*/ 2736138 w 3090542"/>
                <a:gd name="connsiteY53" fmla="*/ 232526 h 2000271"/>
                <a:gd name="connsiteX54" fmla="*/ 2850439 w 3090542"/>
                <a:gd name="connsiteY54" fmla="*/ 165792 h 2000271"/>
                <a:gd name="connsiteX55" fmla="*/ 2929923 w 3090542"/>
                <a:gd name="connsiteY55" fmla="*/ 108633 h 2000271"/>
                <a:gd name="connsiteX56" fmla="*/ 2966351 w 3090542"/>
                <a:gd name="connsiteY56" fmla="*/ 45853 h 2000271"/>
                <a:gd name="connsiteX57" fmla="*/ 3028424 w 3090542"/>
                <a:gd name="connsiteY57" fmla="*/ 5675 h 2000271"/>
                <a:gd name="connsiteX58" fmla="*/ 3089738 w 3090542"/>
                <a:gd name="connsiteY58" fmla="*/ 0 h 2000271"/>
                <a:gd name="connsiteX59" fmla="*/ 3090542 w 3090542"/>
                <a:gd name="connsiteY5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653540 w 3090542"/>
                <a:gd name="connsiteY41" fmla="*/ 643908 h 2000271"/>
                <a:gd name="connsiteX42" fmla="*/ 1839703 w 3090542"/>
                <a:gd name="connsiteY42" fmla="*/ 641974 h 2000271"/>
                <a:gd name="connsiteX43" fmla="*/ 1883755 w 3090542"/>
                <a:gd name="connsiteY43" fmla="*/ 611495 h 2000271"/>
                <a:gd name="connsiteX44" fmla="*/ 1926193 w 3090542"/>
                <a:gd name="connsiteY44" fmla="*/ 529607 h 2000271"/>
                <a:gd name="connsiteX45" fmla="*/ 2035596 w 3090542"/>
                <a:gd name="connsiteY45" fmla="*/ 497328 h 2000271"/>
                <a:gd name="connsiteX46" fmla="*/ 2117454 w 3090542"/>
                <a:gd name="connsiteY46" fmla="*/ 409537 h 2000271"/>
                <a:gd name="connsiteX47" fmla="*/ 2272434 w 3090542"/>
                <a:gd name="connsiteY47" fmla="*/ 415309 h 2000271"/>
                <a:gd name="connsiteX48" fmla="*/ 2375830 w 3090542"/>
                <a:gd name="connsiteY48" fmla="*/ 417154 h 2000271"/>
                <a:gd name="connsiteX49" fmla="*/ 2482101 w 3090542"/>
                <a:gd name="connsiteY49" fmla="*/ 365734 h 2000271"/>
                <a:gd name="connsiteX50" fmla="*/ 2546342 w 3090542"/>
                <a:gd name="connsiteY50" fmla="*/ 312431 h 2000271"/>
                <a:gd name="connsiteX51" fmla="*/ 2659939 w 3090542"/>
                <a:gd name="connsiteY51" fmla="*/ 293388 h 2000271"/>
                <a:gd name="connsiteX52" fmla="*/ 2736138 w 3090542"/>
                <a:gd name="connsiteY52" fmla="*/ 232526 h 2000271"/>
                <a:gd name="connsiteX53" fmla="*/ 2850439 w 3090542"/>
                <a:gd name="connsiteY53" fmla="*/ 165792 h 2000271"/>
                <a:gd name="connsiteX54" fmla="*/ 2929923 w 3090542"/>
                <a:gd name="connsiteY54" fmla="*/ 108633 h 2000271"/>
                <a:gd name="connsiteX55" fmla="*/ 2966351 w 3090542"/>
                <a:gd name="connsiteY55" fmla="*/ 45853 h 2000271"/>
                <a:gd name="connsiteX56" fmla="*/ 3028424 w 3090542"/>
                <a:gd name="connsiteY56" fmla="*/ 5675 h 2000271"/>
                <a:gd name="connsiteX57" fmla="*/ 3089738 w 3090542"/>
                <a:gd name="connsiteY57" fmla="*/ 0 h 2000271"/>
                <a:gd name="connsiteX58" fmla="*/ 3090542 w 3090542"/>
                <a:gd name="connsiteY58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839703 w 3090542"/>
                <a:gd name="connsiteY41" fmla="*/ 641974 h 2000271"/>
                <a:gd name="connsiteX42" fmla="*/ 1883755 w 3090542"/>
                <a:gd name="connsiteY42" fmla="*/ 611495 h 2000271"/>
                <a:gd name="connsiteX43" fmla="*/ 1926193 w 3090542"/>
                <a:gd name="connsiteY43" fmla="*/ 529607 h 2000271"/>
                <a:gd name="connsiteX44" fmla="*/ 2035596 w 3090542"/>
                <a:gd name="connsiteY44" fmla="*/ 497328 h 2000271"/>
                <a:gd name="connsiteX45" fmla="*/ 2117454 w 3090542"/>
                <a:gd name="connsiteY45" fmla="*/ 409537 h 2000271"/>
                <a:gd name="connsiteX46" fmla="*/ 2272434 w 3090542"/>
                <a:gd name="connsiteY46" fmla="*/ 415309 h 2000271"/>
                <a:gd name="connsiteX47" fmla="*/ 2375830 w 3090542"/>
                <a:gd name="connsiteY47" fmla="*/ 417154 h 2000271"/>
                <a:gd name="connsiteX48" fmla="*/ 2482101 w 3090542"/>
                <a:gd name="connsiteY48" fmla="*/ 365734 h 2000271"/>
                <a:gd name="connsiteX49" fmla="*/ 2546342 w 3090542"/>
                <a:gd name="connsiteY49" fmla="*/ 312431 h 2000271"/>
                <a:gd name="connsiteX50" fmla="*/ 2659939 w 3090542"/>
                <a:gd name="connsiteY50" fmla="*/ 293388 h 2000271"/>
                <a:gd name="connsiteX51" fmla="*/ 2736138 w 3090542"/>
                <a:gd name="connsiteY51" fmla="*/ 232526 h 2000271"/>
                <a:gd name="connsiteX52" fmla="*/ 2850439 w 3090542"/>
                <a:gd name="connsiteY52" fmla="*/ 165792 h 2000271"/>
                <a:gd name="connsiteX53" fmla="*/ 2929923 w 3090542"/>
                <a:gd name="connsiteY53" fmla="*/ 108633 h 2000271"/>
                <a:gd name="connsiteX54" fmla="*/ 2966351 w 3090542"/>
                <a:gd name="connsiteY54" fmla="*/ 45853 h 2000271"/>
                <a:gd name="connsiteX55" fmla="*/ 3028424 w 3090542"/>
                <a:gd name="connsiteY55" fmla="*/ 5675 h 2000271"/>
                <a:gd name="connsiteX56" fmla="*/ 3089738 w 3090542"/>
                <a:gd name="connsiteY56" fmla="*/ 0 h 2000271"/>
                <a:gd name="connsiteX57" fmla="*/ 3090542 w 3090542"/>
                <a:gd name="connsiteY57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883755 w 3090542"/>
                <a:gd name="connsiteY41" fmla="*/ 611495 h 2000271"/>
                <a:gd name="connsiteX42" fmla="*/ 1926193 w 3090542"/>
                <a:gd name="connsiteY42" fmla="*/ 529607 h 2000271"/>
                <a:gd name="connsiteX43" fmla="*/ 2035596 w 3090542"/>
                <a:gd name="connsiteY43" fmla="*/ 497328 h 2000271"/>
                <a:gd name="connsiteX44" fmla="*/ 2117454 w 3090542"/>
                <a:gd name="connsiteY44" fmla="*/ 409537 h 2000271"/>
                <a:gd name="connsiteX45" fmla="*/ 2272434 w 3090542"/>
                <a:gd name="connsiteY45" fmla="*/ 415309 h 2000271"/>
                <a:gd name="connsiteX46" fmla="*/ 2375830 w 3090542"/>
                <a:gd name="connsiteY46" fmla="*/ 417154 h 2000271"/>
                <a:gd name="connsiteX47" fmla="*/ 2482101 w 3090542"/>
                <a:gd name="connsiteY47" fmla="*/ 365734 h 2000271"/>
                <a:gd name="connsiteX48" fmla="*/ 2546342 w 3090542"/>
                <a:gd name="connsiteY48" fmla="*/ 312431 h 2000271"/>
                <a:gd name="connsiteX49" fmla="*/ 2659939 w 3090542"/>
                <a:gd name="connsiteY49" fmla="*/ 293388 h 2000271"/>
                <a:gd name="connsiteX50" fmla="*/ 2736138 w 3090542"/>
                <a:gd name="connsiteY50" fmla="*/ 232526 h 2000271"/>
                <a:gd name="connsiteX51" fmla="*/ 2850439 w 3090542"/>
                <a:gd name="connsiteY51" fmla="*/ 165792 h 2000271"/>
                <a:gd name="connsiteX52" fmla="*/ 2929923 w 3090542"/>
                <a:gd name="connsiteY52" fmla="*/ 108633 h 2000271"/>
                <a:gd name="connsiteX53" fmla="*/ 2966351 w 3090542"/>
                <a:gd name="connsiteY53" fmla="*/ 45853 h 2000271"/>
                <a:gd name="connsiteX54" fmla="*/ 3028424 w 3090542"/>
                <a:gd name="connsiteY54" fmla="*/ 5675 h 2000271"/>
                <a:gd name="connsiteX55" fmla="*/ 3089738 w 3090542"/>
                <a:gd name="connsiteY55" fmla="*/ 0 h 2000271"/>
                <a:gd name="connsiteX56" fmla="*/ 3090542 w 3090542"/>
                <a:gd name="connsiteY56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1926193 w 3090542"/>
                <a:gd name="connsiteY41" fmla="*/ 529607 h 2000271"/>
                <a:gd name="connsiteX42" fmla="*/ 2035596 w 3090542"/>
                <a:gd name="connsiteY42" fmla="*/ 497328 h 2000271"/>
                <a:gd name="connsiteX43" fmla="*/ 2117454 w 3090542"/>
                <a:gd name="connsiteY43" fmla="*/ 409537 h 2000271"/>
                <a:gd name="connsiteX44" fmla="*/ 2272434 w 3090542"/>
                <a:gd name="connsiteY44" fmla="*/ 415309 h 2000271"/>
                <a:gd name="connsiteX45" fmla="*/ 2375830 w 3090542"/>
                <a:gd name="connsiteY45" fmla="*/ 417154 h 2000271"/>
                <a:gd name="connsiteX46" fmla="*/ 2482101 w 3090542"/>
                <a:gd name="connsiteY46" fmla="*/ 365734 h 2000271"/>
                <a:gd name="connsiteX47" fmla="*/ 2546342 w 3090542"/>
                <a:gd name="connsiteY47" fmla="*/ 312431 h 2000271"/>
                <a:gd name="connsiteX48" fmla="*/ 2659939 w 3090542"/>
                <a:gd name="connsiteY48" fmla="*/ 293388 h 2000271"/>
                <a:gd name="connsiteX49" fmla="*/ 2736138 w 3090542"/>
                <a:gd name="connsiteY49" fmla="*/ 232526 h 2000271"/>
                <a:gd name="connsiteX50" fmla="*/ 2850439 w 3090542"/>
                <a:gd name="connsiteY50" fmla="*/ 165792 h 2000271"/>
                <a:gd name="connsiteX51" fmla="*/ 2929923 w 3090542"/>
                <a:gd name="connsiteY51" fmla="*/ 108633 h 2000271"/>
                <a:gd name="connsiteX52" fmla="*/ 2966351 w 3090542"/>
                <a:gd name="connsiteY52" fmla="*/ 45853 h 2000271"/>
                <a:gd name="connsiteX53" fmla="*/ 3028424 w 3090542"/>
                <a:gd name="connsiteY53" fmla="*/ 5675 h 2000271"/>
                <a:gd name="connsiteX54" fmla="*/ 3089738 w 3090542"/>
                <a:gd name="connsiteY54" fmla="*/ 0 h 2000271"/>
                <a:gd name="connsiteX55" fmla="*/ 3090542 w 3090542"/>
                <a:gd name="connsiteY55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035596 w 3090542"/>
                <a:gd name="connsiteY41" fmla="*/ 497328 h 2000271"/>
                <a:gd name="connsiteX42" fmla="*/ 2117454 w 3090542"/>
                <a:gd name="connsiteY42" fmla="*/ 409537 h 2000271"/>
                <a:gd name="connsiteX43" fmla="*/ 2272434 w 3090542"/>
                <a:gd name="connsiteY43" fmla="*/ 415309 h 2000271"/>
                <a:gd name="connsiteX44" fmla="*/ 2375830 w 3090542"/>
                <a:gd name="connsiteY44" fmla="*/ 417154 h 2000271"/>
                <a:gd name="connsiteX45" fmla="*/ 2482101 w 3090542"/>
                <a:gd name="connsiteY45" fmla="*/ 365734 h 2000271"/>
                <a:gd name="connsiteX46" fmla="*/ 2546342 w 3090542"/>
                <a:gd name="connsiteY46" fmla="*/ 312431 h 2000271"/>
                <a:gd name="connsiteX47" fmla="*/ 2659939 w 3090542"/>
                <a:gd name="connsiteY47" fmla="*/ 293388 h 2000271"/>
                <a:gd name="connsiteX48" fmla="*/ 2736138 w 3090542"/>
                <a:gd name="connsiteY48" fmla="*/ 232526 h 2000271"/>
                <a:gd name="connsiteX49" fmla="*/ 2850439 w 3090542"/>
                <a:gd name="connsiteY49" fmla="*/ 165792 h 2000271"/>
                <a:gd name="connsiteX50" fmla="*/ 2929923 w 3090542"/>
                <a:gd name="connsiteY50" fmla="*/ 108633 h 2000271"/>
                <a:gd name="connsiteX51" fmla="*/ 2966351 w 3090542"/>
                <a:gd name="connsiteY51" fmla="*/ 45853 h 2000271"/>
                <a:gd name="connsiteX52" fmla="*/ 3028424 w 3090542"/>
                <a:gd name="connsiteY52" fmla="*/ 5675 h 2000271"/>
                <a:gd name="connsiteX53" fmla="*/ 3089738 w 3090542"/>
                <a:gd name="connsiteY53" fmla="*/ 0 h 2000271"/>
                <a:gd name="connsiteX54" fmla="*/ 3090542 w 3090542"/>
                <a:gd name="connsiteY54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117454 w 3090542"/>
                <a:gd name="connsiteY41" fmla="*/ 409537 h 2000271"/>
                <a:gd name="connsiteX42" fmla="*/ 2272434 w 3090542"/>
                <a:gd name="connsiteY42" fmla="*/ 415309 h 2000271"/>
                <a:gd name="connsiteX43" fmla="*/ 2375830 w 3090542"/>
                <a:gd name="connsiteY43" fmla="*/ 417154 h 2000271"/>
                <a:gd name="connsiteX44" fmla="*/ 2482101 w 3090542"/>
                <a:gd name="connsiteY44" fmla="*/ 365734 h 2000271"/>
                <a:gd name="connsiteX45" fmla="*/ 2546342 w 3090542"/>
                <a:gd name="connsiteY45" fmla="*/ 312431 h 2000271"/>
                <a:gd name="connsiteX46" fmla="*/ 2659939 w 3090542"/>
                <a:gd name="connsiteY46" fmla="*/ 293388 h 2000271"/>
                <a:gd name="connsiteX47" fmla="*/ 2736138 w 3090542"/>
                <a:gd name="connsiteY47" fmla="*/ 232526 h 2000271"/>
                <a:gd name="connsiteX48" fmla="*/ 2850439 w 3090542"/>
                <a:gd name="connsiteY48" fmla="*/ 165792 h 2000271"/>
                <a:gd name="connsiteX49" fmla="*/ 2929923 w 3090542"/>
                <a:gd name="connsiteY49" fmla="*/ 108633 h 2000271"/>
                <a:gd name="connsiteX50" fmla="*/ 2966351 w 3090542"/>
                <a:gd name="connsiteY50" fmla="*/ 45853 h 2000271"/>
                <a:gd name="connsiteX51" fmla="*/ 3028424 w 3090542"/>
                <a:gd name="connsiteY51" fmla="*/ 5675 h 2000271"/>
                <a:gd name="connsiteX52" fmla="*/ 3089738 w 3090542"/>
                <a:gd name="connsiteY52" fmla="*/ 0 h 2000271"/>
                <a:gd name="connsiteX53" fmla="*/ 3090542 w 3090542"/>
                <a:gd name="connsiteY53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272434 w 3090542"/>
                <a:gd name="connsiteY41" fmla="*/ 415309 h 2000271"/>
                <a:gd name="connsiteX42" fmla="*/ 2375830 w 3090542"/>
                <a:gd name="connsiteY42" fmla="*/ 417154 h 2000271"/>
                <a:gd name="connsiteX43" fmla="*/ 2482101 w 3090542"/>
                <a:gd name="connsiteY43" fmla="*/ 365734 h 2000271"/>
                <a:gd name="connsiteX44" fmla="*/ 2546342 w 3090542"/>
                <a:gd name="connsiteY44" fmla="*/ 312431 h 2000271"/>
                <a:gd name="connsiteX45" fmla="*/ 2659939 w 3090542"/>
                <a:gd name="connsiteY45" fmla="*/ 293388 h 2000271"/>
                <a:gd name="connsiteX46" fmla="*/ 2736138 w 3090542"/>
                <a:gd name="connsiteY46" fmla="*/ 232526 h 2000271"/>
                <a:gd name="connsiteX47" fmla="*/ 2850439 w 3090542"/>
                <a:gd name="connsiteY47" fmla="*/ 165792 h 2000271"/>
                <a:gd name="connsiteX48" fmla="*/ 2929923 w 3090542"/>
                <a:gd name="connsiteY48" fmla="*/ 108633 h 2000271"/>
                <a:gd name="connsiteX49" fmla="*/ 2966351 w 3090542"/>
                <a:gd name="connsiteY49" fmla="*/ 45853 h 2000271"/>
                <a:gd name="connsiteX50" fmla="*/ 3028424 w 3090542"/>
                <a:gd name="connsiteY50" fmla="*/ 5675 h 2000271"/>
                <a:gd name="connsiteX51" fmla="*/ 3089738 w 3090542"/>
                <a:gd name="connsiteY51" fmla="*/ 0 h 2000271"/>
                <a:gd name="connsiteX52" fmla="*/ 3090542 w 3090542"/>
                <a:gd name="connsiteY52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375830 w 3090542"/>
                <a:gd name="connsiteY41" fmla="*/ 417154 h 2000271"/>
                <a:gd name="connsiteX42" fmla="*/ 2482101 w 3090542"/>
                <a:gd name="connsiteY42" fmla="*/ 365734 h 2000271"/>
                <a:gd name="connsiteX43" fmla="*/ 2546342 w 3090542"/>
                <a:gd name="connsiteY43" fmla="*/ 312431 h 2000271"/>
                <a:gd name="connsiteX44" fmla="*/ 2659939 w 3090542"/>
                <a:gd name="connsiteY44" fmla="*/ 293388 h 2000271"/>
                <a:gd name="connsiteX45" fmla="*/ 2736138 w 3090542"/>
                <a:gd name="connsiteY45" fmla="*/ 232526 h 2000271"/>
                <a:gd name="connsiteX46" fmla="*/ 2850439 w 3090542"/>
                <a:gd name="connsiteY46" fmla="*/ 165792 h 2000271"/>
                <a:gd name="connsiteX47" fmla="*/ 2929923 w 3090542"/>
                <a:gd name="connsiteY47" fmla="*/ 108633 h 2000271"/>
                <a:gd name="connsiteX48" fmla="*/ 2966351 w 3090542"/>
                <a:gd name="connsiteY48" fmla="*/ 45853 h 2000271"/>
                <a:gd name="connsiteX49" fmla="*/ 3028424 w 3090542"/>
                <a:gd name="connsiteY49" fmla="*/ 5675 h 2000271"/>
                <a:gd name="connsiteX50" fmla="*/ 3089738 w 3090542"/>
                <a:gd name="connsiteY50" fmla="*/ 0 h 2000271"/>
                <a:gd name="connsiteX51" fmla="*/ 3090542 w 3090542"/>
                <a:gd name="connsiteY51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482101 w 3090542"/>
                <a:gd name="connsiteY41" fmla="*/ 365734 h 2000271"/>
                <a:gd name="connsiteX42" fmla="*/ 2546342 w 3090542"/>
                <a:gd name="connsiteY42" fmla="*/ 312431 h 2000271"/>
                <a:gd name="connsiteX43" fmla="*/ 2659939 w 3090542"/>
                <a:gd name="connsiteY43" fmla="*/ 293388 h 2000271"/>
                <a:gd name="connsiteX44" fmla="*/ 2736138 w 3090542"/>
                <a:gd name="connsiteY44" fmla="*/ 232526 h 2000271"/>
                <a:gd name="connsiteX45" fmla="*/ 2850439 w 3090542"/>
                <a:gd name="connsiteY45" fmla="*/ 165792 h 2000271"/>
                <a:gd name="connsiteX46" fmla="*/ 2929923 w 3090542"/>
                <a:gd name="connsiteY46" fmla="*/ 108633 h 2000271"/>
                <a:gd name="connsiteX47" fmla="*/ 2966351 w 3090542"/>
                <a:gd name="connsiteY47" fmla="*/ 45853 h 2000271"/>
                <a:gd name="connsiteX48" fmla="*/ 3028424 w 3090542"/>
                <a:gd name="connsiteY48" fmla="*/ 5675 h 2000271"/>
                <a:gd name="connsiteX49" fmla="*/ 3089738 w 3090542"/>
                <a:gd name="connsiteY49" fmla="*/ 0 h 2000271"/>
                <a:gd name="connsiteX50" fmla="*/ 3090542 w 3090542"/>
                <a:gd name="connsiteY50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546342 w 3090542"/>
                <a:gd name="connsiteY41" fmla="*/ 312431 h 2000271"/>
                <a:gd name="connsiteX42" fmla="*/ 2659939 w 3090542"/>
                <a:gd name="connsiteY42" fmla="*/ 293388 h 2000271"/>
                <a:gd name="connsiteX43" fmla="*/ 2736138 w 3090542"/>
                <a:gd name="connsiteY43" fmla="*/ 232526 h 2000271"/>
                <a:gd name="connsiteX44" fmla="*/ 2850439 w 3090542"/>
                <a:gd name="connsiteY44" fmla="*/ 165792 h 2000271"/>
                <a:gd name="connsiteX45" fmla="*/ 2929923 w 3090542"/>
                <a:gd name="connsiteY45" fmla="*/ 108633 h 2000271"/>
                <a:gd name="connsiteX46" fmla="*/ 2966351 w 3090542"/>
                <a:gd name="connsiteY46" fmla="*/ 45853 h 2000271"/>
                <a:gd name="connsiteX47" fmla="*/ 3028424 w 3090542"/>
                <a:gd name="connsiteY47" fmla="*/ 5675 h 2000271"/>
                <a:gd name="connsiteX48" fmla="*/ 3089738 w 3090542"/>
                <a:gd name="connsiteY48" fmla="*/ 0 h 2000271"/>
                <a:gd name="connsiteX49" fmla="*/ 3090542 w 3090542"/>
                <a:gd name="connsiteY49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659939 w 3090542"/>
                <a:gd name="connsiteY41" fmla="*/ 293388 h 2000271"/>
                <a:gd name="connsiteX42" fmla="*/ 2736138 w 3090542"/>
                <a:gd name="connsiteY42" fmla="*/ 232526 h 2000271"/>
                <a:gd name="connsiteX43" fmla="*/ 2850439 w 3090542"/>
                <a:gd name="connsiteY43" fmla="*/ 165792 h 2000271"/>
                <a:gd name="connsiteX44" fmla="*/ 2929923 w 3090542"/>
                <a:gd name="connsiteY44" fmla="*/ 108633 h 2000271"/>
                <a:gd name="connsiteX45" fmla="*/ 2966351 w 3090542"/>
                <a:gd name="connsiteY45" fmla="*/ 45853 h 2000271"/>
                <a:gd name="connsiteX46" fmla="*/ 3028424 w 3090542"/>
                <a:gd name="connsiteY46" fmla="*/ 5675 h 2000271"/>
                <a:gd name="connsiteX47" fmla="*/ 3089738 w 3090542"/>
                <a:gd name="connsiteY47" fmla="*/ 0 h 2000271"/>
                <a:gd name="connsiteX48" fmla="*/ 3090542 w 3090542"/>
                <a:gd name="connsiteY48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736138 w 3090542"/>
                <a:gd name="connsiteY41" fmla="*/ 232526 h 2000271"/>
                <a:gd name="connsiteX42" fmla="*/ 2850439 w 3090542"/>
                <a:gd name="connsiteY42" fmla="*/ 165792 h 2000271"/>
                <a:gd name="connsiteX43" fmla="*/ 2929923 w 3090542"/>
                <a:gd name="connsiteY43" fmla="*/ 108633 h 2000271"/>
                <a:gd name="connsiteX44" fmla="*/ 2966351 w 3090542"/>
                <a:gd name="connsiteY44" fmla="*/ 45853 h 2000271"/>
                <a:gd name="connsiteX45" fmla="*/ 3028424 w 3090542"/>
                <a:gd name="connsiteY45" fmla="*/ 5675 h 2000271"/>
                <a:gd name="connsiteX46" fmla="*/ 3089738 w 3090542"/>
                <a:gd name="connsiteY46" fmla="*/ 0 h 2000271"/>
                <a:gd name="connsiteX47" fmla="*/ 3090542 w 3090542"/>
                <a:gd name="connsiteY47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850439 w 3090542"/>
                <a:gd name="connsiteY41" fmla="*/ 165792 h 2000271"/>
                <a:gd name="connsiteX42" fmla="*/ 2929923 w 3090542"/>
                <a:gd name="connsiteY42" fmla="*/ 108633 h 2000271"/>
                <a:gd name="connsiteX43" fmla="*/ 2966351 w 3090542"/>
                <a:gd name="connsiteY43" fmla="*/ 45853 h 2000271"/>
                <a:gd name="connsiteX44" fmla="*/ 3028424 w 3090542"/>
                <a:gd name="connsiteY44" fmla="*/ 5675 h 2000271"/>
                <a:gd name="connsiteX45" fmla="*/ 3089738 w 3090542"/>
                <a:gd name="connsiteY45" fmla="*/ 0 h 2000271"/>
                <a:gd name="connsiteX46" fmla="*/ 3090542 w 3090542"/>
                <a:gd name="connsiteY46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929923 w 3090542"/>
                <a:gd name="connsiteY41" fmla="*/ 108633 h 2000271"/>
                <a:gd name="connsiteX42" fmla="*/ 2966351 w 3090542"/>
                <a:gd name="connsiteY42" fmla="*/ 45853 h 2000271"/>
                <a:gd name="connsiteX43" fmla="*/ 3028424 w 3090542"/>
                <a:gd name="connsiteY43" fmla="*/ 5675 h 2000271"/>
                <a:gd name="connsiteX44" fmla="*/ 3089738 w 3090542"/>
                <a:gd name="connsiteY44" fmla="*/ 0 h 2000271"/>
                <a:gd name="connsiteX45" fmla="*/ 3090542 w 3090542"/>
                <a:gd name="connsiteY45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2966351 w 3090542"/>
                <a:gd name="connsiteY41" fmla="*/ 45853 h 2000271"/>
                <a:gd name="connsiteX42" fmla="*/ 3028424 w 3090542"/>
                <a:gd name="connsiteY42" fmla="*/ 5675 h 2000271"/>
                <a:gd name="connsiteX43" fmla="*/ 3089738 w 3090542"/>
                <a:gd name="connsiteY43" fmla="*/ 0 h 2000271"/>
                <a:gd name="connsiteX44" fmla="*/ 3090542 w 3090542"/>
                <a:gd name="connsiteY44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3028424 w 3090542"/>
                <a:gd name="connsiteY41" fmla="*/ 5675 h 2000271"/>
                <a:gd name="connsiteX42" fmla="*/ 3089738 w 3090542"/>
                <a:gd name="connsiteY42" fmla="*/ 0 h 2000271"/>
                <a:gd name="connsiteX43" fmla="*/ 3090542 w 3090542"/>
                <a:gd name="connsiteY43" fmla="*/ 230534 h 2000271"/>
                <a:gd name="connsiteX0" fmla="*/ 3090542 w 3090542"/>
                <a:gd name="connsiteY0" fmla="*/ 230534 h 2000271"/>
                <a:gd name="connsiteX1" fmla="*/ 3023813 w 3090542"/>
                <a:gd name="connsiteY1" fmla="*/ 241063 h 2000271"/>
                <a:gd name="connsiteX2" fmla="*/ 2783928 w 3090542"/>
                <a:gd name="connsiteY2" fmla="*/ 327656 h 2000271"/>
                <a:gd name="connsiteX3" fmla="*/ 2571302 w 3090542"/>
                <a:gd name="connsiteY3" fmla="*/ 396931 h 2000271"/>
                <a:gd name="connsiteX4" fmla="*/ 2484070 w 3090542"/>
                <a:gd name="connsiteY4" fmla="*/ 477752 h 2000271"/>
                <a:gd name="connsiteX5" fmla="*/ 2375031 w 3090542"/>
                <a:gd name="connsiteY5" fmla="*/ 541251 h 2000271"/>
                <a:gd name="connsiteX6" fmla="*/ 2279623 w 3090542"/>
                <a:gd name="connsiteY6" fmla="*/ 639389 h 2000271"/>
                <a:gd name="connsiteX7" fmla="*/ 2094255 w 3090542"/>
                <a:gd name="connsiteY7" fmla="*/ 731758 h 2000271"/>
                <a:gd name="connsiteX8" fmla="*/ 1857095 w 3090542"/>
                <a:gd name="connsiteY8" fmla="*/ 789486 h 2000271"/>
                <a:gd name="connsiteX9" fmla="*/ 1690811 w 3090542"/>
                <a:gd name="connsiteY9" fmla="*/ 772168 h 2000271"/>
                <a:gd name="connsiteX10" fmla="*/ 1420940 w 3090542"/>
                <a:gd name="connsiteY10" fmla="*/ 928036 h 2000271"/>
                <a:gd name="connsiteX11" fmla="*/ 1287366 w 3090542"/>
                <a:gd name="connsiteY11" fmla="*/ 1095447 h 2000271"/>
                <a:gd name="connsiteX12" fmla="*/ 1183583 w 3090542"/>
                <a:gd name="connsiteY12" fmla="*/ 1210075 h 2000271"/>
                <a:gd name="connsiteX13" fmla="*/ 1096548 w 3090542"/>
                <a:gd name="connsiteY13" fmla="*/ 1262862 h 2000271"/>
                <a:gd name="connsiteX14" fmla="*/ 1022947 w 3090542"/>
                <a:gd name="connsiteY14" fmla="*/ 1332136 h 2000271"/>
                <a:gd name="connsiteX15" fmla="*/ 998412 w 3090542"/>
                <a:gd name="connsiteY15" fmla="*/ 1332136 h 2000271"/>
                <a:gd name="connsiteX16" fmla="*/ 946620 w 3090542"/>
                <a:gd name="connsiteY16" fmla="*/ 1343683 h 2000271"/>
                <a:gd name="connsiteX17" fmla="*/ 823950 w 3090542"/>
                <a:gd name="connsiteY17" fmla="*/ 1441819 h 2000271"/>
                <a:gd name="connsiteX18" fmla="*/ 695830 w 3090542"/>
                <a:gd name="connsiteY18" fmla="*/ 1447591 h 2000271"/>
                <a:gd name="connsiteX19" fmla="*/ 477752 w 3090542"/>
                <a:gd name="connsiteY19" fmla="*/ 1615006 h 2000271"/>
                <a:gd name="connsiteX20" fmla="*/ 336000 w 3090542"/>
                <a:gd name="connsiteY20" fmla="*/ 1707374 h 2000271"/>
                <a:gd name="connsiteX21" fmla="*/ 303289 w 3090542"/>
                <a:gd name="connsiteY21" fmla="*/ 1782419 h 2000271"/>
                <a:gd name="connsiteX22" fmla="*/ 208672 w 3090542"/>
                <a:gd name="connsiteY22" fmla="*/ 1837700 h 2000271"/>
                <a:gd name="connsiteX23" fmla="*/ 81476 w 3090542"/>
                <a:gd name="connsiteY23" fmla="*/ 1957082 h 2000271"/>
                <a:gd name="connsiteX24" fmla="*/ 0 w 3090542"/>
                <a:gd name="connsiteY24" fmla="*/ 2000271 h 2000271"/>
                <a:gd name="connsiteX25" fmla="*/ 106122 w 3090542"/>
                <a:gd name="connsiteY25" fmla="*/ 1870728 h 2000271"/>
                <a:gd name="connsiteX26" fmla="*/ 186658 w 3090542"/>
                <a:gd name="connsiteY26" fmla="*/ 1836320 h 2000271"/>
                <a:gd name="connsiteX27" fmla="*/ 332554 w 3090542"/>
                <a:gd name="connsiteY27" fmla="*/ 1686002 h 2000271"/>
                <a:gd name="connsiteX28" fmla="*/ 424552 w 3090542"/>
                <a:gd name="connsiteY28" fmla="*/ 1607721 h 2000271"/>
                <a:gd name="connsiteX29" fmla="*/ 452805 w 3090542"/>
                <a:gd name="connsiteY29" fmla="*/ 1493655 h 2000271"/>
                <a:gd name="connsiteX30" fmla="*/ 543745 w 3090542"/>
                <a:gd name="connsiteY30" fmla="*/ 1352483 h 2000271"/>
                <a:gd name="connsiteX31" fmla="*/ 628063 w 3090542"/>
                <a:gd name="connsiteY31" fmla="*/ 1112606 h 2000271"/>
                <a:gd name="connsiteX32" fmla="*/ 704266 w 3090542"/>
                <a:gd name="connsiteY32" fmla="*/ 971570 h 2000271"/>
                <a:gd name="connsiteX33" fmla="*/ 837644 w 3090542"/>
                <a:gd name="connsiteY33" fmla="*/ 901142 h 2000271"/>
                <a:gd name="connsiteX34" fmla="*/ 890428 w 3090542"/>
                <a:gd name="connsiteY34" fmla="*/ 775296 h 2000271"/>
                <a:gd name="connsiteX35" fmla="*/ 950831 w 3090542"/>
                <a:gd name="connsiteY35" fmla="*/ 710615 h 2000271"/>
                <a:gd name="connsiteX36" fmla="*/ 1039046 w 3090542"/>
                <a:gd name="connsiteY36" fmla="*/ 716412 h 2000271"/>
                <a:gd name="connsiteX37" fmla="*/ 1082040 w 3090542"/>
                <a:gd name="connsiteY37" fmla="*/ 720107 h 2000271"/>
                <a:gd name="connsiteX38" fmla="*/ 1137549 w 3090542"/>
                <a:gd name="connsiteY38" fmla="*/ 661227 h 2000271"/>
                <a:gd name="connsiteX39" fmla="*/ 1191446 w 3090542"/>
                <a:gd name="connsiteY39" fmla="*/ 598188 h 2000271"/>
                <a:gd name="connsiteX40" fmla="*/ 1289884 w 3090542"/>
                <a:gd name="connsiteY40" fmla="*/ 619200 h 2000271"/>
                <a:gd name="connsiteX41" fmla="*/ 3089738 w 3090542"/>
                <a:gd name="connsiteY41" fmla="*/ 0 h 2000271"/>
                <a:gd name="connsiteX42" fmla="*/ 3090542 w 3090542"/>
                <a:gd name="connsiteY42" fmla="*/ 230534 h 2000271"/>
                <a:gd name="connsiteX0" fmla="*/ 3090542 w 3090542"/>
                <a:gd name="connsiteY0" fmla="*/ 0 h 1769737"/>
                <a:gd name="connsiteX1" fmla="*/ 3023813 w 3090542"/>
                <a:gd name="connsiteY1" fmla="*/ 10529 h 1769737"/>
                <a:gd name="connsiteX2" fmla="*/ 2783928 w 3090542"/>
                <a:gd name="connsiteY2" fmla="*/ 97122 h 1769737"/>
                <a:gd name="connsiteX3" fmla="*/ 2571302 w 3090542"/>
                <a:gd name="connsiteY3" fmla="*/ 166397 h 1769737"/>
                <a:gd name="connsiteX4" fmla="*/ 2484070 w 3090542"/>
                <a:gd name="connsiteY4" fmla="*/ 247218 h 1769737"/>
                <a:gd name="connsiteX5" fmla="*/ 2375031 w 3090542"/>
                <a:gd name="connsiteY5" fmla="*/ 310717 h 1769737"/>
                <a:gd name="connsiteX6" fmla="*/ 2279623 w 3090542"/>
                <a:gd name="connsiteY6" fmla="*/ 408855 h 1769737"/>
                <a:gd name="connsiteX7" fmla="*/ 2094255 w 3090542"/>
                <a:gd name="connsiteY7" fmla="*/ 501224 h 1769737"/>
                <a:gd name="connsiteX8" fmla="*/ 1857095 w 3090542"/>
                <a:gd name="connsiteY8" fmla="*/ 558952 h 1769737"/>
                <a:gd name="connsiteX9" fmla="*/ 1690811 w 3090542"/>
                <a:gd name="connsiteY9" fmla="*/ 541634 h 1769737"/>
                <a:gd name="connsiteX10" fmla="*/ 1420940 w 3090542"/>
                <a:gd name="connsiteY10" fmla="*/ 697502 h 1769737"/>
                <a:gd name="connsiteX11" fmla="*/ 1287366 w 3090542"/>
                <a:gd name="connsiteY11" fmla="*/ 864913 h 1769737"/>
                <a:gd name="connsiteX12" fmla="*/ 1183583 w 3090542"/>
                <a:gd name="connsiteY12" fmla="*/ 979541 h 1769737"/>
                <a:gd name="connsiteX13" fmla="*/ 1096548 w 3090542"/>
                <a:gd name="connsiteY13" fmla="*/ 1032328 h 1769737"/>
                <a:gd name="connsiteX14" fmla="*/ 1022947 w 3090542"/>
                <a:gd name="connsiteY14" fmla="*/ 1101602 h 1769737"/>
                <a:gd name="connsiteX15" fmla="*/ 998412 w 3090542"/>
                <a:gd name="connsiteY15" fmla="*/ 1101602 h 1769737"/>
                <a:gd name="connsiteX16" fmla="*/ 946620 w 3090542"/>
                <a:gd name="connsiteY16" fmla="*/ 1113149 h 1769737"/>
                <a:gd name="connsiteX17" fmla="*/ 823950 w 3090542"/>
                <a:gd name="connsiteY17" fmla="*/ 1211285 h 1769737"/>
                <a:gd name="connsiteX18" fmla="*/ 695830 w 3090542"/>
                <a:gd name="connsiteY18" fmla="*/ 1217057 h 1769737"/>
                <a:gd name="connsiteX19" fmla="*/ 477752 w 3090542"/>
                <a:gd name="connsiteY19" fmla="*/ 1384472 h 1769737"/>
                <a:gd name="connsiteX20" fmla="*/ 336000 w 3090542"/>
                <a:gd name="connsiteY20" fmla="*/ 1476840 h 1769737"/>
                <a:gd name="connsiteX21" fmla="*/ 303289 w 3090542"/>
                <a:gd name="connsiteY21" fmla="*/ 1551885 h 1769737"/>
                <a:gd name="connsiteX22" fmla="*/ 208672 w 3090542"/>
                <a:gd name="connsiteY22" fmla="*/ 1607166 h 1769737"/>
                <a:gd name="connsiteX23" fmla="*/ 81476 w 3090542"/>
                <a:gd name="connsiteY23" fmla="*/ 1726548 h 1769737"/>
                <a:gd name="connsiteX24" fmla="*/ 0 w 3090542"/>
                <a:gd name="connsiteY24" fmla="*/ 1769737 h 1769737"/>
                <a:gd name="connsiteX25" fmla="*/ 106122 w 3090542"/>
                <a:gd name="connsiteY25" fmla="*/ 1640194 h 1769737"/>
                <a:gd name="connsiteX26" fmla="*/ 186658 w 3090542"/>
                <a:gd name="connsiteY26" fmla="*/ 1605786 h 1769737"/>
                <a:gd name="connsiteX27" fmla="*/ 332554 w 3090542"/>
                <a:gd name="connsiteY27" fmla="*/ 1455468 h 1769737"/>
                <a:gd name="connsiteX28" fmla="*/ 424552 w 3090542"/>
                <a:gd name="connsiteY28" fmla="*/ 1377187 h 1769737"/>
                <a:gd name="connsiteX29" fmla="*/ 452805 w 3090542"/>
                <a:gd name="connsiteY29" fmla="*/ 1263121 h 1769737"/>
                <a:gd name="connsiteX30" fmla="*/ 543745 w 3090542"/>
                <a:gd name="connsiteY30" fmla="*/ 1121949 h 1769737"/>
                <a:gd name="connsiteX31" fmla="*/ 628063 w 3090542"/>
                <a:gd name="connsiteY31" fmla="*/ 882072 h 1769737"/>
                <a:gd name="connsiteX32" fmla="*/ 704266 w 3090542"/>
                <a:gd name="connsiteY32" fmla="*/ 741036 h 1769737"/>
                <a:gd name="connsiteX33" fmla="*/ 837644 w 3090542"/>
                <a:gd name="connsiteY33" fmla="*/ 670608 h 1769737"/>
                <a:gd name="connsiteX34" fmla="*/ 890428 w 3090542"/>
                <a:gd name="connsiteY34" fmla="*/ 544762 h 1769737"/>
                <a:gd name="connsiteX35" fmla="*/ 950831 w 3090542"/>
                <a:gd name="connsiteY35" fmla="*/ 480081 h 1769737"/>
                <a:gd name="connsiteX36" fmla="*/ 1039046 w 3090542"/>
                <a:gd name="connsiteY36" fmla="*/ 485878 h 1769737"/>
                <a:gd name="connsiteX37" fmla="*/ 1082040 w 3090542"/>
                <a:gd name="connsiteY37" fmla="*/ 489573 h 1769737"/>
                <a:gd name="connsiteX38" fmla="*/ 1137549 w 3090542"/>
                <a:gd name="connsiteY38" fmla="*/ 430693 h 1769737"/>
                <a:gd name="connsiteX39" fmla="*/ 1191446 w 3090542"/>
                <a:gd name="connsiteY39" fmla="*/ 367654 h 1769737"/>
                <a:gd name="connsiteX40" fmla="*/ 1289884 w 3090542"/>
                <a:gd name="connsiteY40" fmla="*/ 388666 h 1769737"/>
                <a:gd name="connsiteX41" fmla="*/ 3090542 w 3090542"/>
                <a:gd name="connsiteY41" fmla="*/ 0 h 1769737"/>
                <a:gd name="connsiteX0" fmla="*/ 1289884 w 3023813"/>
                <a:gd name="connsiteY0" fmla="*/ 378137 h 1759208"/>
                <a:gd name="connsiteX1" fmla="*/ 3023813 w 3023813"/>
                <a:gd name="connsiteY1" fmla="*/ 0 h 1759208"/>
                <a:gd name="connsiteX2" fmla="*/ 2783928 w 3023813"/>
                <a:gd name="connsiteY2" fmla="*/ 86593 h 1759208"/>
                <a:gd name="connsiteX3" fmla="*/ 2571302 w 3023813"/>
                <a:gd name="connsiteY3" fmla="*/ 155868 h 1759208"/>
                <a:gd name="connsiteX4" fmla="*/ 2484070 w 3023813"/>
                <a:gd name="connsiteY4" fmla="*/ 236689 h 1759208"/>
                <a:gd name="connsiteX5" fmla="*/ 2375031 w 3023813"/>
                <a:gd name="connsiteY5" fmla="*/ 300188 h 1759208"/>
                <a:gd name="connsiteX6" fmla="*/ 2279623 w 3023813"/>
                <a:gd name="connsiteY6" fmla="*/ 398326 h 1759208"/>
                <a:gd name="connsiteX7" fmla="*/ 2094255 w 3023813"/>
                <a:gd name="connsiteY7" fmla="*/ 490695 h 1759208"/>
                <a:gd name="connsiteX8" fmla="*/ 1857095 w 3023813"/>
                <a:gd name="connsiteY8" fmla="*/ 548423 h 1759208"/>
                <a:gd name="connsiteX9" fmla="*/ 1690811 w 3023813"/>
                <a:gd name="connsiteY9" fmla="*/ 531105 h 1759208"/>
                <a:gd name="connsiteX10" fmla="*/ 1420940 w 3023813"/>
                <a:gd name="connsiteY10" fmla="*/ 686973 h 1759208"/>
                <a:gd name="connsiteX11" fmla="*/ 1287366 w 3023813"/>
                <a:gd name="connsiteY11" fmla="*/ 854384 h 1759208"/>
                <a:gd name="connsiteX12" fmla="*/ 1183583 w 3023813"/>
                <a:gd name="connsiteY12" fmla="*/ 969012 h 1759208"/>
                <a:gd name="connsiteX13" fmla="*/ 1096548 w 3023813"/>
                <a:gd name="connsiteY13" fmla="*/ 1021799 h 1759208"/>
                <a:gd name="connsiteX14" fmla="*/ 1022947 w 3023813"/>
                <a:gd name="connsiteY14" fmla="*/ 1091073 h 1759208"/>
                <a:gd name="connsiteX15" fmla="*/ 998412 w 3023813"/>
                <a:gd name="connsiteY15" fmla="*/ 1091073 h 1759208"/>
                <a:gd name="connsiteX16" fmla="*/ 946620 w 3023813"/>
                <a:gd name="connsiteY16" fmla="*/ 1102620 h 1759208"/>
                <a:gd name="connsiteX17" fmla="*/ 823950 w 3023813"/>
                <a:gd name="connsiteY17" fmla="*/ 1200756 h 1759208"/>
                <a:gd name="connsiteX18" fmla="*/ 695830 w 3023813"/>
                <a:gd name="connsiteY18" fmla="*/ 1206528 h 1759208"/>
                <a:gd name="connsiteX19" fmla="*/ 477752 w 3023813"/>
                <a:gd name="connsiteY19" fmla="*/ 1373943 h 1759208"/>
                <a:gd name="connsiteX20" fmla="*/ 336000 w 3023813"/>
                <a:gd name="connsiteY20" fmla="*/ 1466311 h 1759208"/>
                <a:gd name="connsiteX21" fmla="*/ 303289 w 3023813"/>
                <a:gd name="connsiteY21" fmla="*/ 1541356 h 1759208"/>
                <a:gd name="connsiteX22" fmla="*/ 208672 w 3023813"/>
                <a:gd name="connsiteY22" fmla="*/ 1596637 h 1759208"/>
                <a:gd name="connsiteX23" fmla="*/ 81476 w 3023813"/>
                <a:gd name="connsiteY23" fmla="*/ 1716019 h 1759208"/>
                <a:gd name="connsiteX24" fmla="*/ 0 w 3023813"/>
                <a:gd name="connsiteY24" fmla="*/ 1759208 h 1759208"/>
                <a:gd name="connsiteX25" fmla="*/ 106122 w 3023813"/>
                <a:gd name="connsiteY25" fmla="*/ 1629665 h 1759208"/>
                <a:gd name="connsiteX26" fmla="*/ 186658 w 3023813"/>
                <a:gd name="connsiteY26" fmla="*/ 1595257 h 1759208"/>
                <a:gd name="connsiteX27" fmla="*/ 332554 w 3023813"/>
                <a:gd name="connsiteY27" fmla="*/ 1444939 h 1759208"/>
                <a:gd name="connsiteX28" fmla="*/ 424552 w 3023813"/>
                <a:gd name="connsiteY28" fmla="*/ 1366658 h 1759208"/>
                <a:gd name="connsiteX29" fmla="*/ 452805 w 3023813"/>
                <a:gd name="connsiteY29" fmla="*/ 1252592 h 1759208"/>
                <a:gd name="connsiteX30" fmla="*/ 543745 w 3023813"/>
                <a:gd name="connsiteY30" fmla="*/ 1111420 h 1759208"/>
                <a:gd name="connsiteX31" fmla="*/ 628063 w 3023813"/>
                <a:gd name="connsiteY31" fmla="*/ 871543 h 1759208"/>
                <a:gd name="connsiteX32" fmla="*/ 704266 w 3023813"/>
                <a:gd name="connsiteY32" fmla="*/ 730507 h 1759208"/>
                <a:gd name="connsiteX33" fmla="*/ 837644 w 3023813"/>
                <a:gd name="connsiteY33" fmla="*/ 660079 h 1759208"/>
                <a:gd name="connsiteX34" fmla="*/ 890428 w 3023813"/>
                <a:gd name="connsiteY34" fmla="*/ 534233 h 1759208"/>
                <a:gd name="connsiteX35" fmla="*/ 950831 w 3023813"/>
                <a:gd name="connsiteY35" fmla="*/ 469552 h 1759208"/>
                <a:gd name="connsiteX36" fmla="*/ 1039046 w 3023813"/>
                <a:gd name="connsiteY36" fmla="*/ 475349 h 1759208"/>
                <a:gd name="connsiteX37" fmla="*/ 1082040 w 3023813"/>
                <a:gd name="connsiteY37" fmla="*/ 479044 h 1759208"/>
                <a:gd name="connsiteX38" fmla="*/ 1137549 w 3023813"/>
                <a:gd name="connsiteY38" fmla="*/ 420164 h 1759208"/>
                <a:gd name="connsiteX39" fmla="*/ 1191446 w 3023813"/>
                <a:gd name="connsiteY39" fmla="*/ 357125 h 1759208"/>
                <a:gd name="connsiteX40" fmla="*/ 1289884 w 3023813"/>
                <a:gd name="connsiteY40" fmla="*/ 378137 h 1759208"/>
                <a:gd name="connsiteX0" fmla="*/ 1289884 w 2783928"/>
                <a:gd name="connsiteY0" fmla="*/ 291543 h 1672614"/>
                <a:gd name="connsiteX1" fmla="*/ 2783928 w 2783928"/>
                <a:gd name="connsiteY1" fmla="*/ -1 h 1672614"/>
                <a:gd name="connsiteX2" fmla="*/ 2571302 w 2783928"/>
                <a:gd name="connsiteY2" fmla="*/ 69274 h 1672614"/>
                <a:gd name="connsiteX3" fmla="*/ 2484070 w 2783928"/>
                <a:gd name="connsiteY3" fmla="*/ 150095 h 1672614"/>
                <a:gd name="connsiteX4" fmla="*/ 2375031 w 2783928"/>
                <a:gd name="connsiteY4" fmla="*/ 213594 h 1672614"/>
                <a:gd name="connsiteX5" fmla="*/ 2279623 w 2783928"/>
                <a:gd name="connsiteY5" fmla="*/ 311732 h 1672614"/>
                <a:gd name="connsiteX6" fmla="*/ 2094255 w 2783928"/>
                <a:gd name="connsiteY6" fmla="*/ 404101 h 1672614"/>
                <a:gd name="connsiteX7" fmla="*/ 1857095 w 2783928"/>
                <a:gd name="connsiteY7" fmla="*/ 461829 h 1672614"/>
                <a:gd name="connsiteX8" fmla="*/ 1690811 w 2783928"/>
                <a:gd name="connsiteY8" fmla="*/ 444511 h 1672614"/>
                <a:gd name="connsiteX9" fmla="*/ 1420940 w 2783928"/>
                <a:gd name="connsiteY9" fmla="*/ 600379 h 1672614"/>
                <a:gd name="connsiteX10" fmla="*/ 1287366 w 2783928"/>
                <a:gd name="connsiteY10" fmla="*/ 767790 h 1672614"/>
                <a:gd name="connsiteX11" fmla="*/ 1183583 w 2783928"/>
                <a:gd name="connsiteY11" fmla="*/ 882418 h 1672614"/>
                <a:gd name="connsiteX12" fmla="*/ 1096548 w 2783928"/>
                <a:gd name="connsiteY12" fmla="*/ 935205 h 1672614"/>
                <a:gd name="connsiteX13" fmla="*/ 1022947 w 2783928"/>
                <a:gd name="connsiteY13" fmla="*/ 1004479 h 1672614"/>
                <a:gd name="connsiteX14" fmla="*/ 998412 w 2783928"/>
                <a:gd name="connsiteY14" fmla="*/ 1004479 h 1672614"/>
                <a:gd name="connsiteX15" fmla="*/ 946620 w 2783928"/>
                <a:gd name="connsiteY15" fmla="*/ 1016026 h 1672614"/>
                <a:gd name="connsiteX16" fmla="*/ 823950 w 2783928"/>
                <a:gd name="connsiteY16" fmla="*/ 1114162 h 1672614"/>
                <a:gd name="connsiteX17" fmla="*/ 695830 w 2783928"/>
                <a:gd name="connsiteY17" fmla="*/ 1119934 h 1672614"/>
                <a:gd name="connsiteX18" fmla="*/ 477752 w 2783928"/>
                <a:gd name="connsiteY18" fmla="*/ 1287349 h 1672614"/>
                <a:gd name="connsiteX19" fmla="*/ 336000 w 2783928"/>
                <a:gd name="connsiteY19" fmla="*/ 1379717 h 1672614"/>
                <a:gd name="connsiteX20" fmla="*/ 303289 w 2783928"/>
                <a:gd name="connsiteY20" fmla="*/ 1454762 h 1672614"/>
                <a:gd name="connsiteX21" fmla="*/ 208672 w 2783928"/>
                <a:gd name="connsiteY21" fmla="*/ 1510043 h 1672614"/>
                <a:gd name="connsiteX22" fmla="*/ 81476 w 2783928"/>
                <a:gd name="connsiteY22" fmla="*/ 1629425 h 1672614"/>
                <a:gd name="connsiteX23" fmla="*/ 0 w 2783928"/>
                <a:gd name="connsiteY23" fmla="*/ 1672614 h 1672614"/>
                <a:gd name="connsiteX24" fmla="*/ 106122 w 2783928"/>
                <a:gd name="connsiteY24" fmla="*/ 1543071 h 1672614"/>
                <a:gd name="connsiteX25" fmla="*/ 186658 w 2783928"/>
                <a:gd name="connsiteY25" fmla="*/ 1508663 h 1672614"/>
                <a:gd name="connsiteX26" fmla="*/ 332554 w 2783928"/>
                <a:gd name="connsiteY26" fmla="*/ 1358345 h 1672614"/>
                <a:gd name="connsiteX27" fmla="*/ 424552 w 2783928"/>
                <a:gd name="connsiteY27" fmla="*/ 1280064 h 1672614"/>
                <a:gd name="connsiteX28" fmla="*/ 452805 w 2783928"/>
                <a:gd name="connsiteY28" fmla="*/ 1165998 h 1672614"/>
                <a:gd name="connsiteX29" fmla="*/ 543745 w 2783928"/>
                <a:gd name="connsiteY29" fmla="*/ 1024826 h 1672614"/>
                <a:gd name="connsiteX30" fmla="*/ 628063 w 2783928"/>
                <a:gd name="connsiteY30" fmla="*/ 784949 h 1672614"/>
                <a:gd name="connsiteX31" fmla="*/ 704266 w 2783928"/>
                <a:gd name="connsiteY31" fmla="*/ 643913 h 1672614"/>
                <a:gd name="connsiteX32" fmla="*/ 837644 w 2783928"/>
                <a:gd name="connsiteY32" fmla="*/ 573485 h 1672614"/>
                <a:gd name="connsiteX33" fmla="*/ 890428 w 2783928"/>
                <a:gd name="connsiteY33" fmla="*/ 447639 h 1672614"/>
                <a:gd name="connsiteX34" fmla="*/ 950831 w 2783928"/>
                <a:gd name="connsiteY34" fmla="*/ 382958 h 1672614"/>
                <a:gd name="connsiteX35" fmla="*/ 1039046 w 2783928"/>
                <a:gd name="connsiteY35" fmla="*/ 388755 h 1672614"/>
                <a:gd name="connsiteX36" fmla="*/ 1082040 w 2783928"/>
                <a:gd name="connsiteY36" fmla="*/ 392450 h 1672614"/>
                <a:gd name="connsiteX37" fmla="*/ 1137549 w 2783928"/>
                <a:gd name="connsiteY37" fmla="*/ 333570 h 1672614"/>
                <a:gd name="connsiteX38" fmla="*/ 1191446 w 2783928"/>
                <a:gd name="connsiteY38" fmla="*/ 270531 h 1672614"/>
                <a:gd name="connsiteX39" fmla="*/ 1289884 w 2783928"/>
                <a:gd name="connsiteY39" fmla="*/ 291543 h 1672614"/>
                <a:gd name="connsiteX0" fmla="*/ 1289884 w 2571302"/>
                <a:gd name="connsiteY0" fmla="*/ 222269 h 1603340"/>
                <a:gd name="connsiteX1" fmla="*/ 2571302 w 2571302"/>
                <a:gd name="connsiteY1" fmla="*/ 0 h 1603340"/>
                <a:gd name="connsiteX2" fmla="*/ 2484070 w 2571302"/>
                <a:gd name="connsiteY2" fmla="*/ 80821 h 1603340"/>
                <a:gd name="connsiteX3" fmla="*/ 2375031 w 2571302"/>
                <a:gd name="connsiteY3" fmla="*/ 144320 h 1603340"/>
                <a:gd name="connsiteX4" fmla="*/ 2279623 w 2571302"/>
                <a:gd name="connsiteY4" fmla="*/ 242458 h 1603340"/>
                <a:gd name="connsiteX5" fmla="*/ 2094255 w 2571302"/>
                <a:gd name="connsiteY5" fmla="*/ 334827 h 1603340"/>
                <a:gd name="connsiteX6" fmla="*/ 1857095 w 2571302"/>
                <a:gd name="connsiteY6" fmla="*/ 392555 h 1603340"/>
                <a:gd name="connsiteX7" fmla="*/ 1690811 w 2571302"/>
                <a:gd name="connsiteY7" fmla="*/ 375237 h 1603340"/>
                <a:gd name="connsiteX8" fmla="*/ 1420940 w 2571302"/>
                <a:gd name="connsiteY8" fmla="*/ 531105 h 1603340"/>
                <a:gd name="connsiteX9" fmla="*/ 1287366 w 2571302"/>
                <a:gd name="connsiteY9" fmla="*/ 698516 h 1603340"/>
                <a:gd name="connsiteX10" fmla="*/ 1183583 w 2571302"/>
                <a:gd name="connsiteY10" fmla="*/ 813144 h 1603340"/>
                <a:gd name="connsiteX11" fmla="*/ 1096548 w 2571302"/>
                <a:gd name="connsiteY11" fmla="*/ 865931 h 1603340"/>
                <a:gd name="connsiteX12" fmla="*/ 1022947 w 2571302"/>
                <a:gd name="connsiteY12" fmla="*/ 935205 h 1603340"/>
                <a:gd name="connsiteX13" fmla="*/ 998412 w 2571302"/>
                <a:gd name="connsiteY13" fmla="*/ 935205 h 1603340"/>
                <a:gd name="connsiteX14" fmla="*/ 946620 w 2571302"/>
                <a:gd name="connsiteY14" fmla="*/ 946752 h 1603340"/>
                <a:gd name="connsiteX15" fmla="*/ 823950 w 2571302"/>
                <a:gd name="connsiteY15" fmla="*/ 1044888 h 1603340"/>
                <a:gd name="connsiteX16" fmla="*/ 695830 w 2571302"/>
                <a:gd name="connsiteY16" fmla="*/ 1050660 h 1603340"/>
                <a:gd name="connsiteX17" fmla="*/ 477752 w 2571302"/>
                <a:gd name="connsiteY17" fmla="*/ 1218075 h 1603340"/>
                <a:gd name="connsiteX18" fmla="*/ 336000 w 2571302"/>
                <a:gd name="connsiteY18" fmla="*/ 1310443 h 1603340"/>
                <a:gd name="connsiteX19" fmla="*/ 303289 w 2571302"/>
                <a:gd name="connsiteY19" fmla="*/ 1385488 h 1603340"/>
                <a:gd name="connsiteX20" fmla="*/ 208672 w 2571302"/>
                <a:gd name="connsiteY20" fmla="*/ 1440769 h 1603340"/>
                <a:gd name="connsiteX21" fmla="*/ 81476 w 2571302"/>
                <a:gd name="connsiteY21" fmla="*/ 1560151 h 1603340"/>
                <a:gd name="connsiteX22" fmla="*/ 0 w 2571302"/>
                <a:gd name="connsiteY22" fmla="*/ 1603340 h 1603340"/>
                <a:gd name="connsiteX23" fmla="*/ 106122 w 2571302"/>
                <a:gd name="connsiteY23" fmla="*/ 1473797 h 1603340"/>
                <a:gd name="connsiteX24" fmla="*/ 186658 w 2571302"/>
                <a:gd name="connsiteY24" fmla="*/ 1439389 h 1603340"/>
                <a:gd name="connsiteX25" fmla="*/ 332554 w 2571302"/>
                <a:gd name="connsiteY25" fmla="*/ 1289071 h 1603340"/>
                <a:gd name="connsiteX26" fmla="*/ 424552 w 2571302"/>
                <a:gd name="connsiteY26" fmla="*/ 1210790 h 1603340"/>
                <a:gd name="connsiteX27" fmla="*/ 452805 w 2571302"/>
                <a:gd name="connsiteY27" fmla="*/ 1096724 h 1603340"/>
                <a:gd name="connsiteX28" fmla="*/ 543745 w 2571302"/>
                <a:gd name="connsiteY28" fmla="*/ 955552 h 1603340"/>
                <a:gd name="connsiteX29" fmla="*/ 628063 w 2571302"/>
                <a:gd name="connsiteY29" fmla="*/ 715675 h 1603340"/>
                <a:gd name="connsiteX30" fmla="*/ 704266 w 2571302"/>
                <a:gd name="connsiteY30" fmla="*/ 574639 h 1603340"/>
                <a:gd name="connsiteX31" fmla="*/ 837644 w 2571302"/>
                <a:gd name="connsiteY31" fmla="*/ 504211 h 1603340"/>
                <a:gd name="connsiteX32" fmla="*/ 890428 w 2571302"/>
                <a:gd name="connsiteY32" fmla="*/ 378365 h 1603340"/>
                <a:gd name="connsiteX33" fmla="*/ 950831 w 2571302"/>
                <a:gd name="connsiteY33" fmla="*/ 313684 h 1603340"/>
                <a:gd name="connsiteX34" fmla="*/ 1039046 w 2571302"/>
                <a:gd name="connsiteY34" fmla="*/ 319481 h 1603340"/>
                <a:gd name="connsiteX35" fmla="*/ 1082040 w 2571302"/>
                <a:gd name="connsiteY35" fmla="*/ 323176 h 1603340"/>
                <a:gd name="connsiteX36" fmla="*/ 1137549 w 2571302"/>
                <a:gd name="connsiteY36" fmla="*/ 264296 h 1603340"/>
                <a:gd name="connsiteX37" fmla="*/ 1191446 w 2571302"/>
                <a:gd name="connsiteY37" fmla="*/ 201257 h 1603340"/>
                <a:gd name="connsiteX38" fmla="*/ 1289884 w 2571302"/>
                <a:gd name="connsiteY38" fmla="*/ 222269 h 1603340"/>
                <a:gd name="connsiteX0" fmla="*/ 1289884 w 2484070"/>
                <a:gd name="connsiteY0" fmla="*/ 141448 h 1522519"/>
                <a:gd name="connsiteX1" fmla="*/ 2484070 w 2484070"/>
                <a:gd name="connsiteY1" fmla="*/ 0 h 1522519"/>
                <a:gd name="connsiteX2" fmla="*/ 2375031 w 2484070"/>
                <a:gd name="connsiteY2" fmla="*/ 63499 h 1522519"/>
                <a:gd name="connsiteX3" fmla="*/ 2279623 w 2484070"/>
                <a:gd name="connsiteY3" fmla="*/ 161637 h 1522519"/>
                <a:gd name="connsiteX4" fmla="*/ 2094255 w 2484070"/>
                <a:gd name="connsiteY4" fmla="*/ 254006 h 1522519"/>
                <a:gd name="connsiteX5" fmla="*/ 1857095 w 2484070"/>
                <a:gd name="connsiteY5" fmla="*/ 311734 h 1522519"/>
                <a:gd name="connsiteX6" fmla="*/ 1690811 w 2484070"/>
                <a:gd name="connsiteY6" fmla="*/ 294416 h 1522519"/>
                <a:gd name="connsiteX7" fmla="*/ 1420940 w 2484070"/>
                <a:gd name="connsiteY7" fmla="*/ 450284 h 1522519"/>
                <a:gd name="connsiteX8" fmla="*/ 1287366 w 2484070"/>
                <a:gd name="connsiteY8" fmla="*/ 617695 h 1522519"/>
                <a:gd name="connsiteX9" fmla="*/ 1183583 w 2484070"/>
                <a:gd name="connsiteY9" fmla="*/ 732323 h 1522519"/>
                <a:gd name="connsiteX10" fmla="*/ 1096548 w 2484070"/>
                <a:gd name="connsiteY10" fmla="*/ 785110 h 1522519"/>
                <a:gd name="connsiteX11" fmla="*/ 1022947 w 2484070"/>
                <a:gd name="connsiteY11" fmla="*/ 854384 h 1522519"/>
                <a:gd name="connsiteX12" fmla="*/ 998412 w 2484070"/>
                <a:gd name="connsiteY12" fmla="*/ 854384 h 1522519"/>
                <a:gd name="connsiteX13" fmla="*/ 946620 w 2484070"/>
                <a:gd name="connsiteY13" fmla="*/ 865931 h 1522519"/>
                <a:gd name="connsiteX14" fmla="*/ 823950 w 2484070"/>
                <a:gd name="connsiteY14" fmla="*/ 964067 h 1522519"/>
                <a:gd name="connsiteX15" fmla="*/ 695830 w 2484070"/>
                <a:gd name="connsiteY15" fmla="*/ 969839 h 1522519"/>
                <a:gd name="connsiteX16" fmla="*/ 477752 w 2484070"/>
                <a:gd name="connsiteY16" fmla="*/ 1137254 h 1522519"/>
                <a:gd name="connsiteX17" fmla="*/ 336000 w 2484070"/>
                <a:gd name="connsiteY17" fmla="*/ 1229622 h 1522519"/>
                <a:gd name="connsiteX18" fmla="*/ 303289 w 2484070"/>
                <a:gd name="connsiteY18" fmla="*/ 1304667 h 1522519"/>
                <a:gd name="connsiteX19" fmla="*/ 208672 w 2484070"/>
                <a:gd name="connsiteY19" fmla="*/ 1359948 h 1522519"/>
                <a:gd name="connsiteX20" fmla="*/ 81476 w 2484070"/>
                <a:gd name="connsiteY20" fmla="*/ 1479330 h 1522519"/>
                <a:gd name="connsiteX21" fmla="*/ 0 w 2484070"/>
                <a:gd name="connsiteY21" fmla="*/ 1522519 h 1522519"/>
                <a:gd name="connsiteX22" fmla="*/ 106122 w 2484070"/>
                <a:gd name="connsiteY22" fmla="*/ 1392976 h 1522519"/>
                <a:gd name="connsiteX23" fmla="*/ 186658 w 2484070"/>
                <a:gd name="connsiteY23" fmla="*/ 1358568 h 1522519"/>
                <a:gd name="connsiteX24" fmla="*/ 332554 w 2484070"/>
                <a:gd name="connsiteY24" fmla="*/ 1208250 h 1522519"/>
                <a:gd name="connsiteX25" fmla="*/ 424552 w 2484070"/>
                <a:gd name="connsiteY25" fmla="*/ 1129969 h 1522519"/>
                <a:gd name="connsiteX26" fmla="*/ 452805 w 2484070"/>
                <a:gd name="connsiteY26" fmla="*/ 1015903 h 1522519"/>
                <a:gd name="connsiteX27" fmla="*/ 543745 w 2484070"/>
                <a:gd name="connsiteY27" fmla="*/ 874731 h 1522519"/>
                <a:gd name="connsiteX28" fmla="*/ 628063 w 2484070"/>
                <a:gd name="connsiteY28" fmla="*/ 634854 h 1522519"/>
                <a:gd name="connsiteX29" fmla="*/ 704266 w 2484070"/>
                <a:gd name="connsiteY29" fmla="*/ 493818 h 1522519"/>
                <a:gd name="connsiteX30" fmla="*/ 837644 w 2484070"/>
                <a:gd name="connsiteY30" fmla="*/ 423390 h 1522519"/>
                <a:gd name="connsiteX31" fmla="*/ 890428 w 2484070"/>
                <a:gd name="connsiteY31" fmla="*/ 297544 h 1522519"/>
                <a:gd name="connsiteX32" fmla="*/ 950831 w 2484070"/>
                <a:gd name="connsiteY32" fmla="*/ 232863 h 1522519"/>
                <a:gd name="connsiteX33" fmla="*/ 1039046 w 2484070"/>
                <a:gd name="connsiteY33" fmla="*/ 238660 h 1522519"/>
                <a:gd name="connsiteX34" fmla="*/ 1082040 w 2484070"/>
                <a:gd name="connsiteY34" fmla="*/ 242355 h 1522519"/>
                <a:gd name="connsiteX35" fmla="*/ 1137549 w 2484070"/>
                <a:gd name="connsiteY35" fmla="*/ 183475 h 1522519"/>
                <a:gd name="connsiteX36" fmla="*/ 1191446 w 2484070"/>
                <a:gd name="connsiteY36" fmla="*/ 120436 h 1522519"/>
                <a:gd name="connsiteX37" fmla="*/ 1289884 w 2484070"/>
                <a:gd name="connsiteY37" fmla="*/ 141448 h 1522519"/>
                <a:gd name="connsiteX0" fmla="*/ 1289884 w 2375031"/>
                <a:gd name="connsiteY0" fmla="*/ 77948 h 1459019"/>
                <a:gd name="connsiteX1" fmla="*/ 2375031 w 2375031"/>
                <a:gd name="connsiteY1" fmla="*/ -1 h 1459019"/>
                <a:gd name="connsiteX2" fmla="*/ 2279623 w 2375031"/>
                <a:gd name="connsiteY2" fmla="*/ 98137 h 1459019"/>
                <a:gd name="connsiteX3" fmla="*/ 2094255 w 2375031"/>
                <a:gd name="connsiteY3" fmla="*/ 190506 h 1459019"/>
                <a:gd name="connsiteX4" fmla="*/ 1857095 w 2375031"/>
                <a:gd name="connsiteY4" fmla="*/ 248234 h 1459019"/>
                <a:gd name="connsiteX5" fmla="*/ 1690811 w 2375031"/>
                <a:gd name="connsiteY5" fmla="*/ 230916 h 1459019"/>
                <a:gd name="connsiteX6" fmla="*/ 1420940 w 2375031"/>
                <a:gd name="connsiteY6" fmla="*/ 386784 h 1459019"/>
                <a:gd name="connsiteX7" fmla="*/ 1287366 w 2375031"/>
                <a:gd name="connsiteY7" fmla="*/ 554195 h 1459019"/>
                <a:gd name="connsiteX8" fmla="*/ 1183583 w 2375031"/>
                <a:gd name="connsiteY8" fmla="*/ 668823 h 1459019"/>
                <a:gd name="connsiteX9" fmla="*/ 1096548 w 2375031"/>
                <a:gd name="connsiteY9" fmla="*/ 721610 h 1459019"/>
                <a:gd name="connsiteX10" fmla="*/ 1022947 w 2375031"/>
                <a:gd name="connsiteY10" fmla="*/ 790884 h 1459019"/>
                <a:gd name="connsiteX11" fmla="*/ 998412 w 2375031"/>
                <a:gd name="connsiteY11" fmla="*/ 790884 h 1459019"/>
                <a:gd name="connsiteX12" fmla="*/ 946620 w 2375031"/>
                <a:gd name="connsiteY12" fmla="*/ 802431 h 1459019"/>
                <a:gd name="connsiteX13" fmla="*/ 823950 w 2375031"/>
                <a:gd name="connsiteY13" fmla="*/ 900567 h 1459019"/>
                <a:gd name="connsiteX14" fmla="*/ 695830 w 2375031"/>
                <a:gd name="connsiteY14" fmla="*/ 906339 h 1459019"/>
                <a:gd name="connsiteX15" fmla="*/ 477752 w 2375031"/>
                <a:gd name="connsiteY15" fmla="*/ 1073754 h 1459019"/>
                <a:gd name="connsiteX16" fmla="*/ 336000 w 2375031"/>
                <a:gd name="connsiteY16" fmla="*/ 1166122 h 1459019"/>
                <a:gd name="connsiteX17" fmla="*/ 303289 w 2375031"/>
                <a:gd name="connsiteY17" fmla="*/ 1241167 h 1459019"/>
                <a:gd name="connsiteX18" fmla="*/ 208672 w 2375031"/>
                <a:gd name="connsiteY18" fmla="*/ 1296448 h 1459019"/>
                <a:gd name="connsiteX19" fmla="*/ 81476 w 2375031"/>
                <a:gd name="connsiteY19" fmla="*/ 1415830 h 1459019"/>
                <a:gd name="connsiteX20" fmla="*/ 0 w 2375031"/>
                <a:gd name="connsiteY20" fmla="*/ 1459019 h 1459019"/>
                <a:gd name="connsiteX21" fmla="*/ 106122 w 2375031"/>
                <a:gd name="connsiteY21" fmla="*/ 1329476 h 1459019"/>
                <a:gd name="connsiteX22" fmla="*/ 186658 w 2375031"/>
                <a:gd name="connsiteY22" fmla="*/ 1295068 h 1459019"/>
                <a:gd name="connsiteX23" fmla="*/ 332554 w 2375031"/>
                <a:gd name="connsiteY23" fmla="*/ 1144750 h 1459019"/>
                <a:gd name="connsiteX24" fmla="*/ 424552 w 2375031"/>
                <a:gd name="connsiteY24" fmla="*/ 1066469 h 1459019"/>
                <a:gd name="connsiteX25" fmla="*/ 452805 w 2375031"/>
                <a:gd name="connsiteY25" fmla="*/ 952403 h 1459019"/>
                <a:gd name="connsiteX26" fmla="*/ 543745 w 2375031"/>
                <a:gd name="connsiteY26" fmla="*/ 811231 h 1459019"/>
                <a:gd name="connsiteX27" fmla="*/ 628063 w 2375031"/>
                <a:gd name="connsiteY27" fmla="*/ 571354 h 1459019"/>
                <a:gd name="connsiteX28" fmla="*/ 704266 w 2375031"/>
                <a:gd name="connsiteY28" fmla="*/ 430318 h 1459019"/>
                <a:gd name="connsiteX29" fmla="*/ 837644 w 2375031"/>
                <a:gd name="connsiteY29" fmla="*/ 359890 h 1459019"/>
                <a:gd name="connsiteX30" fmla="*/ 890428 w 2375031"/>
                <a:gd name="connsiteY30" fmla="*/ 234044 h 1459019"/>
                <a:gd name="connsiteX31" fmla="*/ 950831 w 2375031"/>
                <a:gd name="connsiteY31" fmla="*/ 169363 h 1459019"/>
                <a:gd name="connsiteX32" fmla="*/ 1039046 w 2375031"/>
                <a:gd name="connsiteY32" fmla="*/ 175160 h 1459019"/>
                <a:gd name="connsiteX33" fmla="*/ 1082040 w 2375031"/>
                <a:gd name="connsiteY33" fmla="*/ 178855 h 1459019"/>
                <a:gd name="connsiteX34" fmla="*/ 1137549 w 2375031"/>
                <a:gd name="connsiteY34" fmla="*/ 119975 h 1459019"/>
                <a:gd name="connsiteX35" fmla="*/ 1191446 w 2375031"/>
                <a:gd name="connsiteY35" fmla="*/ 56936 h 1459019"/>
                <a:gd name="connsiteX36" fmla="*/ 1289884 w 2375031"/>
                <a:gd name="connsiteY36" fmla="*/ 77948 h 1459019"/>
                <a:gd name="connsiteX0" fmla="*/ 1289884 w 2279623"/>
                <a:gd name="connsiteY0" fmla="*/ 21011 h 1402082"/>
                <a:gd name="connsiteX1" fmla="*/ 2279623 w 2279623"/>
                <a:gd name="connsiteY1" fmla="*/ 41200 h 1402082"/>
                <a:gd name="connsiteX2" fmla="*/ 2094255 w 2279623"/>
                <a:gd name="connsiteY2" fmla="*/ 133569 h 1402082"/>
                <a:gd name="connsiteX3" fmla="*/ 1857095 w 2279623"/>
                <a:gd name="connsiteY3" fmla="*/ 191297 h 1402082"/>
                <a:gd name="connsiteX4" fmla="*/ 1690811 w 2279623"/>
                <a:gd name="connsiteY4" fmla="*/ 173979 h 1402082"/>
                <a:gd name="connsiteX5" fmla="*/ 1420940 w 2279623"/>
                <a:gd name="connsiteY5" fmla="*/ 329847 h 1402082"/>
                <a:gd name="connsiteX6" fmla="*/ 1287366 w 2279623"/>
                <a:gd name="connsiteY6" fmla="*/ 497258 h 1402082"/>
                <a:gd name="connsiteX7" fmla="*/ 1183583 w 2279623"/>
                <a:gd name="connsiteY7" fmla="*/ 611886 h 1402082"/>
                <a:gd name="connsiteX8" fmla="*/ 1096548 w 2279623"/>
                <a:gd name="connsiteY8" fmla="*/ 664673 h 1402082"/>
                <a:gd name="connsiteX9" fmla="*/ 1022947 w 2279623"/>
                <a:gd name="connsiteY9" fmla="*/ 733947 h 1402082"/>
                <a:gd name="connsiteX10" fmla="*/ 998412 w 2279623"/>
                <a:gd name="connsiteY10" fmla="*/ 733947 h 1402082"/>
                <a:gd name="connsiteX11" fmla="*/ 946620 w 2279623"/>
                <a:gd name="connsiteY11" fmla="*/ 745494 h 1402082"/>
                <a:gd name="connsiteX12" fmla="*/ 823950 w 2279623"/>
                <a:gd name="connsiteY12" fmla="*/ 843630 h 1402082"/>
                <a:gd name="connsiteX13" fmla="*/ 695830 w 2279623"/>
                <a:gd name="connsiteY13" fmla="*/ 849402 h 1402082"/>
                <a:gd name="connsiteX14" fmla="*/ 477752 w 2279623"/>
                <a:gd name="connsiteY14" fmla="*/ 1016817 h 1402082"/>
                <a:gd name="connsiteX15" fmla="*/ 336000 w 2279623"/>
                <a:gd name="connsiteY15" fmla="*/ 1109185 h 1402082"/>
                <a:gd name="connsiteX16" fmla="*/ 303289 w 2279623"/>
                <a:gd name="connsiteY16" fmla="*/ 1184230 h 1402082"/>
                <a:gd name="connsiteX17" fmla="*/ 208672 w 2279623"/>
                <a:gd name="connsiteY17" fmla="*/ 1239511 h 1402082"/>
                <a:gd name="connsiteX18" fmla="*/ 81476 w 2279623"/>
                <a:gd name="connsiteY18" fmla="*/ 1358893 h 1402082"/>
                <a:gd name="connsiteX19" fmla="*/ 0 w 2279623"/>
                <a:gd name="connsiteY19" fmla="*/ 1402082 h 1402082"/>
                <a:gd name="connsiteX20" fmla="*/ 106122 w 2279623"/>
                <a:gd name="connsiteY20" fmla="*/ 1272539 h 1402082"/>
                <a:gd name="connsiteX21" fmla="*/ 186658 w 2279623"/>
                <a:gd name="connsiteY21" fmla="*/ 1238131 h 1402082"/>
                <a:gd name="connsiteX22" fmla="*/ 332554 w 2279623"/>
                <a:gd name="connsiteY22" fmla="*/ 1087813 h 1402082"/>
                <a:gd name="connsiteX23" fmla="*/ 424552 w 2279623"/>
                <a:gd name="connsiteY23" fmla="*/ 1009532 h 1402082"/>
                <a:gd name="connsiteX24" fmla="*/ 452805 w 2279623"/>
                <a:gd name="connsiteY24" fmla="*/ 895466 h 1402082"/>
                <a:gd name="connsiteX25" fmla="*/ 543745 w 2279623"/>
                <a:gd name="connsiteY25" fmla="*/ 754294 h 1402082"/>
                <a:gd name="connsiteX26" fmla="*/ 628063 w 2279623"/>
                <a:gd name="connsiteY26" fmla="*/ 514417 h 1402082"/>
                <a:gd name="connsiteX27" fmla="*/ 704266 w 2279623"/>
                <a:gd name="connsiteY27" fmla="*/ 373381 h 1402082"/>
                <a:gd name="connsiteX28" fmla="*/ 837644 w 2279623"/>
                <a:gd name="connsiteY28" fmla="*/ 302953 h 1402082"/>
                <a:gd name="connsiteX29" fmla="*/ 890428 w 2279623"/>
                <a:gd name="connsiteY29" fmla="*/ 177107 h 1402082"/>
                <a:gd name="connsiteX30" fmla="*/ 950831 w 2279623"/>
                <a:gd name="connsiteY30" fmla="*/ 112426 h 1402082"/>
                <a:gd name="connsiteX31" fmla="*/ 1039046 w 2279623"/>
                <a:gd name="connsiteY31" fmla="*/ 118223 h 1402082"/>
                <a:gd name="connsiteX32" fmla="*/ 1082040 w 2279623"/>
                <a:gd name="connsiteY32" fmla="*/ 121918 h 1402082"/>
                <a:gd name="connsiteX33" fmla="*/ 1137549 w 2279623"/>
                <a:gd name="connsiteY33" fmla="*/ 63038 h 1402082"/>
                <a:gd name="connsiteX34" fmla="*/ 1191446 w 2279623"/>
                <a:gd name="connsiteY34" fmla="*/ -1 h 1402082"/>
                <a:gd name="connsiteX35" fmla="*/ 1289884 w 2279623"/>
                <a:gd name="connsiteY35" fmla="*/ 21011 h 1402082"/>
                <a:gd name="connsiteX0" fmla="*/ 1289884 w 2094255"/>
                <a:gd name="connsiteY0" fmla="*/ 21011 h 1402082"/>
                <a:gd name="connsiteX1" fmla="*/ 2094255 w 2094255"/>
                <a:gd name="connsiteY1" fmla="*/ 133569 h 1402082"/>
                <a:gd name="connsiteX2" fmla="*/ 1857095 w 2094255"/>
                <a:gd name="connsiteY2" fmla="*/ 191297 h 1402082"/>
                <a:gd name="connsiteX3" fmla="*/ 1690811 w 2094255"/>
                <a:gd name="connsiteY3" fmla="*/ 173979 h 1402082"/>
                <a:gd name="connsiteX4" fmla="*/ 1420940 w 2094255"/>
                <a:gd name="connsiteY4" fmla="*/ 329847 h 1402082"/>
                <a:gd name="connsiteX5" fmla="*/ 1287366 w 2094255"/>
                <a:gd name="connsiteY5" fmla="*/ 497258 h 1402082"/>
                <a:gd name="connsiteX6" fmla="*/ 1183583 w 2094255"/>
                <a:gd name="connsiteY6" fmla="*/ 611886 h 1402082"/>
                <a:gd name="connsiteX7" fmla="*/ 1096548 w 2094255"/>
                <a:gd name="connsiteY7" fmla="*/ 664673 h 1402082"/>
                <a:gd name="connsiteX8" fmla="*/ 1022947 w 2094255"/>
                <a:gd name="connsiteY8" fmla="*/ 733947 h 1402082"/>
                <a:gd name="connsiteX9" fmla="*/ 998412 w 2094255"/>
                <a:gd name="connsiteY9" fmla="*/ 733947 h 1402082"/>
                <a:gd name="connsiteX10" fmla="*/ 946620 w 2094255"/>
                <a:gd name="connsiteY10" fmla="*/ 745494 h 1402082"/>
                <a:gd name="connsiteX11" fmla="*/ 823950 w 2094255"/>
                <a:gd name="connsiteY11" fmla="*/ 843630 h 1402082"/>
                <a:gd name="connsiteX12" fmla="*/ 695830 w 2094255"/>
                <a:gd name="connsiteY12" fmla="*/ 849402 h 1402082"/>
                <a:gd name="connsiteX13" fmla="*/ 477752 w 2094255"/>
                <a:gd name="connsiteY13" fmla="*/ 1016817 h 1402082"/>
                <a:gd name="connsiteX14" fmla="*/ 336000 w 2094255"/>
                <a:gd name="connsiteY14" fmla="*/ 1109185 h 1402082"/>
                <a:gd name="connsiteX15" fmla="*/ 303289 w 2094255"/>
                <a:gd name="connsiteY15" fmla="*/ 1184230 h 1402082"/>
                <a:gd name="connsiteX16" fmla="*/ 208672 w 2094255"/>
                <a:gd name="connsiteY16" fmla="*/ 1239511 h 1402082"/>
                <a:gd name="connsiteX17" fmla="*/ 81476 w 2094255"/>
                <a:gd name="connsiteY17" fmla="*/ 1358893 h 1402082"/>
                <a:gd name="connsiteX18" fmla="*/ 0 w 2094255"/>
                <a:gd name="connsiteY18" fmla="*/ 1402082 h 1402082"/>
                <a:gd name="connsiteX19" fmla="*/ 106122 w 2094255"/>
                <a:gd name="connsiteY19" fmla="*/ 1272539 h 1402082"/>
                <a:gd name="connsiteX20" fmla="*/ 186658 w 2094255"/>
                <a:gd name="connsiteY20" fmla="*/ 1238131 h 1402082"/>
                <a:gd name="connsiteX21" fmla="*/ 332554 w 2094255"/>
                <a:gd name="connsiteY21" fmla="*/ 1087813 h 1402082"/>
                <a:gd name="connsiteX22" fmla="*/ 424552 w 2094255"/>
                <a:gd name="connsiteY22" fmla="*/ 1009532 h 1402082"/>
                <a:gd name="connsiteX23" fmla="*/ 452805 w 2094255"/>
                <a:gd name="connsiteY23" fmla="*/ 895466 h 1402082"/>
                <a:gd name="connsiteX24" fmla="*/ 543745 w 2094255"/>
                <a:gd name="connsiteY24" fmla="*/ 754294 h 1402082"/>
                <a:gd name="connsiteX25" fmla="*/ 628063 w 2094255"/>
                <a:gd name="connsiteY25" fmla="*/ 514417 h 1402082"/>
                <a:gd name="connsiteX26" fmla="*/ 704266 w 2094255"/>
                <a:gd name="connsiteY26" fmla="*/ 373381 h 1402082"/>
                <a:gd name="connsiteX27" fmla="*/ 837644 w 2094255"/>
                <a:gd name="connsiteY27" fmla="*/ 302953 h 1402082"/>
                <a:gd name="connsiteX28" fmla="*/ 890428 w 2094255"/>
                <a:gd name="connsiteY28" fmla="*/ 177107 h 1402082"/>
                <a:gd name="connsiteX29" fmla="*/ 950831 w 2094255"/>
                <a:gd name="connsiteY29" fmla="*/ 112426 h 1402082"/>
                <a:gd name="connsiteX30" fmla="*/ 1039046 w 2094255"/>
                <a:gd name="connsiteY30" fmla="*/ 118223 h 1402082"/>
                <a:gd name="connsiteX31" fmla="*/ 1082040 w 2094255"/>
                <a:gd name="connsiteY31" fmla="*/ 121918 h 1402082"/>
                <a:gd name="connsiteX32" fmla="*/ 1137549 w 2094255"/>
                <a:gd name="connsiteY32" fmla="*/ 63038 h 1402082"/>
                <a:gd name="connsiteX33" fmla="*/ 1191446 w 2094255"/>
                <a:gd name="connsiteY33" fmla="*/ -1 h 1402082"/>
                <a:gd name="connsiteX34" fmla="*/ 1289884 w 2094255"/>
                <a:gd name="connsiteY34" fmla="*/ 21011 h 1402082"/>
                <a:gd name="connsiteX0" fmla="*/ 1289884 w 1857095"/>
                <a:gd name="connsiteY0" fmla="*/ 21011 h 1402082"/>
                <a:gd name="connsiteX1" fmla="*/ 1857095 w 1857095"/>
                <a:gd name="connsiteY1" fmla="*/ 191297 h 1402082"/>
                <a:gd name="connsiteX2" fmla="*/ 1690811 w 1857095"/>
                <a:gd name="connsiteY2" fmla="*/ 173979 h 1402082"/>
                <a:gd name="connsiteX3" fmla="*/ 1420940 w 1857095"/>
                <a:gd name="connsiteY3" fmla="*/ 329847 h 1402082"/>
                <a:gd name="connsiteX4" fmla="*/ 1287366 w 1857095"/>
                <a:gd name="connsiteY4" fmla="*/ 497258 h 1402082"/>
                <a:gd name="connsiteX5" fmla="*/ 1183583 w 1857095"/>
                <a:gd name="connsiteY5" fmla="*/ 611886 h 1402082"/>
                <a:gd name="connsiteX6" fmla="*/ 1096548 w 1857095"/>
                <a:gd name="connsiteY6" fmla="*/ 664673 h 1402082"/>
                <a:gd name="connsiteX7" fmla="*/ 1022947 w 1857095"/>
                <a:gd name="connsiteY7" fmla="*/ 733947 h 1402082"/>
                <a:gd name="connsiteX8" fmla="*/ 998412 w 1857095"/>
                <a:gd name="connsiteY8" fmla="*/ 733947 h 1402082"/>
                <a:gd name="connsiteX9" fmla="*/ 946620 w 1857095"/>
                <a:gd name="connsiteY9" fmla="*/ 745494 h 1402082"/>
                <a:gd name="connsiteX10" fmla="*/ 823950 w 1857095"/>
                <a:gd name="connsiteY10" fmla="*/ 843630 h 1402082"/>
                <a:gd name="connsiteX11" fmla="*/ 695830 w 1857095"/>
                <a:gd name="connsiteY11" fmla="*/ 849402 h 1402082"/>
                <a:gd name="connsiteX12" fmla="*/ 477752 w 1857095"/>
                <a:gd name="connsiteY12" fmla="*/ 1016817 h 1402082"/>
                <a:gd name="connsiteX13" fmla="*/ 336000 w 1857095"/>
                <a:gd name="connsiteY13" fmla="*/ 1109185 h 1402082"/>
                <a:gd name="connsiteX14" fmla="*/ 303289 w 1857095"/>
                <a:gd name="connsiteY14" fmla="*/ 1184230 h 1402082"/>
                <a:gd name="connsiteX15" fmla="*/ 208672 w 1857095"/>
                <a:gd name="connsiteY15" fmla="*/ 1239511 h 1402082"/>
                <a:gd name="connsiteX16" fmla="*/ 81476 w 1857095"/>
                <a:gd name="connsiteY16" fmla="*/ 1358893 h 1402082"/>
                <a:gd name="connsiteX17" fmla="*/ 0 w 1857095"/>
                <a:gd name="connsiteY17" fmla="*/ 1402082 h 1402082"/>
                <a:gd name="connsiteX18" fmla="*/ 106122 w 1857095"/>
                <a:gd name="connsiteY18" fmla="*/ 1272539 h 1402082"/>
                <a:gd name="connsiteX19" fmla="*/ 186658 w 1857095"/>
                <a:gd name="connsiteY19" fmla="*/ 1238131 h 1402082"/>
                <a:gd name="connsiteX20" fmla="*/ 332554 w 1857095"/>
                <a:gd name="connsiteY20" fmla="*/ 1087813 h 1402082"/>
                <a:gd name="connsiteX21" fmla="*/ 424552 w 1857095"/>
                <a:gd name="connsiteY21" fmla="*/ 1009532 h 1402082"/>
                <a:gd name="connsiteX22" fmla="*/ 452805 w 1857095"/>
                <a:gd name="connsiteY22" fmla="*/ 895466 h 1402082"/>
                <a:gd name="connsiteX23" fmla="*/ 543745 w 1857095"/>
                <a:gd name="connsiteY23" fmla="*/ 754294 h 1402082"/>
                <a:gd name="connsiteX24" fmla="*/ 628063 w 1857095"/>
                <a:gd name="connsiteY24" fmla="*/ 514417 h 1402082"/>
                <a:gd name="connsiteX25" fmla="*/ 704266 w 1857095"/>
                <a:gd name="connsiteY25" fmla="*/ 373381 h 1402082"/>
                <a:gd name="connsiteX26" fmla="*/ 837644 w 1857095"/>
                <a:gd name="connsiteY26" fmla="*/ 302953 h 1402082"/>
                <a:gd name="connsiteX27" fmla="*/ 890428 w 1857095"/>
                <a:gd name="connsiteY27" fmla="*/ 177107 h 1402082"/>
                <a:gd name="connsiteX28" fmla="*/ 950831 w 1857095"/>
                <a:gd name="connsiteY28" fmla="*/ 112426 h 1402082"/>
                <a:gd name="connsiteX29" fmla="*/ 1039046 w 1857095"/>
                <a:gd name="connsiteY29" fmla="*/ 118223 h 1402082"/>
                <a:gd name="connsiteX30" fmla="*/ 1082040 w 1857095"/>
                <a:gd name="connsiteY30" fmla="*/ 121918 h 1402082"/>
                <a:gd name="connsiteX31" fmla="*/ 1137549 w 1857095"/>
                <a:gd name="connsiteY31" fmla="*/ 63038 h 1402082"/>
                <a:gd name="connsiteX32" fmla="*/ 1191446 w 1857095"/>
                <a:gd name="connsiteY32" fmla="*/ -1 h 1402082"/>
                <a:gd name="connsiteX33" fmla="*/ 1289884 w 1857095"/>
                <a:gd name="connsiteY33" fmla="*/ 21011 h 1402082"/>
                <a:gd name="connsiteX0" fmla="*/ 1289884 w 1690811"/>
                <a:gd name="connsiteY0" fmla="*/ 21011 h 1402082"/>
                <a:gd name="connsiteX1" fmla="*/ 1690811 w 1690811"/>
                <a:gd name="connsiteY1" fmla="*/ 173979 h 1402082"/>
                <a:gd name="connsiteX2" fmla="*/ 1420940 w 1690811"/>
                <a:gd name="connsiteY2" fmla="*/ 329847 h 1402082"/>
                <a:gd name="connsiteX3" fmla="*/ 1287366 w 1690811"/>
                <a:gd name="connsiteY3" fmla="*/ 497258 h 1402082"/>
                <a:gd name="connsiteX4" fmla="*/ 1183583 w 1690811"/>
                <a:gd name="connsiteY4" fmla="*/ 611886 h 1402082"/>
                <a:gd name="connsiteX5" fmla="*/ 1096548 w 1690811"/>
                <a:gd name="connsiteY5" fmla="*/ 664673 h 1402082"/>
                <a:gd name="connsiteX6" fmla="*/ 1022947 w 1690811"/>
                <a:gd name="connsiteY6" fmla="*/ 733947 h 1402082"/>
                <a:gd name="connsiteX7" fmla="*/ 998412 w 1690811"/>
                <a:gd name="connsiteY7" fmla="*/ 733947 h 1402082"/>
                <a:gd name="connsiteX8" fmla="*/ 946620 w 1690811"/>
                <a:gd name="connsiteY8" fmla="*/ 745494 h 1402082"/>
                <a:gd name="connsiteX9" fmla="*/ 823950 w 1690811"/>
                <a:gd name="connsiteY9" fmla="*/ 843630 h 1402082"/>
                <a:gd name="connsiteX10" fmla="*/ 695830 w 1690811"/>
                <a:gd name="connsiteY10" fmla="*/ 849402 h 1402082"/>
                <a:gd name="connsiteX11" fmla="*/ 477752 w 1690811"/>
                <a:gd name="connsiteY11" fmla="*/ 1016817 h 1402082"/>
                <a:gd name="connsiteX12" fmla="*/ 336000 w 1690811"/>
                <a:gd name="connsiteY12" fmla="*/ 1109185 h 1402082"/>
                <a:gd name="connsiteX13" fmla="*/ 303289 w 1690811"/>
                <a:gd name="connsiteY13" fmla="*/ 1184230 h 1402082"/>
                <a:gd name="connsiteX14" fmla="*/ 208672 w 1690811"/>
                <a:gd name="connsiteY14" fmla="*/ 1239511 h 1402082"/>
                <a:gd name="connsiteX15" fmla="*/ 81476 w 1690811"/>
                <a:gd name="connsiteY15" fmla="*/ 1358893 h 1402082"/>
                <a:gd name="connsiteX16" fmla="*/ 0 w 1690811"/>
                <a:gd name="connsiteY16" fmla="*/ 1402082 h 1402082"/>
                <a:gd name="connsiteX17" fmla="*/ 106122 w 1690811"/>
                <a:gd name="connsiteY17" fmla="*/ 1272539 h 1402082"/>
                <a:gd name="connsiteX18" fmla="*/ 186658 w 1690811"/>
                <a:gd name="connsiteY18" fmla="*/ 1238131 h 1402082"/>
                <a:gd name="connsiteX19" fmla="*/ 332554 w 1690811"/>
                <a:gd name="connsiteY19" fmla="*/ 1087813 h 1402082"/>
                <a:gd name="connsiteX20" fmla="*/ 424552 w 1690811"/>
                <a:gd name="connsiteY20" fmla="*/ 1009532 h 1402082"/>
                <a:gd name="connsiteX21" fmla="*/ 452805 w 1690811"/>
                <a:gd name="connsiteY21" fmla="*/ 895466 h 1402082"/>
                <a:gd name="connsiteX22" fmla="*/ 543745 w 1690811"/>
                <a:gd name="connsiteY22" fmla="*/ 754294 h 1402082"/>
                <a:gd name="connsiteX23" fmla="*/ 628063 w 1690811"/>
                <a:gd name="connsiteY23" fmla="*/ 514417 h 1402082"/>
                <a:gd name="connsiteX24" fmla="*/ 704266 w 1690811"/>
                <a:gd name="connsiteY24" fmla="*/ 373381 h 1402082"/>
                <a:gd name="connsiteX25" fmla="*/ 837644 w 1690811"/>
                <a:gd name="connsiteY25" fmla="*/ 302953 h 1402082"/>
                <a:gd name="connsiteX26" fmla="*/ 890428 w 1690811"/>
                <a:gd name="connsiteY26" fmla="*/ 177107 h 1402082"/>
                <a:gd name="connsiteX27" fmla="*/ 950831 w 1690811"/>
                <a:gd name="connsiteY27" fmla="*/ 112426 h 1402082"/>
                <a:gd name="connsiteX28" fmla="*/ 1039046 w 1690811"/>
                <a:gd name="connsiteY28" fmla="*/ 118223 h 1402082"/>
                <a:gd name="connsiteX29" fmla="*/ 1082040 w 1690811"/>
                <a:gd name="connsiteY29" fmla="*/ 121918 h 1402082"/>
                <a:gd name="connsiteX30" fmla="*/ 1137549 w 1690811"/>
                <a:gd name="connsiteY30" fmla="*/ 63038 h 1402082"/>
                <a:gd name="connsiteX31" fmla="*/ 1191446 w 1690811"/>
                <a:gd name="connsiteY31" fmla="*/ -1 h 1402082"/>
                <a:gd name="connsiteX32" fmla="*/ 1289884 w 1690811"/>
                <a:gd name="connsiteY32" fmla="*/ 21011 h 1402082"/>
                <a:gd name="connsiteX0" fmla="*/ 1289884 w 1420940"/>
                <a:gd name="connsiteY0" fmla="*/ 21011 h 1402082"/>
                <a:gd name="connsiteX1" fmla="*/ 1420940 w 1420940"/>
                <a:gd name="connsiteY1" fmla="*/ 329847 h 1402082"/>
                <a:gd name="connsiteX2" fmla="*/ 1287366 w 1420940"/>
                <a:gd name="connsiteY2" fmla="*/ 497258 h 1402082"/>
                <a:gd name="connsiteX3" fmla="*/ 1183583 w 1420940"/>
                <a:gd name="connsiteY3" fmla="*/ 611886 h 1402082"/>
                <a:gd name="connsiteX4" fmla="*/ 1096548 w 1420940"/>
                <a:gd name="connsiteY4" fmla="*/ 664673 h 1402082"/>
                <a:gd name="connsiteX5" fmla="*/ 1022947 w 1420940"/>
                <a:gd name="connsiteY5" fmla="*/ 733947 h 1402082"/>
                <a:gd name="connsiteX6" fmla="*/ 998412 w 1420940"/>
                <a:gd name="connsiteY6" fmla="*/ 733947 h 1402082"/>
                <a:gd name="connsiteX7" fmla="*/ 946620 w 1420940"/>
                <a:gd name="connsiteY7" fmla="*/ 745494 h 1402082"/>
                <a:gd name="connsiteX8" fmla="*/ 823950 w 1420940"/>
                <a:gd name="connsiteY8" fmla="*/ 843630 h 1402082"/>
                <a:gd name="connsiteX9" fmla="*/ 695830 w 1420940"/>
                <a:gd name="connsiteY9" fmla="*/ 849402 h 1402082"/>
                <a:gd name="connsiteX10" fmla="*/ 477752 w 1420940"/>
                <a:gd name="connsiteY10" fmla="*/ 1016817 h 1402082"/>
                <a:gd name="connsiteX11" fmla="*/ 336000 w 1420940"/>
                <a:gd name="connsiteY11" fmla="*/ 1109185 h 1402082"/>
                <a:gd name="connsiteX12" fmla="*/ 303289 w 1420940"/>
                <a:gd name="connsiteY12" fmla="*/ 1184230 h 1402082"/>
                <a:gd name="connsiteX13" fmla="*/ 208672 w 1420940"/>
                <a:gd name="connsiteY13" fmla="*/ 1239511 h 1402082"/>
                <a:gd name="connsiteX14" fmla="*/ 81476 w 1420940"/>
                <a:gd name="connsiteY14" fmla="*/ 1358893 h 1402082"/>
                <a:gd name="connsiteX15" fmla="*/ 0 w 1420940"/>
                <a:gd name="connsiteY15" fmla="*/ 1402082 h 1402082"/>
                <a:gd name="connsiteX16" fmla="*/ 106122 w 1420940"/>
                <a:gd name="connsiteY16" fmla="*/ 1272539 h 1402082"/>
                <a:gd name="connsiteX17" fmla="*/ 186658 w 1420940"/>
                <a:gd name="connsiteY17" fmla="*/ 1238131 h 1402082"/>
                <a:gd name="connsiteX18" fmla="*/ 332554 w 1420940"/>
                <a:gd name="connsiteY18" fmla="*/ 1087813 h 1402082"/>
                <a:gd name="connsiteX19" fmla="*/ 424552 w 1420940"/>
                <a:gd name="connsiteY19" fmla="*/ 1009532 h 1402082"/>
                <a:gd name="connsiteX20" fmla="*/ 452805 w 1420940"/>
                <a:gd name="connsiteY20" fmla="*/ 895466 h 1402082"/>
                <a:gd name="connsiteX21" fmla="*/ 543745 w 1420940"/>
                <a:gd name="connsiteY21" fmla="*/ 754294 h 1402082"/>
                <a:gd name="connsiteX22" fmla="*/ 628063 w 1420940"/>
                <a:gd name="connsiteY22" fmla="*/ 514417 h 1402082"/>
                <a:gd name="connsiteX23" fmla="*/ 704266 w 1420940"/>
                <a:gd name="connsiteY23" fmla="*/ 373381 h 1402082"/>
                <a:gd name="connsiteX24" fmla="*/ 837644 w 1420940"/>
                <a:gd name="connsiteY24" fmla="*/ 302953 h 1402082"/>
                <a:gd name="connsiteX25" fmla="*/ 890428 w 1420940"/>
                <a:gd name="connsiteY25" fmla="*/ 177107 h 1402082"/>
                <a:gd name="connsiteX26" fmla="*/ 950831 w 1420940"/>
                <a:gd name="connsiteY26" fmla="*/ 112426 h 1402082"/>
                <a:gd name="connsiteX27" fmla="*/ 1039046 w 1420940"/>
                <a:gd name="connsiteY27" fmla="*/ 118223 h 1402082"/>
                <a:gd name="connsiteX28" fmla="*/ 1082040 w 1420940"/>
                <a:gd name="connsiteY28" fmla="*/ 121918 h 1402082"/>
                <a:gd name="connsiteX29" fmla="*/ 1137549 w 1420940"/>
                <a:gd name="connsiteY29" fmla="*/ 63038 h 1402082"/>
                <a:gd name="connsiteX30" fmla="*/ 1191446 w 1420940"/>
                <a:gd name="connsiteY30" fmla="*/ -1 h 1402082"/>
                <a:gd name="connsiteX31" fmla="*/ 1289884 w 1420940"/>
                <a:gd name="connsiteY31" fmla="*/ 21011 h 1402082"/>
                <a:gd name="connsiteX0" fmla="*/ 1289884 w 1289884"/>
                <a:gd name="connsiteY0" fmla="*/ 21011 h 1402082"/>
                <a:gd name="connsiteX1" fmla="*/ 1287366 w 1289884"/>
                <a:gd name="connsiteY1" fmla="*/ 497258 h 1402082"/>
                <a:gd name="connsiteX2" fmla="*/ 1183583 w 1289884"/>
                <a:gd name="connsiteY2" fmla="*/ 611886 h 1402082"/>
                <a:gd name="connsiteX3" fmla="*/ 1096548 w 1289884"/>
                <a:gd name="connsiteY3" fmla="*/ 664673 h 1402082"/>
                <a:gd name="connsiteX4" fmla="*/ 1022947 w 1289884"/>
                <a:gd name="connsiteY4" fmla="*/ 733947 h 1402082"/>
                <a:gd name="connsiteX5" fmla="*/ 998412 w 1289884"/>
                <a:gd name="connsiteY5" fmla="*/ 733947 h 1402082"/>
                <a:gd name="connsiteX6" fmla="*/ 946620 w 1289884"/>
                <a:gd name="connsiteY6" fmla="*/ 745494 h 1402082"/>
                <a:gd name="connsiteX7" fmla="*/ 823950 w 1289884"/>
                <a:gd name="connsiteY7" fmla="*/ 843630 h 1402082"/>
                <a:gd name="connsiteX8" fmla="*/ 695830 w 1289884"/>
                <a:gd name="connsiteY8" fmla="*/ 849402 h 1402082"/>
                <a:gd name="connsiteX9" fmla="*/ 477752 w 1289884"/>
                <a:gd name="connsiteY9" fmla="*/ 1016817 h 1402082"/>
                <a:gd name="connsiteX10" fmla="*/ 336000 w 1289884"/>
                <a:gd name="connsiteY10" fmla="*/ 1109185 h 1402082"/>
                <a:gd name="connsiteX11" fmla="*/ 303289 w 1289884"/>
                <a:gd name="connsiteY11" fmla="*/ 1184230 h 1402082"/>
                <a:gd name="connsiteX12" fmla="*/ 208672 w 1289884"/>
                <a:gd name="connsiteY12" fmla="*/ 1239511 h 1402082"/>
                <a:gd name="connsiteX13" fmla="*/ 81476 w 1289884"/>
                <a:gd name="connsiteY13" fmla="*/ 1358893 h 1402082"/>
                <a:gd name="connsiteX14" fmla="*/ 0 w 1289884"/>
                <a:gd name="connsiteY14" fmla="*/ 1402082 h 1402082"/>
                <a:gd name="connsiteX15" fmla="*/ 106122 w 1289884"/>
                <a:gd name="connsiteY15" fmla="*/ 1272539 h 1402082"/>
                <a:gd name="connsiteX16" fmla="*/ 186658 w 1289884"/>
                <a:gd name="connsiteY16" fmla="*/ 1238131 h 1402082"/>
                <a:gd name="connsiteX17" fmla="*/ 332554 w 1289884"/>
                <a:gd name="connsiteY17" fmla="*/ 1087813 h 1402082"/>
                <a:gd name="connsiteX18" fmla="*/ 424552 w 1289884"/>
                <a:gd name="connsiteY18" fmla="*/ 1009532 h 1402082"/>
                <a:gd name="connsiteX19" fmla="*/ 452805 w 1289884"/>
                <a:gd name="connsiteY19" fmla="*/ 895466 h 1402082"/>
                <a:gd name="connsiteX20" fmla="*/ 543745 w 1289884"/>
                <a:gd name="connsiteY20" fmla="*/ 754294 h 1402082"/>
                <a:gd name="connsiteX21" fmla="*/ 628063 w 1289884"/>
                <a:gd name="connsiteY21" fmla="*/ 514417 h 1402082"/>
                <a:gd name="connsiteX22" fmla="*/ 704266 w 1289884"/>
                <a:gd name="connsiteY22" fmla="*/ 373381 h 1402082"/>
                <a:gd name="connsiteX23" fmla="*/ 837644 w 1289884"/>
                <a:gd name="connsiteY23" fmla="*/ 302953 h 1402082"/>
                <a:gd name="connsiteX24" fmla="*/ 890428 w 1289884"/>
                <a:gd name="connsiteY24" fmla="*/ 177107 h 1402082"/>
                <a:gd name="connsiteX25" fmla="*/ 950831 w 1289884"/>
                <a:gd name="connsiteY25" fmla="*/ 112426 h 1402082"/>
                <a:gd name="connsiteX26" fmla="*/ 1039046 w 1289884"/>
                <a:gd name="connsiteY26" fmla="*/ 118223 h 1402082"/>
                <a:gd name="connsiteX27" fmla="*/ 1082040 w 1289884"/>
                <a:gd name="connsiteY27" fmla="*/ 121918 h 1402082"/>
                <a:gd name="connsiteX28" fmla="*/ 1137549 w 1289884"/>
                <a:gd name="connsiteY28" fmla="*/ 63038 h 1402082"/>
                <a:gd name="connsiteX29" fmla="*/ 1191446 w 1289884"/>
                <a:gd name="connsiteY29" fmla="*/ -1 h 1402082"/>
                <a:gd name="connsiteX30" fmla="*/ 1289884 w 1289884"/>
                <a:gd name="connsiteY30" fmla="*/ 21011 h 1402082"/>
                <a:gd name="connsiteX0" fmla="*/ 1235364 w 1287375"/>
                <a:gd name="connsiteY0" fmla="*/ 15239 h 1402082"/>
                <a:gd name="connsiteX1" fmla="*/ 1287366 w 1287375"/>
                <a:gd name="connsiteY1" fmla="*/ 497258 h 1402082"/>
                <a:gd name="connsiteX2" fmla="*/ 1183583 w 1287375"/>
                <a:gd name="connsiteY2" fmla="*/ 611886 h 1402082"/>
                <a:gd name="connsiteX3" fmla="*/ 1096548 w 1287375"/>
                <a:gd name="connsiteY3" fmla="*/ 664673 h 1402082"/>
                <a:gd name="connsiteX4" fmla="*/ 1022947 w 1287375"/>
                <a:gd name="connsiteY4" fmla="*/ 733947 h 1402082"/>
                <a:gd name="connsiteX5" fmla="*/ 998412 w 1287375"/>
                <a:gd name="connsiteY5" fmla="*/ 733947 h 1402082"/>
                <a:gd name="connsiteX6" fmla="*/ 946620 w 1287375"/>
                <a:gd name="connsiteY6" fmla="*/ 745494 h 1402082"/>
                <a:gd name="connsiteX7" fmla="*/ 823950 w 1287375"/>
                <a:gd name="connsiteY7" fmla="*/ 843630 h 1402082"/>
                <a:gd name="connsiteX8" fmla="*/ 695830 w 1287375"/>
                <a:gd name="connsiteY8" fmla="*/ 849402 h 1402082"/>
                <a:gd name="connsiteX9" fmla="*/ 477752 w 1287375"/>
                <a:gd name="connsiteY9" fmla="*/ 1016817 h 1402082"/>
                <a:gd name="connsiteX10" fmla="*/ 336000 w 1287375"/>
                <a:gd name="connsiteY10" fmla="*/ 1109185 h 1402082"/>
                <a:gd name="connsiteX11" fmla="*/ 303289 w 1287375"/>
                <a:gd name="connsiteY11" fmla="*/ 1184230 h 1402082"/>
                <a:gd name="connsiteX12" fmla="*/ 208672 w 1287375"/>
                <a:gd name="connsiteY12" fmla="*/ 1239511 h 1402082"/>
                <a:gd name="connsiteX13" fmla="*/ 81476 w 1287375"/>
                <a:gd name="connsiteY13" fmla="*/ 1358893 h 1402082"/>
                <a:gd name="connsiteX14" fmla="*/ 0 w 1287375"/>
                <a:gd name="connsiteY14" fmla="*/ 1402082 h 1402082"/>
                <a:gd name="connsiteX15" fmla="*/ 106122 w 1287375"/>
                <a:gd name="connsiteY15" fmla="*/ 1272539 h 1402082"/>
                <a:gd name="connsiteX16" fmla="*/ 186658 w 1287375"/>
                <a:gd name="connsiteY16" fmla="*/ 1238131 h 1402082"/>
                <a:gd name="connsiteX17" fmla="*/ 332554 w 1287375"/>
                <a:gd name="connsiteY17" fmla="*/ 1087813 h 1402082"/>
                <a:gd name="connsiteX18" fmla="*/ 424552 w 1287375"/>
                <a:gd name="connsiteY18" fmla="*/ 1009532 h 1402082"/>
                <a:gd name="connsiteX19" fmla="*/ 452805 w 1287375"/>
                <a:gd name="connsiteY19" fmla="*/ 895466 h 1402082"/>
                <a:gd name="connsiteX20" fmla="*/ 543745 w 1287375"/>
                <a:gd name="connsiteY20" fmla="*/ 754294 h 1402082"/>
                <a:gd name="connsiteX21" fmla="*/ 628063 w 1287375"/>
                <a:gd name="connsiteY21" fmla="*/ 514417 h 1402082"/>
                <a:gd name="connsiteX22" fmla="*/ 704266 w 1287375"/>
                <a:gd name="connsiteY22" fmla="*/ 373381 h 1402082"/>
                <a:gd name="connsiteX23" fmla="*/ 837644 w 1287375"/>
                <a:gd name="connsiteY23" fmla="*/ 302953 h 1402082"/>
                <a:gd name="connsiteX24" fmla="*/ 890428 w 1287375"/>
                <a:gd name="connsiteY24" fmla="*/ 177107 h 1402082"/>
                <a:gd name="connsiteX25" fmla="*/ 950831 w 1287375"/>
                <a:gd name="connsiteY25" fmla="*/ 112426 h 1402082"/>
                <a:gd name="connsiteX26" fmla="*/ 1039046 w 1287375"/>
                <a:gd name="connsiteY26" fmla="*/ 118223 h 1402082"/>
                <a:gd name="connsiteX27" fmla="*/ 1082040 w 1287375"/>
                <a:gd name="connsiteY27" fmla="*/ 121918 h 1402082"/>
                <a:gd name="connsiteX28" fmla="*/ 1137549 w 1287375"/>
                <a:gd name="connsiteY28" fmla="*/ 63038 h 1402082"/>
                <a:gd name="connsiteX29" fmla="*/ 1191446 w 1287375"/>
                <a:gd name="connsiteY29" fmla="*/ -1 h 1402082"/>
                <a:gd name="connsiteX30" fmla="*/ 1235364 w 1287375"/>
                <a:gd name="connsiteY30" fmla="*/ 15239 h 1402082"/>
                <a:gd name="connsiteX0" fmla="*/ 1235364 w 1287366"/>
                <a:gd name="connsiteY0" fmla="*/ 15239 h 1402082"/>
                <a:gd name="connsiteX1" fmla="*/ 1287366 w 1287366"/>
                <a:gd name="connsiteY1" fmla="*/ 497258 h 1402082"/>
                <a:gd name="connsiteX2" fmla="*/ 1183583 w 1287366"/>
                <a:gd name="connsiteY2" fmla="*/ 611886 h 1402082"/>
                <a:gd name="connsiteX3" fmla="*/ 1096548 w 1287366"/>
                <a:gd name="connsiteY3" fmla="*/ 664673 h 1402082"/>
                <a:gd name="connsiteX4" fmla="*/ 1022947 w 1287366"/>
                <a:gd name="connsiteY4" fmla="*/ 733947 h 1402082"/>
                <a:gd name="connsiteX5" fmla="*/ 998412 w 1287366"/>
                <a:gd name="connsiteY5" fmla="*/ 733947 h 1402082"/>
                <a:gd name="connsiteX6" fmla="*/ 946620 w 1287366"/>
                <a:gd name="connsiteY6" fmla="*/ 745494 h 1402082"/>
                <a:gd name="connsiteX7" fmla="*/ 823950 w 1287366"/>
                <a:gd name="connsiteY7" fmla="*/ 843630 h 1402082"/>
                <a:gd name="connsiteX8" fmla="*/ 695830 w 1287366"/>
                <a:gd name="connsiteY8" fmla="*/ 849402 h 1402082"/>
                <a:gd name="connsiteX9" fmla="*/ 477752 w 1287366"/>
                <a:gd name="connsiteY9" fmla="*/ 1016817 h 1402082"/>
                <a:gd name="connsiteX10" fmla="*/ 336000 w 1287366"/>
                <a:gd name="connsiteY10" fmla="*/ 1109185 h 1402082"/>
                <a:gd name="connsiteX11" fmla="*/ 303289 w 1287366"/>
                <a:gd name="connsiteY11" fmla="*/ 1184230 h 1402082"/>
                <a:gd name="connsiteX12" fmla="*/ 208672 w 1287366"/>
                <a:gd name="connsiteY12" fmla="*/ 1239511 h 1402082"/>
                <a:gd name="connsiteX13" fmla="*/ 81476 w 1287366"/>
                <a:gd name="connsiteY13" fmla="*/ 1358893 h 1402082"/>
                <a:gd name="connsiteX14" fmla="*/ 0 w 1287366"/>
                <a:gd name="connsiteY14" fmla="*/ 1402082 h 1402082"/>
                <a:gd name="connsiteX15" fmla="*/ 106122 w 1287366"/>
                <a:gd name="connsiteY15" fmla="*/ 1272539 h 1402082"/>
                <a:gd name="connsiteX16" fmla="*/ 186658 w 1287366"/>
                <a:gd name="connsiteY16" fmla="*/ 1238131 h 1402082"/>
                <a:gd name="connsiteX17" fmla="*/ 332554 w 1287366"/>
                <a:gd name="connsiteY17" fmla="*/ 1087813 h 1402082"/>
                <a:gd name="connsiteX18" fmla="*/ 424552 w 1287366"/>
                <a:gd name="connsiteY18" fmla="*/ 1009532 h 1402082"/>
                <a:gd name="connsiteX19" fmla="*/ 452805 w 1287366"/>
                <a:gd name="connsiteY19" fmla="*/ 895466 h 1402082"/>
                <a:gd name="connsiteX20" fmla="*/ 543745 w 1287366"/>
                <a:gd name="connsiteY20" fmla="*/ 754294 h 1402082"/>
                <a:gd name="connsiteX21" fmla="*/ 628063 w 1287366"/>
                <a:gd name="connsiteY21" fmla="*/ 514417 h 1402082"/>
                <a:gd name="connsiteX22" fmla="*/ 704266 w 1287366"/>
                <a:gd name="connsiteY22" fmla="*/ 373381 h 1402082"/>
                <a:gd name="connsiteX23" fmla="*/ 837644 w 1287366"/>
                <a:gd name="connsiteY23" fmla="*/ 302953 h 1402082"/>
                <a:gd name="connsiteX24" fmla="*/ 890428 w 1287366"/>
                <a:gd name="connsiteY24" fmla="*/ 177107 h 1402082"/>
                <a:gd name="connsiteX25" fmla="*/ 950831 w 1287366"/>
                <a:gd name="connsiteY25" fmla="*/ 112426 h 1402082"/>
                <a:gd name="connsiteX26" fmla="*/ 1039046 w 1287366"/>
                <a:gd name="connsiteY26" fmla="*/ 118223 h 1402082"/>
                <a:gd name="connsiteX27" fmla="*/ 1082040 w 1287366"/>
                <a:gd name="connsiteY27" fmla="*/ 121918 h 1402082"/>
                <a:gd name="connsiteX28" fmla="*/ 1137549 w 1287366"/>
                <a:gd name="connsiteY28" fmla="*/ 63038 h 1402082"/>
                <a:gd name="connsiteX29" fmla="*/ 1191446 w 1287366"/>
                <a:gd name="connsiteY29" fmla="*/ -1 h 1402082"/>
                <a:gd name="connsiteX30" fmla="*/ 1235364 w 1287366"/>
                <a:gd name="connsiteY30" fmla="*/ 15239 h 1402082"/>
                <a:gd name="connsiteX0" fmla="*/ 1235364 w 1235572"/>
                <a:gd name="connsiteY0" fmla="*/ 15239 h 1402082"/>
                <a:gd name="connsiteX1" fmla="*/ 1235572 w 1235572"/>
                <a:gd name="connsiteY1" fmla="*/ 549213 h 1402082"/>
                <a:gd name="connsiteX2" fmla="*/ 1183583 w 1235572"/>
                <a:gd name="connsiteY2" fmla="*/ 611886 h 1402082"/>
                <a:gd name="connsiteX3" fmla="*/ 1096548 w 1235572"/>
                <a:gd name="connsiteY3" fmla="*/ 664673 h 1402082"/>
                <a:gd name="connsiteX4" fmla="*/ 1022947 w 1235572"/>
                <a:gd name="connsiteY4" fmla="*/ 733947 h 1402082"/>
                <a:gd name="connsiteX5" fmla="*/ 998412 w 1235572"/>
                <a:gd name="connsiteY5" fmla="*/ 733947 h 1402082"/>
                <a:gd name="connsiteX6" fmla="*/ 946620 w 1235572"/>
                <a:gd name="connsiteY6" fmla="*/ 745494 h 1402082"/>
                <a:gd name="connsiteX7" fmla="*/ 823950 w 1235572"/>
                <a:gd name="connsiteY7" fmla="*/ 843630 h 1402082"/>
                <a:gd name="connsiteX8" fmla="*/ 695830 w 1235572"/>
                <a:gd name="connsiteY8" fmla="*/ 849402 h 1402082"/>
                <a:gd name="connsiteX9" fmla="*/ 477752 w 1235572"/>
                <a:gd name="connsiteY9" fmla="*/ 1016817 h 1402082"/>
                <a:gd name="connsiteX10" fmla="*/ 336000 w 1235572"/>
                <a:gd name="connsiteY10" fmla="*/ 1109185 h 1402082"/>
                <a:gd name="connsiteX11" fmla="*/ 303289 w 1235572"/>
                <a:gd name="connsiteY11" fmla="*/ 1184230 h 1402082"/>
                <a:gd name="connsiteX12" fmla="*/ 208672 w 1235572"/>
                <a:gd name="connsiteY12" fmla="*/ 1239511 h 1402082"/>
                <a:gd name="connsiteX13" fmla="*/ 81476 w 1235572"/>
                <a:gd name="connsiteY13" fmla="*/ 1358893 h 1402082"/>
                <a:gd name="connsiteX14" fmla="*/ 0 w 1235572"/>
                <a:gd name="connsiteY14" fmla="*/ 1402082 h 1402082"/>
                <a:gd name="connsiteX15" fmla="*/ 106122 w 1235572"/>
                <a:gd name="connsiteY15" fmla="*/ 1272539 h 1402082"/>
                <a:gd name="connsiteX16" fmla="*/ 186658 w 1235572"/>
                <a:gd name="connsiteY16" fmla="*/ 1238131 h 1402082"/>
                <a:gd name="connsiteX17" fmla="*/ 332554 w 1235572"/>
                <a:gd name="connsiteY17" fmla="*/ 1087813 h 1402082"/>
                <a:gd name="connsiteX18" fmla="*/ 424552 w 1235572"/>
                <a:gd name="connsiteY18" fmla="*/ 1009532 h 1402082"/>
                <a:gd name="connsiteX19" fmla="*/ 452805 w 1235572"/>
                <a:gd name="connsiteY19" fmla="*/ 895466 h 1402082"/>
                <a:gd name="connsiteX20" fmla="*/ 543745 w 1235572"/>
                <a:gd name="connsiteY20" fmla="*/ 754294 h 1402082"/>
                <a:gd name="connsiteX21" fmla="*/ 628063 w 1235572"/>
                <a:gd name="connsiteY21" fmla="*/ 514417 h 1402082"/>
                <a:gd name="connsiteX22" fmla="*/ 704266 w 1235572"/>
                <a:gd name="connsiteY22" fmla="*/ 373381 h 1402082"/>
                <a:gd name="connsiteX23" fmla="*/ 837644 w 1235572"/>
                <a:gd name="connsiteY23" fmla="*/ 302953 h 1402082"/>
                <a:gd name="connsiteX24" fmla="*/ 890428 w 1235572"/>
                <a:gd name="connsiteY24" fmla="*/ 177107 h 1402082"/>
                <a:gd name="connsiteX25" fmla="*/ 950831 w 1235572"/>
                <a:gd name="connsiteY25" fmla="*/ 112426 h 1402082"/>
                <a:gd name="connsiteX26" fmla="*/ 1039046 w 1235572"/>
                <a:gd name="connsiteY26" fmla="*/ 118223 h 1402082"/>
                <a:gd name="connsiteX27" fmla="*/ 1082040 w 1235572"/>
                <a:gd name="connsiteY27" fmla="*/ 121918 h 1402082"/>
                <a:gd name="connsiteX28" fmla="*/ 1137549 w 1235572"/>
                <a:gd name="connsiteY28" fmla="*/ 63038 h 1402082"/>
                <a:gd name="connsiteX29" fmla="*/ 1191446 w 1235572"/>
                <a:gd name="connsiteY29" fmla="*/ -1 h 1402082"/>
                <a:gd name="connsiteX30" fmla="*/ 1235364 w 1235572"/>
                <a:gd name="connsiteY30" fmla="*/ 15239 h 140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35572" h="1402082">
                  <a:moveTo>
                    <a:pt x="1235364" y="15239"/>
                  </a:moveTo>
                  <a:cubicBezTo>
                    <a:pt x="1235433" y="193230"/>
                    <a:pt x="1235503" y="371222"/>
                    <a:pt x="1235572" y="549213"/>
                  </a:cubicBezTo>
                  <a:lnTo>
                    <a:pt x="1183583" y="611886"/>
                  </a:lnTo>
                  <a:lnTo>
                    <a:pt x="1096548" y="664673"/>
                  </a:lnTo>
                  <a:lnTo>
                    <a:pt x="1022947" y="733947"/>
                  </a:lnTo>
                  <a:cubicBezTo>
                    <a:pt x="1018403" y="732022"/>
                    <a:pt x="1002956" y="735872"/>
                    <a:pt x="998412" y="733947"/>
                  </a:cubicBezTo>
                  <a:lnTo>
                    <a:pt x="946620" y="745494"/>
                  </a:lnTo>
                  <a:lnTo>
                    <a:pt x="823950" y="843630"/>
                  </a:lnTo>
                  <a:lnTo>
                    <a:pt x="695830" y="849402"/>
                  </a:lnTo>
                  <a:cubicBezTo>
                    <a:pt x="626772" y="909055"/>
                    <a:pt x="546810" y="957164"/>
                    <a:pt x="477752" y="1016817"/>
                  </a:cubicBezTo>
                  <a:lnTo>
                    <a:pt x="336000" y="1109185"/>
                  </a:lnTo>
                  <a:lnTo>
                    <a:pt x="303289" y="1184230"/>
                  </a:lnTo>
                  <a:lnTo>
                    <a:pt x="208672" y="1239511"/>
                  </a:lnTo>
                  <a:lnTo>
                    <a:pt x="81476" y="1358893"/>
                  </a:lnTo>
                  <a:lnTo>
                    <a:pt x="0" y="1402082"/>
                  </a:lnTo>
                  <a:lnTo>
                    <a:pt x="106122" y="1272539"/>
                  </a:lnTo>
                  <a:lnTo>
                    <a:pt x="186658" y="1238131"/>
                  </a:lnTo>
                  <a:lnTo>
                    <a:pt x="332554" y="1087813"/>
                  </a:lnTo>
                  <a:lnTo>
                    <a:pt x="424552" y="1009532"/>
                  </a:lnTo>
                  <a:lnTo>
                    <a:pt x="452805" y="895466"/>
                  </a:lnTo>
                  <a:lnTo>
                    <a:pt x="543745" y="754294"/>
                  </a:lnTo>
                  <a:lnTo>
                    <a:pt x="628063" y="514417"/>
                  </a:lnTo>
                  <a:lnTo>
                    <a:pt x="704266" y="373381"/>
                  </a:lnTo>
                  <a:lnTo>
                    <a:pt x="837644" y="302953"/>
                  </a:lnTo>
                  <a:lnTo>
                    <a:pt x="890428" y="177107"/>
                  </a:lnTo>
                  <a:lnTo>
                    <a:pt x="950831" y="112426"/>
                  </a:lnTo>
                  <a:lnTo>
                    <a:pt x="1039046" y="118223"/>
                  </a:lnTo>
                  <a:lnTo>
                    <a:pt x="1082040" y="121918"/>
                  </a:lnTo>
                  <a:lnTo>
                    <a:pt x="1137549" y="63038"/>
                  </a:lnTo>
                  <a:lnTo>
                    <a:pt x="1191446" y="-1"/>
                  </a:lnTo>
                  <a:lnTo>
                    <a:pt x="1235364" y="15239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CA" sz="1000" dirty="0">
                <a:solidFill>
                  <a:srgbClr val="001965"/>
                </a:solidFill>
              </a:endParaRPr>
            </a:p>
          </p:txBody>
        </p:sp>
        <p:grpSp>
          <p:nvGrpSpPr>
            <p:cNvPr id="206" name="Group 205"/>
            <p:cNvGrpSpPr/>
            <p:nvPr/>
          </p:nvGrpSpPr>
          <p:grpSpPr>
            <a:xfrm>
              <a:off x="4303891" y="3369236"/>
              <a:ext cx="3925289" cy="1592343"/>
              <a:chOff x="159808" y="1408543"/>
              <a:chExt cx="3895029" cy="3211554"/>
            </a:xfrm>
          </p:grpSpPr>
          <p:sp>
            <p:nvSpPr>
              <p:cNvPr id="207" name="Freeform 206"/>
              <p:cNvSpPr/>
              <p:nvPr/>
            </p:nvSpPr>
            <p:spPr>
              <a:xfrm>
                <a:off x="816210" y="2388165"/>
                <a:ext cx="3190459" cy="1538329"/>
              </a:xfrm>
              <a:custGeom>
                <a:avLst/>
                <a:gdLst>
                  <a:gd name="connsiteX0" fmla="*/ 0 w 7261860"/>
                  <a:gd name="connsiteY0" fmla="*/ 2552700 h 2560320"/>
                  <a:gd name="connsiteX1" fmla="*/ 251460 w 7261860"/>
                  <a:gd name="connsiteY1" fmla="*/ 2560320 h 2560320"/>
                  <a:gd name="connsiteX2" fmla="*/ 304800 w 7261860"/>
                  <a:gd name="connsiteY2" fmla="*/ 2529840 h 2560320"/>
                  <a:gd name="connsiteX3" fmla="*/ 464820 w 7261860"/>
                  <a:gd name="connsiteY3" fmla="*/ 2514600 h 2560320"/>
                  <a:gd name="connsiteX4" fmla="*/ 670560 w 7261860"/>
                  <a:gd name="connsiteY4" fmla="*/ 2461260 h 2560320"/>
                  <a:gd name="connsiteX5" fmla="*/ 769620 w 7261860"/>
                  <a:gd name="connsiteY5" fmla="*/ 2316480 h 2560320"/>
                  <a:gd name="connsiteX6" fmla="*/ 861060 w 7261860"/>
                  <a:gd name="connsiteY6" fmla="*/ 2263140 h 2560320"/>
                  <a:gd name="connsiteX7" fmla="*/ 998220 w 7261860"/>
                  <a:gd name="connsiteY7" fmla="*/ 2125980 h 2560320"/>
                  <a:gd name="connsiteX8" fmla="*/ 1203960 w 7261860"/>
                  <a:gd name="connsiteY8" fmla="*/ 1996440 h 2560320"/>
                  <a:gd name="connsiteX9" fmla="*/ 1310640 w 7261860"/>
                  <a:gd name="connsiteY9" fmla="*/ 1943100 h 2560320"/>
                  <a:gd name="connsiteX10" fmla="*/ 1493520 w 7261860"/>
                  <a:gd name="connsiteY10" fmla="*/ 1836420 h 2560320"/>
                  <a:gd name="connsiteX11" fmla="*/ 1592580 w 7261860"/>
                  <a:gd name="connsiteY11" fmla="*/ 1813560 h 2560320"/>
                  <a:gd name="connsiteX12" fmla="*/ 1645920 w 7261860"/>
                  <a:gd name="connsiteY12" fmla="*/ 1760220 h 2560320"/>
                  <a:gd name="connsiteX13" fmla="*/ 1737360 w 7261860"/>
                  <a:gd name="connsiteY13" fmla="*/ 1722120 h 2560320"/>
                  <a:gd name="connsiteX14" fmla="*/ 1836420 w 7261860"/>
                  <a:gd name="connsiteY14" fmla="*/ 1592580 h 2560320"/>
                  <a:gd name="connsiteX15" fmla="*/ 2011680 w 7261860"/>
                  <a:gd name="connsiteY15" fmla="*/ 1386840 h 2560320"/>
                  <a:gd name="connsiteX16" fmla="*/ 2202180 w 7261860"/>
                  <a:gd name="connsiteY16" fmla="*/ 1295400 h 2560320"/>
                  <a:gd name="connsiteX17" fmla="*/ 2255520 w 7261860"/>
                  <a:gd name="connsiteY17" fmla="*/ 1272540 h 2560320"/>
                  <a:gd name="connsiteX18" fmla="*/ 2461260 w 7261860"/>
                  <a:gd name="connsiteY18" fmla="*/ 1249680 h 2560320"/>
                  <a:gd name="connsiteX19" fmla="*/ 2651760 w 7261860"/>
                  <a:gd name="connsiteY19" fmla="*/ 1219200 h 2560320"/>
                  <a:gd name="connsiteX20" fmla="*/ 2796540 w 7261860"/>
                  <a:gd name="connsiteY20" fmla="*/ 1150620 h 2560320"/>
                  <a:gd name="connsiteX21" fmla="*/ 2948940 w 7261860"/>
                  <a:gd name="connsiteY21" fmla="*/ 1005840 h 2560320"/>
                  <a:gd name="connsiteX22" fmla="*/ 3032760 w 7261860"/>
                  <a:gd name="connsiteY22" fmla="*/ 982980 h 2560320"/>
                  <a:gd name="connsiteX23" fmla="*/ 3139440 w 7261860"/>
                  <a:gd name="connsiteY23" fmla="*/ 883920 h 2560320"/>
                  <a:gd name="connsiteX24" fmla="*/ 3253740 w 7261860"/>
                  <a:gd name="connsiteY24" fmla="*/ 853440 h 2560320"/>
                  <a:gd name="connsiteX25" fmla="*/ 3329940 w 7261860"/>
                  <a:gd name="connsiteY25" fmla="*/ 815340 h 2560320"/>
                  <a:gd name="connsiteX26" fmla="*/ 3558540 w 7261860"/>
                  <a:gd name="connsiteY26" fmla="*/ 723900 h 2560320"/>
                  <a:gd name="connsiteX27" fmla="*/ 3649980 w 7261860"/>
                  <a:gd name="connsiteY27" fmla="*/ 731520 h 2560320"/>
                  <a:gd name="connsiteX28" fmla="*/ 3749040 w 7261860"/>
                  <a:gd name="connsiteY28" fmla="*/ 624840 h 2560320"/>
                  <a:gd name="connsiteX29" fmla="*/ 3909060 w 7261860"/>
                  <a:gd name="connsiteY29" fmla="*/ 510540 h 2560320"/>
                  <a:gd name="connsiteX30" fmla="*/ 4076700 w 7261860"/>
                  <a:gd name="connsiteY30" fmla="*/ 472440 h 2560320"/>
                  <a:gd name="connsiteX31" fmla="*/ 4259580 w 7261860"/>
                  <a:gd name="connsiteY31" fmla="*/ 441960 h 2560320"/>
                  <a:gd name="connsiteX32" fmla="*/ 4404360 w 7261860"/>
                  <a:gd name="connsiteY32" fmla="*/ 388620 h 2560320"/>
                  <a:gd name="connsiteX33" fmla="*/ 4564380 w 7261860"/>
                  <a:gd name="connsiteY33" fmla="*/ 396240 h 2560320"/>
                  <a:gd name="connsiteX34" fmla="*/ 4716780 w 7261860"/>
                  <a:gd name="connsiteY34" fmla="*/ 388620 h 2560320"/>
                  <a:gd name="connsiteX35" fmla="*/ 4808220 w 7261860"/>
                  <a:gd name="connsiteY35" fmla="*/ 342900 h 2560320"/>
                  <a:gd name="connsiteX36" fmla="*/ 4930140 w 7261860"/>
                  <a:gd name="connsiteY36" fmla="*/ 335280 h 2560320"/>
                  <a:gd name="connsiteX37" fmla="*/ 4953000 w 7261860"/>
                  <a:gd name="connsiteY37" fmla="*/ 289560 h 2560320"/>
                  <a:gd name="connsiteX38" fmla="*/ 5044440 w 7261860"/>
                  <a:gd name="connsiteY38" fmla="*/ 281940 h 2560320"/>
                  <a:gd name="connsiteX39" fmla="*/ 5105400 w 7261860"/>
                  <a:gd name="connsiteY39" fmla="*/ 243840 h 2560320"/>
                  <a:gd name="connsiteX40" fmla="*/ 5273040 w 7261860"/>
                  <a:gd name="connsiteY40" fmla="*/ 236220 h 2560320"/>
                  <a:gd name="connsiteX41" fmla="*/ 5356860 w 7261860"/>
                  <a:gd name="connsiteY41" fmla="*/ 266700 h 2560320"/>
                  <a:gd name="connsiteX42" fmla="*/ 5394960 w 7261860"/>
                  <a:gd name="connsiteY42" fmla="*/ 220980 h 2560320"/>
                  <a:gd name="connsiteX43" fmla="*/ 5585460 w 7261860"/>
                  <a:gd name="connsiteY43" fmla="*/ 236220 h 2560320"/>
                  <a:gd name="connsiteX44" fmla="*/ 5699760 w 7261860"/>
                  <a:gd name="connsiteY44" fmla="*/ 137160 h 2560320"/>
                  <a:gd name="connsiteX45" fmla="*/ 5836920 w 7261860"/>
                  <a:gd name="connsiteY45" fmla="*/ 144780 h 2560320"/>
                  <a:gd name="connsiteX46" fmla="*/ 5951220 w 7261860"/>
                  <a:gd name="connsiteY46" fmla="*/ 167640 h 2560320"/>
                  <a:gd name="connsiteX47" fmla="*/ 6042660 w 7261860"/>
                  <a:gd name="connsiteY47" fmla="*/ 144780 h 2560320"/>
                  <a:gd name="connsiteX48" fmla="*/ 6149340 w 7261860"/>
                  <a:gd name="connsiteY48" fmla="*/ 68580 h 2560320"/>
                  <a:gd name="connsiteX49" fmla="*/ 6256020 w 7261860"/>
                  <a:gd name="connsiteY49" fmla="*/ 7620 h 2560320"/>
                  <a:gd name="connsiteX50" fmla="*/ 6446520 w 7261860"/>
                  <a:gd name="connsiteY50" fmla="*/ 15240 h 2560320"/>
                  <a:gd name="connsiteX51" fmla="*/ 6637020 w 7261860"/>
                  <a:gd name="connsiteY51" fmla="*/ 0 h 2560320"/>
                  <a:gd name="connsiteX52" fmla="*/ 6675120 w 7261860"/>
                  <a:gd name="connsiteY52" fmla="*/ 22860 h 2560320"/>
                  <a:gd name="connsiteX53" fmla="*/ 6858000 w 7261860"/>
                  <a:gd name="connsiteY53" fmla="*/ 0 h 2560320"/>
                  <a:gd name="connsiteX54" fmla="*/ 7033260 w 7261860"/>
                  <a:gd name="connsiteY54" fmla="*/ 7620 h 2560320"/>
                  <a:gd name="connsiteX55" fmla="*/ 7124700 w 7261860"/>
                  <a:gd name="connsiteY55" fmla="*/ 7620 h 2560320"/>
                  <a:gd name="connsiteX56" fmla="*/ 7261860 w 7261860"/>
                  <a:gd name="connsiteY56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26616 w 7283676"/>
                  <a:gd name="connsiteY2" fmla="*/ 2529840 h 2560320"/>
                  <a:gd name="connsiteX3" fmla="*/ 486636 w 7283676"/>
                  <a:gd name="connsiteY3" fmla="*/ 2514600 h 2560320"/>
                  <a:gd name="connsiteX4" fmla="*/ 692376 w 7283676"/>
                  <a:gd name="connsiteY4" fmla="*/ 2461260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1020036 w 7283676"/>
                  <a:gd name="connsiteY7" fmla="*/ 2125980 h 2560320"/>
                  <a:gd name="connsiteX8" fmla="*/ 1225776 w 7283676"/>
                  <a:gd name="connsiteY8" fmla="*/ 1996440 h 2560320"/>
                  <a:gd name="connsiteX9" fmla="*/ 1332456 w 7283676"/>
                  <a:gd name="connsiteY9" fmla="*/ 1943100 h 2560320"/>
                  <a:gd name="connsiteX10" fmla="*/ 1515336 w 7283676"/>
                  <a:gd name="connsiteY10" fmla="*/ 1836420 h 2560320"/>
                  <a:gd name="connsiteX11" fmla="*/ 1614396 w 7283676"/>
                  <a:gd name="connsiteY11" fmla="*/ 1813560 h 2560320"/>
                  <a:gd name="connsiteX12" fmla="*/ 1667736 w 7283676"/>
                  <a:gd name="connsiteY12" fmla="*/ 1760220 h 2560320"/>
                  <a:gd name="connsiteX13" fmla="*/ 1759176 w 7283676"/>
                  <a:gd name="connsiteY13" fmla="*/ 1722120 h 2560320"/>
                  <a:gd name="connsiteX14" fmla="*/ 1858236 w 7283676"/>
                  <a:gd name="connsiteY14" fmla="*/ 1592580 h 2560320"/>
                  <a:gd name="connsiteX15" fmla="*/ 2033496 w 7283676"/>
                  <a:gd name="connsiteY15" fmla="*/ 1386840 h 2560320"/>
                  <a:gd name="connsiteX16" fmla="*/ 2223996 w 7283676"/>
                  <a:gd name="connsiteY16" fmla="*/ 1295400 h 2560320"/>
                  <a:gd name="connsiteX17" fmla="*/ 2277336 w 7283676"/>
                  <a:gd name="connsiteY17" fmla="*/ 1272540 h 2560320"/>
                  <a:gd name="connsiteX18" fmla="*/ 2483076 w 7283676"/>
                  <a:gd name="connsiteY18" fmla="*/ 1249680 h 2560320"/>
                  <a:gd name="connsiteX19" fmla="*/ 2673576 w 7283676"/>
                  <a:gd name="connsiteY19" fmla="*/ 1219200 h 2560320"/>
                  <a:gd name="connsiteX20" fmla="*/ 2818356 w 7283676"/>
                  <a:gd name="connsiteY20" fmla="*/ 1150620 h 2560320"/>
                  <a:gd name="connsiteX21" fmla="*/ 2970756 w 7283676"/>
                  <a:gd name="connsiteY21" fmla="*/ 1005840 h 2560320"/>
                  <a:gd name="connsiteX22" fmla="*/ 3054576 w 7283676"/>
                  <a:gd name="connsiteY22" fmla="*/ 982980 h 2560320"/>
                  <a:gd name="connsiteX23" fmla="*/ 3161256 w 7283676"/>
                  <a:gd name="connsiteY23" fmla="*/ 883920 h 2560320"/>
                  <a:gd name="connsiteX24" fmla="*/ 3275556 w 7283676"/>
                  <a:gd name="connsiteY24" fmla="*/ 853440 h 2560320"/>
                  <a:gd name="connsiteX25" fmla="*/ 3351756 w 7283676"/>
                  <a:gd name="connsiteY25" fmla="*/ 815340 h 2560320"/>
                  <a:gd name="connsiteX26" fmla="*/ 3580356 w 7283676"/>
                  <a:gd name="connsiteY26" fmla="*/ 723900 h 2560320"/>
                  <a:gd name="connsiteX27" fmla="*/ 3671796 w 7283676"/>
                  <a:gd name="connsiteY27" fmla="*/ 731520 h 2560320"/>
                  <a:gd name="connsiteX28" fmla="*/ 3770856 w 7283676"/>
                  <a:gd name="connsiteY28" fmla="*/ 624840 h 2560320"/>
                  <a:gd name="connsiteX29" fmla="*/ 3930876 w 7283676"/>
                  <a:gd name="connsiteY29" fmla="*/ 510540 h 2560320"/>
                  <a:gd name="connsiteX30" fmla="*/ 4098516 w 7283676"/>
                  <a:gd name="connsiteY30" fmla="*/ 472440 h 2560320"/>
                  <a:gd name="connsiteX31" fmla="*/ 4281396 w 7283676"/>
                  <a:gd name="connsiteY31" fmla="*/ 441960 h 2560320"/>
                  <a:gd name="connsiteX32" fmla="*/ 4426176 w 7283676"/>
                  <a:gd name="connsiteY32" fmla="*/ 388620 h 2560320"/>
                  <a:gd name="connsiteX33" fmla="*/ 4586196 w 7283676"/>
                  <a:gd name="connsiteY33" fmla="*/ 396240 h 2560320"/>
                  <a:gd name="connsiteX34" fmla="*/ 4738596 w 7283676"/>
                  <a:gd name="connsiteY34" fmla="*/ 388620 h 2560320"/>
                  <a:gd name="connsiteX35" fmla="*/ 4830036 w 7283676"/>
                  <a:gd name="connsiteY35" fmla="*/ 342900 h 2560320"/>
                  <a:gd name="connsiteX36" fmla="*/ 4951956 w 7283676"/>
                  <a:gd name="connsiteY36" fmla="*/ 335280 h 2560320"/>
                  <a:gd name="connsiteX37" fmla="*/ 4974816 w 7283676"/>
                  <a:gd name="connsiteY37" fmla="*/ 289560 h 2560320"/>
                  <a:gd name="connsiteX38" fmla="*/ 5066256 w 7283676"/>
                  <a:gd name="connsiteY38" fmla="*/ 281940 h 2560320"/>
                  <a:gd name="connsiteX39" fmla="*/ 5127216 w 7283676"/>
                  <a:gd name="connsiteY39" fmla="*/ 243840 h 2560320"/>
                  <a:gd name="connsiteX40" fmla="*/ 5294856 w 7283676"/>
                  <a:gd name="connsiteY40" fmla="*/ 236220 h 2560320"/>
                  <a:gd name="connsiteX41" fmla="*/ 5378676 w 7283676"/>
                  <a:gd name="connsiteY41" fmla="*/ 266700 h 2560320"/>
                  <a:gd name="connsiteX42" fmla="*/ 5416776 w 7283676"/>
                  <a:gd name="connsiteY42" fmla="*/ 220980 h 2560320"/>
                  <a:gd name="connsiteX43" fmla="*/ 5607276 w 7283676"/>
                  <a:gd name="connsiteY43" fmla="*/ 236220 h 2560320"/>
                  <a:gd name="connsiteX44" fmla="*/ 5721576 w 7283676"/>
                  <a:gd name="connsiteY44" fmla="*/ 137160 h 2560320"/>
                  <a:gd name="connsiteX45" fmla="*/ 5858736 w 7283676"/>
                  <a:gd name="connsiteY45" fmla="*/ 144780 h 2560320"/>
                  <a:gd name="connsiteX46" fmla="*/ 5973036 w 7283676"/>
                  <a:gd name="connsiteY46" fmla="*/ 167640 h 2560320"/>
                  <a:gd name="connsiteX47" fmla="*/ 6064476 w 7283676"/>
                  <a:gd name="connsiteY47" fmla="*/ 144780 h 2560320"/>
                  <a:gd name="connsiteX48" fmla="*/ 6171156 w 7283676"/>
                  <a:gd name="connsiteY48" fmla="*/ 68580 h 2560320"/>
                  <a:gd name="connsiteX49" fmla="*/ 6277836 w 7283676"/>
                  <a:gd name="connsiteY49" fmla="*/ 7620 h 2560320"/>
                  <a:gd name="connsiteX50" fmla="*/ 6468336 w 7283676"/>
                  <a:gd name="connsiteY50" fmla="*/ 15240 h 2560320"/>
                  <a:gd name="connsiteX51" fmla="*/ 6658836 w 7283676"/>
                  <a:gd name="connsiteY51" fmla="*/ 0 h 2560320"/>
                  <a:gd name="connsiteX52" fmla="*/ 6696936 w 7283676"/>
                  <a:gd name="connsiteY52" fmla="*/ 22860 h 2560320"/>
                  <a:gd name="connsiteX53" fmla="*/ 6879816 w 7283676"/>
                  <a:gd name="connsiteY53" fmla="*/ 0 h 2560320"/>
                  <a:gd name="connsiteX54" fmla="*/ 7055076 w 7283676"/>
                  <a:gd name="connsiteY54" fmla="*/ 7620 h 2560320"/>
                  <a:gd name="connsiteX55" fmla="*/ 7146516 w 7283676"/>
                  <a:gd name="connsiteY55" fmla="*/ 7620 h 2560320"/>
                  <a:gd name="connsiteX56" fmla="*/ 7283676 w 7283676"/>
                  <a:gd name="connsiteY56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86636 w 7283676"/>
                  <a:gd name="connsiteY3" fmla="*/ 2514600 h 2560320"/>
                  <a:gd name="connsiteX4" fmla="*/ 692376 w 7283676"/>
                  <a:gd name="connsiteY4" fmla="*/ 2461260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1020036 w 7283676"/>
                  <a:gd name="connsiteY7" fmla="*/ 2125980 h 2560320"/>
                  <a:gd name="connsiteX8" fmla="*/ 1225776 w 7283676"/>
                  <a:gd name="connsiteY8" fmla="*/ 1996440 h 2560320"/>
                  <a:gd name="connsiteX9" fmla="*/ 1332456 w 7283676"/>
                  <a:gd name="connsiteY9" fmla="*/ 1943100 h 2560320"/>
                  <a:gd name="connsiteX10" fmla="*/ 1515336 w 7283676"/>
                  <a:gd name="connsiteY10" fmla="*/ 1836420 h 2560320"/>
                  <a:gd name="connsiteX11" fmla="*/ 1614396 w 7283676"/>
                  <a:gd name="connsiteY11" fmla="*/ 1813560 h 2560320"/>
                  <a:gd name="connsiteX12" fmla="*/ 1667736 w 7283676"/>
                  <a:gd name="connsiteY12" fmla="*/ 1760220 h 2560320"/>
                  <a:gd name="connsiteX13" fmla="*/ 1759176 w 7283676"/>
                  <a:gd name="connsiteY13" fmla="*/ 1722120 h 2560320"/>
                  <a:gd name="connsiteX14" fmla="*/ 1858236 w 7283676"/>
                  <a:gd name="connsiteY14" fmla="*/ 1592580 h 2560320"/>
                  <a:gd name="connsiteX15" fmla="*/ 2033496 w 7283676"/>
                  <a:gd name="connsiteY15" fmla="*/ 1386840 h 2560320"/>
                  <a:gd name="connsiteX16" fmla="*/ 2223996 w 7283676"/>
                  <a:gd name="connsiteY16" fmla="*/ 1295400 h 2560320"/>
                  <a:gd name="connsiteX17" fmla="*/ 2277336 w 7283676"/>
                  <a:gd name="connsiteY17" fmla="*/ 1272540 h 2560320"/>
                  <a:gd name="connsiteX18" fmla="*/ 2483076 w 7283676"/>
                  <a:gd name="connsiteY18" fmla="*/ 1249680 h 2560320"/>
                  <a:gd name="connsiteX19" fmla="*/ 2673576 w 7283676"/>
                  <a:gd name="connsiteY19" fmla="*/ 1219200 h 2560320"/>
                  <a:gd name="connsiteX20" fmla="*/ 2818356 w 7283676"/>
                  <a:gd name="connsiteY20" fmla="*/ 1150620 h 2560320"/>
                  <a:gd name="connsiteX21" fmla="*/ 2970756 w 7283676"/>
                  <a:gd name="connsiteY21" fmla="*/ 1005840 h 2560320"/>
                  <a:gd name="connsiteX22" fmla="*/ 3054576 w 7283676"/>
                  <a:gd name="connsiteY22" fmla="*/ 982980 h 2560320"/>
                  <a:gd name="connsiteX23" fmla="*/ 3161256 w 7283676"/>
                  <a:gd name="connsiteY23" fmla="*/ 883920 h 2560320"/>
                  <a:gd name="connsiteX24" fmla="*/ 3275556 w 7283676"/>
                  <a:gd name="connsiteY24" fmla="*/ 853440 h 2560320"/>
                  <a:gd name="connsiteX25" fmla="*/ 3351756 w 7283676"/>
                  <a:gd name="connsiteY25" fmla="*/ 815340 h 2560320"/>
                  <a:gd name="connsiteX26" fmla="*/ 3580356 w 7283676"/>
                  <a:gd name="connsiteY26" fmla="*/ 723900 h 2560320"/>
                  <a:gd name="connsiteX27" fmla="*/ 3671796 w 7283676"/>
                  <a:gd name="connsiteY27" fmla="*/ 731520 h 2560320"/>
                  <a:gd name="connsiteX28" fmla="*/ 3770856 w 7283676"/>
                  <a:gd name="connsiteY28" fmla="*/ 624840 h 2560320"/>
                  <a:gd name="connsiteX29" fmla="*/ 3930876 w 7283676"/>
                  <a:gd name="connsiteY29" fmla="*/ 510540 h 2560320"/>
                  <a:gd name="connsiteX30" fmla="*/ 4098516 w 7283676"/>
                  <a:gd name="connsiteY30" fmla="*/ 472440 h 2560320"/>
                  <a:gd name="connsiteX31" fmla="*/ 4281396 w 7283676"/>
                  <a:gd name="connsiteY31" fmla="*/ 441960 h 2560320"/>
                  <a:gd name="connsiteX32" fmla="*/ 4426176 w 7283676"/>
                  <a:gd name="connsiteY32" fmla="*/ 388620 h 2560320"/>
                  <a:gd name="connsiteX33" fmla="*/ 4586196 w 7283676"/>
                  <a:gd name="connsiteY33" fmla="*/ 396240 h 2560320"/>
                  <a:gd name="connsiteX34" fmla="*/ 4738596 w 7283676"/>
                  <a:gd name="connsiteY34" fmla="*/ 388620 h 2560320"/>
                  <a:gd name="connsiteX35" fmla="*/ 4830036 w 7283676"/>
                  <a:gd name="connsiteY35" fmla="*/ 342900 h 2560320"/>
                  <a:gd name="connsiteX36" fmla="*/ 4951956 w 7283676"/>
                  <a:gd name="connsiteY36" fmla="*/ 335280 h 2560320"/>
                  <a:gd name="connsiteX37" fmla="*/ 4974816 w 7283676"/>
                  <a:gd name="connsiteY37" fmla="*/ 289560 h 2560320"/>
                  <a:gd name="connsiteX38" fmla="*/ 5066256 w 7283676"/>
                  <a:gd name="connsiteY38" fmla="*/ 281940 h 2560320"/>
                  <a:gd name="connsiteX39" fmla="*/ 5127216 w 7283676"/>
                  <a:gd name="connsiteY39" fmla="*/ 243840 h 2560320"/>
                  <a:gd name="connsiteX40" fmla="*/ 5294856 w 7283676"/>
                  <a:gd name="connsiteY40" fmla="*/ 236220 h 2560320"/>
                  <a:gd name="connsiteX41" fmla="*/ 5378676 w 7283676"/>
                  <a:gd name="connsiteY41" fmla="*/ 266700 h 2560320"/>
                  <a:gd name="connsiteX42" fmla="*/ 5416776 w 7283676"/>
                  <a:gd name="connsiteY42" fmla="*/ 220980 h 2560320"/>
                  <a:gd name="connsiteX43" fmla="*/ 5607276 w 7283676"/>
                  <a:gd name="connsiteY43" fmla="*/ 236220 h 2560320"/>
                  <a:gd name="connsiteX44" fmla="*/ 5721576 w 7283676"/>
                  <a:gd name="connsiteY44" fmla="*/ 137160 h 2560320"/>
                  <a:gd name="connsiteX45" fmla="*/ 5858736 w 7283676"/>
                  <a:gd name="connsiteY45" fmla="*/ 144780 h 2560320"/>
                  <a:gd name="connsiteX46" fmla="*/ 5973036 w 7283676"/>
                  <a:gd name="connsiteY46" fmla="*/ 167640 h 2560320"/>
                  <a:gd name="connsiteX47" fmla="*/ 6064476 w 7283676"/>
                  <a:gd name="connsiteY47" fmla="*/ 144780 h 2560320"/>
                  <a:gd name="connsiteX48" fmla="*/ 6171156 w 7283676"/>
                  <a:gd name="connsiteY48" fmla="*/ 68580 h 2560320"/>
                  <a:gd name="connsiteX49" fmla="*/ 6277836 w 7283676"/>
                  <a:gd name="connsiteY49" fmla="*/ 7620 h 2560320"/>
                  <a:gd name="connsiteX50" fmla="*/ 6468336 w 7283676"/>
                  <a:gd name="connsiteY50" fmla="*/ 15240 h 2560320"/>
                  <a:gd name="connsiteX51" fmla="*/ 6658836 w 7283676"/>
                  <a:gd name="connsiteY51" fmla="*/ 0 h 2560320"/>
                  <a:gd name="connsiteX52" fmla="*/ 6696936 w 7283676"/>
                  <a:gd name="connsiteY52" fmla="*/ 22860 h 2560320"/>
                  <a:gd name="connsiteX53" fmla="*/ 6879816 w 7283676"/>
                  <a:gd name="connsiteY53" fmla="*/ 0 h 2560320"/>
                  <a:gd name="connsiteX54" fmla="*/ 7055076 w 7283676"/>
                  <a:gd name="connsiteY54" fmla="*/ 7620 h 2560320"/>
                  <a:gd name="connsiteX55" fmla="*/ 7146516 w 7283676"/>
                  <a:gd name="connsiteY55" fmla="*/ 7620 h 2560320"/>
                  <a:gd name="connsiteX56" fmla="*/ 7283676 w 7283676"/>
                  <a:gd name="connsiteY56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92376 w 7283676"/>
                  <a:gd name="connsiteY4" fmla="*/ 2461260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1020036 w 7283676"/>
                  <a:gd name="connsiteY7" fmla="*/ 2125980 h 2560320"/>
                  <a:gd name="connsiteX8" fmla="*/ 1225776 w 7283676"/>
                  <a:gd name="connsiteY8" fmla="*/ 1996440 h 2560320"/>
                  <a:gd name="connsiteX9" fmla="*/ 1332456 w 7283676"/>
                  <a:gd name="connsiteY9" fmla="*/ 1943100 h 2560320"/>
                  <a:gd name="connsiteX10" fmla="*/ 1515336 w 7283676"/>
                  <a:gd name="connsiteY10" fmla="*/ 1836420 h 2560320"/>
                  <a:gd name="connsiteX11" fmla="*/ 1614396 w 7283676"/>
                  <a:gd name="connsiteY11" fmla="*/ 1813560 h 2560320"/>
                  <a:gd name="connsiteX12" fmla="*/ 1667736 w 7283676"/>
                  <a:gd name="connsiteY12" fmla="*/ 1760220 h 2560320"/>
                  <a:gd name="connsiteX13" fmla="*/ 1759176 w 7283676"/>
                  <a:gd name="connsiteY13" fmla="*/ 1722120 h 2560320"/>
                  <a:gd name="connsiteX14" fmla="*/ 1858236 w 7283676"/>
                  <a:gd name="connsiteY14" fmla="*/ 1592580 h 2560320"/>
                  <a:gd name="connsiteX15" fmla="*/ 2033496 w 7283676"/>
                  <a:gd name="connsiteY15" fmla="*/ 1386840 h 2560320"/>
                  <a:gd name="connsiteX16" fmla="*/ 2223996 w 7283676"/>
                  <a:gd name="connsiteY16" fmla="*/ 1295400 h 2560320"/>
                  <a:gd name="connsiteX17" fmla="*/ 2277336 w 7283676"/>
                  <a:gd name="connsiteY17" fmla="*/ 1272540 h 2560320"/>
                  <a:gd name="connsiteX18" fmla="*/ 2483076 w 7283676"/>
                  <a:gd name="connsiteY18" fmla="*/ 1249680 h 2560320"/>
                  <a:gd name="connsiteX19" fmla="*/ 2673576 w 7283676"/>
                  <a:gd name="connsiteY19" fmla="*/ 1219200 h 2560320"/>
                  <a:gd name="connsiteX20" fmla="*/ 2818356 w 7283676"/>
                  <a:gd name="connsiteY20" fmla="*/ 1150620 h 2560320"/>
                  <a:gd name="connsiteX21" fmla="*/ 2970756 w 7283676"/>
                  <a:gd name="connsiteY21" fmla="*/ 1005840 h 2560320"/>
                  <a:gd name="connsiteX22" fmla="*/ 3054576 w 7283676"/>
                  <a:gd name="connsiteY22" fmla="*/ 982980 h 2560320"/>
                  <a:gd name="connsiteX23" fmla="*/ 3161256 w 7283676"/>
                  <a:gd name="connsiteY23" fmla="*/ 883920 h 2560320"/>
                  <a:gd name="connsiteX24" fmla="*/ 3275556 w 7283676"/>
                  <a:gd name="connsiteY24" fmla="*/ 853440 h 2560320"/>
                  <a:gd name="connsiteX25" fmla="*/ 3351756 w 7283676"/>
                  <a:gd name="connsiteY25" fmla="*/ 815340 h 2560320"/>
                  <a:gd name="connsiteX26" fmla="*/ 3580356 w 7283676"/>
                  <a:gd name="connsiteY26" fmla="*/ 723900 h 2560320"/>
                  <a:gd name="connsiteX27" fmla="*/ 3671796 w 7283676"/>
                  <a:gd name="connsiteY27" fmla="*/ 731520 h 2560320"/>
                  <a:gd name="connsiteX28" fmla="*/ 3770856 w 7283676"/>
                  <a:gd name="connsiteY28" fmla="*/ 624840 h 2560320"/>
                  <a:gd name="connsiteX29" fmla="*/ 3930876 w 7283676"/>
                  <a:gd name="connsiteY29" fmla="*/ 510540 h 2560320"/>
                  <a:gd name="connsiteX30" fmla="*/ 4098516 w 7283676"/>
                  <a:gd name="connsiteY30" fmla="*/ 472440 h 2560320"/>
                  <a:gd name="connsiteX31" fmla="*/ 4281396 w 7283676"/>
                  <a:gd name="connsiteY31" fmla="*/ 441960 h 2560320"/>
                  <a:gd name="connsiteX32" fmla="*/ 4426176 w 7283676"/>
                  <a:gd name="connsiteY32" fmla="*/ 388620 h 2560320"/>
                  <a:gd name="connsiteX33" fmla="*/ 4586196 w 7283676"/>
                  <a:gd name="connsiteY33" fmla="*/ 396240 h 2560320"/>
                  <a:gd name="connsiteX34" fmla="*/ 4738596 w 7283676"/>
                  <a:gd name="connsiteY34" fmla="*/ 388620 h 2560320"/>
                  <a:gd name="connsiteX35" fmla="*/ 4830036 w 7283676"/>
                  <a:gd name="connsiteY35" fmla="*/ 342900 h 2560320"/>
                  <a:gd name="connsiteX36" fmla="*/ 4951956 w 7283676"/>
                  <a:gd name="connsiteY36" fmla="*/ 335280 h 2560320"/>
                  <a:gd name="connsiteX37" fmla="*/ 4974816 w 7283676"/>
                  <a:gd name="connsiteY37" fmla="*/ 289560 h 2560320"/>
                  <a:gd name="connsiteX38" fmla="*/ 5066256 w 7283676"/>
                  <a:gd name="connsiteY38" fmla="*/ 281940 h 2560320"/>
                  <a:gd name="connsiteX39" fmla="*/ 5127216 w 7283676"/>
                  <a:gd name="connsiteY39" fmla="*/ 243840 h 2560320"/>
                  <a:gd name="connsiteX40" fmla="*/ 5294856 w 7283676"/>
                  <a:gd name="connsiteY40" fmla="*/ 236220 h 2560320"/>
                  <a:gd name="connsiteX41" fmla="*/ 5378676 w 7283676"/>
                  <a:gd name="connsiteY41" fmla="*/ 266700 h 2560320"/>
                  <a:gd name="connsiteX42" fmla="*/ 5416776 w 7283676"/>
                  <a:gd name="connsiteY42" fmla="*/ 220980 h 2560320"/>
                  <a:gd name="connsiteX43" fmla="*/ 5607276 w 7283676"/>
                  <a:gd name="connsiteY43" fmla="*/ 236220 h 2560320"/>
                  <a:gd name="connsiteX44" fmla="*/ 5721576 w 7283676"/>
                  <a:gd name="connsiteY44" fmla="*/ 137160 h 2560320"/>
                  <a:gd name="connsiteX45" fmla="*/ 5858736 w 7283676"/>
                  <a:gd name="connsiteY45" fmla="*/ 144780 h 2560320"/>
                  <a:gd name="connsiteX46" fmla="*/ 5973036 w 7283676"/>
                  <a:gd name="connsiteY46" fmla="*/ 167640 h 2560320"/>
                  <a:gd name="connsiteX47" fmla="*/ 6064476 w 7283676"/>
                  <a:gd name="connsiteY47" fmla="*/ 144780 h 2560320"/>
                  <a:gd name="connsiteX48" fmla="*/ 6171156 w 7283676"/>
                  <a:gd name="connsiteY48" fmla="*/ 68580 h 2560320"/>
                  <a:gd name="connsiteX49" fmla="*/ 6277836 w 7283676"/>
                  <a:gd name="connsiteY49" fmla="*/ 7620 h 2560320"/>
                  <a:gd name="connsiteX50" fmla="*/ 6468336 w 7283676"/>
                  <a:gd name="connsiteY50" fmla="*/ 15240 h 2560320"/>
                  <a:gd name="connsiteX51" fmla="*/ 6658836 w 7283676"/>
                  <a:gd name="connsiteY51" fmla="*/ 0 h 2560320"/>
                  <a:gd name="connsiteX52" fmla="*/ 6696936 w 7283676"/>
                  <a:gd name="connsiteY52" fmla="*/ 22860 h 2560320"/>
                  <a:gd name="connsiteX53" fmla="*/ 6879816 w 7283676"/>
                  <a:gd name="connsiteY53" fmla="*/ 0 h 2560320"/>
                  <a:gd name="connsiteX54" fmla="*/ 7055076 w 7283676"/>
                  <a:gd name="connsiteY54" fmla="*/ 7620 h 2560320"/>
                  <a:gd name="connsiteX55" fmla="*/ 7146516 w 7283676"/>
                  <a:gd name="connsiteY55" fmla="*/ 7620 h 2560320"/>
                  <a:gd name="connsiteX56" fmla="*/ 7283676 w 7283676"/>
                  <a:gd name="connsiteY56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1020036 w 7283676"/>
                  <a:gd name="connsiteY7" fmla="*/ 2125980 h 2560320"/>
                  <a:gd name="connsiteX8" fmla="*/ 1225776 w 7283676"/>
                  <a:gd name="connsiteY8" fmla="*/ 1996440 h 2560320"/>
                  <a:gd name="connsiteX9" fmla="*/ 1332456 w 7283676"/>
                  <a:gd name="connsiteY9" fmla="*/ 1943100 h 2560320"/>
                  <a:gd name="connsiteX10" fmla="*/ 1515336 w 7283676"/>
                  <a:gd name="connsiteY10" fmla="*/ 1836420 h 2560320"/>
                  <a:gd name="connsiteX11" fmla="*/ 1614396 w 7283676"/>
                  <a:gd name="connsiteY11" fmla="*/ 1813560 h 2560320"/>
                  <a:gd name="connsiteX12" fmla="*/ 1667736 w 7283676"/>
                  <a:gd name="connsiteY12" fmla="*/ 1760220 h 2560320"/>
                  <a:gd name="connsiteX13" fmla="*/ 1759176 w 7283676"/>
                  <a:gd name="connsiteY13" fmla="*/ 1722120 h 2560320"/>
                  <a:gd name="connsiteX14" fmla="*/ 1858236 w 7283676"/>
                  <a:gd name="connsiteY14" fmla="*/ 1592580 h 2560320"/>
                  <a:gd name="connsiteX15" fmla="*/ 2033496 w 7283676"/>
                  <a:gd name="connsiteY15" fmla="*/ 1386840 h 2560320"/>
                  <a:gd name="connsiteX16" fmla="*/ 2223996 w 7283676"/>
                  <a:gd name="connsiteY16" fmla="*/ 1295400 h 2560320"/>
                  <a:gd name="connsiteX17" fmla="*/ 2277336 w 7283676"/>
                  <a:gd name="connsiteY17" fmla="*/ 1272540 h 2560320"/>
                  <a:gd name="connsiteX18" fmla="*/ 2483076 w 7283676"/>
                  <a:gd name="connsiteY18" fmla="*/ 1249680 h 2560320"/>
                  <a:gd name="connsiteX19" fmla="*/ 2673576 w 7283676"/>
                  <a:gd name="connsiteY19" fmla="*/ 1219200 h 2560320"/>
                  <a:gd name="connsiteX20" fmla="*/ 2818356 w 7283676"/>
                  <a:gd name="connsiteY20" fmla="*/ 1150620 h 2560320"/>
                  <a:gd name="connsiteX21" fmla="*/ 2970756 w 7283676"/>
                  <a:gd name="connsiteY21" fmla="*/ 1005840 h 2560320"/>
                  <a:gd name="connsiteX22" fmla="*/ 3054576 w 7283676"/>
                  <a:gd name="connsiteY22" fmla="*/ 982980 h 2560320"/>
                  <a:gd name="connsiteX23" fmla="*/ 3161256 w 7283676"/>
                  <a:gd name="connsiteY23" fmla="*/ 883920 h 2560320"/>
                  <a:gd name="connsiteX24" fmla="*/ 3275556 w 7283676"/>
                  <a:gd name="connsiteY24" fmla="*/ 853440 h 2560320"/>
                  <a:gd name="connsiteX25" fmla="*/ 3351756 w 7283676"/>
                  <a:gd name="connsiteY25" fmla="*/ 815340 h 2560320"/>
                  <a:gd name="connsiteX26" fmla="*/ 3580356 w 7283676"/>
                  <a:gd name="connsiteY26" fmla="*/ 723900 h 2560320"/>
                  <a:gd name="connsiteX27" fmla="*/ 3671796 w 7283676"/>
                  <a:gd name="connsiteY27" fmla="*/ 731520 h 2560320"/>
                  <a:gd name="connsiteX28" fmla="*/ 3770856 w 7283676"/>
                  <a:gd name="connsiteY28" fmla="*/ 624840 h 2560320"/>
                  <a:gd name="connsiteX29" fmla="*/ 3930876 w 7283676"/>
                  <a:gd name="connsiteY29" fmla="*/ 510540 h 2560320"/>
                  <a:gd name="connsiteX30" fmla="*/ 4098516 w 7283676"/>
                  <a:gd name="connsiteY30" fmla="*/ 472440 h 2560320"/>
                  <a:gd name="connsiteX31" fmla="*/ 4281396 w 7283676"/>
                  <a:gd name="connsiteY31" fmla="*/ 441960 h 2560320"/>
                  <a:gd name="connsiteX32" fmla="*/ 4426176 w 7283676"/>
                  <a:gd name="connsiteY32" fmla="*/ 388620 h 2560320"/>
                  <a:gd name="connsiteX33" fmla="*/ 4586196 w 7283676"/>
                  <a:gd name="connsiteY33" fmla="*/ 396240 h 2560320"/>
                  <a:gd name="connsiteX34" fmla="*/ 4738596 w 7283676"/>
                  <a:gd name="connsiteY34" fmla="*/ 388620 h 2560320"/>
                  <a:gd name="connsiteX35" fmla="*/ 4830036 w 7283676"/>
                  <a:gd name="connsiteY35" fmla="*/ 342900 h 2560320"/>
                  <a:gd name="connsiteX36" fmla="*/ 4951956 w 7283676"/>
                  <a:gd name="connsiteY36" fmla="*/ 335280 h 2560320"/>
                  <a:gd name="connsiteX37" fmla="*/ 4974816 w 7283676"/>
                  <a:gd name="connsiteY37" fmla="*/ 289560 h 2560320"/>
                  <a:gd name="connsiteX38" fmla="*/ 5066256 w 7283676"/>
                  <a:gd name="connsiteY38" fmla="*/ 281940 h 2560320"/>
                  <a:gd name="connsiteX39" fmla="*/ 5127216 w 7283676"/>
                  <a:gd name="connsiteY39" fmla="*/ 243840 h 2560320"/>
                  <a:gd name="connsiteX40" fmla="*/ 5294856 w 7283676"/>
                  <a:gd name="connsiteY40" fmla="*/ 236220 h 2560320"/>
                  <a:gd name="connsiteX41" fmla="*/ 5378676 w 7283676"/>
                  <a:gd name="connsiteY41" fmla="*/ 266700 h 2560320"/>
                  <a:gd name="connsiteX42" fmla="*/ 5416776 w 7283676"/>
                  <a:gd name="connsiteY42" fmla="*/ 220980 h 2560320"/>
                  <a:gd name="connsiteX43" fmla="*/ 5607276 w 7283676"/>
                  <a:gd name="connsiteY43" fmla="*/ 236220 h 2560320"/>
                  <a:gd name="connsiteX44" fmla="*/ 5721576 w 7283676"/>
                  <a:gd name="connsiteY44" fmla="*/ 137160 h 2560320"/>
                  <a:gd name="connsiteX45" fmla="*/ 5858736 w 7283676"/>
                  <a:gd name="connsiteY45" fmla="*/ 144780 h 2560320"/>
                  <a:gd name="connsiteX46" fmla="*/ 5973036 w 7283676"/>
                  <a:gd name="connsiteY46" fmla="*/ 167640 h 2560320"/>
                  <a:gd name="connsiteX47" fmla="*/ 6064476 w 7283676"/>
                  <a:gd name="connsiteY47" fmla="*/ 144780 h 2560320"/>
                  <a:gd name="connsiteX48" fmla="*/ 6171156 w 7283676"/>
                  <a:gd name="connsiteY48" fmla="*/ 68580 h 2560320"/>
                  <a:gd name="connsiteX49" fmla="*/ 6277836 w 7283676"/>
                  <a:gd name="connsiteY49" fmla="*/ 7620 h 2560320"/>
                  <a:gd name="connsiteX50" fmla="*/ 6468336 w 7283676"/>
                  <a:gd name="connsiteY50" fmla="*/ 15240 h 2560320"/>
                  <a:gd name="connsiteX51" fmla="*/ 6658836 w 7283676"/>
                  <a:gd name="connsiteY51" fmla="*/ 0 h 2560320"/>
                  <a:gd name="connsiteX52" fmla="*/ 6696936 w 7283676"/>
                  <a:gd name="connsiteY52" fmla="*/ 22860 h 2560320"/>
                  <a:gd name="connsiteX53" fmla="*/ 6879816 w 7283676"/>
                  <a:gd name="connsiteY53" fmla="*/ 0 h 2560320"/>
                  <a:gd name="connsiteX54" fmla="*/ 7055076 w 7283676"/>
                  <a:gd name="connsiteY54" fmla="*/ 7620 h 2560320"/>
                  <a:gd name="connsiteX55" fmla="*/ 7146516 w 7283676"/>
                  <a:gd name="connsiteY55" fmla="*/ 7620 h 2560320"/>
                  <a:gd name="connsiteX56" fmla="*/ 7283676 w 7283676"/>
                  <a:gd name="connsiteY56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25776 w 7283676"/>
                  <a:gd name="connsiteY9" fmla="*/ 1996440 h 2560320"/>
                  <a:gd name="connsiteX10" fmla="*/ 1332456 w 7283676"/>
                  <a:gd name="connsiteY10" fmla="*/ 1943100 h 2560320"/>
                  <a:gd name="connsiteX11" fmla="*/ 1515336 w 7283676"/>
                  <a:gd name="connsiteY11" fmla="*/ 1836420 h 2560320"/>
                  <a:gd name="connsiteX12" fmla="*/ 1614396 w 7283676"/>
                  <a:gd name="connsiteY12" fmla="*/ 1813560 h 2560320"/>
                  <a:gd name="connsiteX13" fmla="*/ 1667736 w 7283676"/>
                  <a:gd name="connsiteY13" fmla="*/ 1760220 h 2560320"/>
                  <a:gd name="connsiteX14" fmla="*/ 1759176 w 7283676"/>
                  <a:gd name="connsiteY14" fmla="*/ 1722120 h 2560320"/>
                  <a:gd name="connsiteX15" fmla="*/ 1858236 w 7283676"/>
                  <a:gd name="connsiteY15" fmla="*/ 1592580 h 2560320"/>
                  <a:gd name="connsiteX16" fmla="*/ 2033496 w 7283676"/>
                  <a:gd name="connsiteY16" fmla="*/ 1386840 h 2560320"/>
                  <a:gd name="connsiteX17" fmla="*/ 2223996 w 7283676"/>
                  <a:gd name="connsiteY17" fmla="*/ 1295400 h 2560320"/>
                  <a:gd name="connsiteX18" fmla="*/ 2277336 w 7283676"/>
                  <a:gd name="connsiteY18" fmla="*/ 1272540 h 2560320"/>
                  <a:gd name="connsiteX19" fmla="*/ 2483076 w 7283676"/>
                  <a:gd name="connsiteY19" fmla="*/ 1249680 h 2560320"/>
                  <a:gd name="connsiteX20" fmla="*/ 2673576 w 7283676"/>
                  <a:gd name="connsiteY20" fmla="*/ 1219200 h 2560320"/>
                  <a:gd name="connsiteX21" fmla="*/ 2818356 w 7283676"/>
                  <a:gd name="connsiteY21" fmla="*/ 1150620 h 2560320"/>
                  <a:gd name="connsiteX22" fmla="*/ 2970756 w 7283676"/>
                  <a:gd name="connsiteY22" fmla="*/ 1005840 h 2560320"/>
                  <a:gd name="connsiteX23" fmla="*/ 3054576 w 7283676"/>
                  <a:gd name="connsiteY23" fmla="*/ 982980 h 2560320"/>
                  <a:gd name="connsiteX24" fmla="*/ 3161256 w 7283676"/>
                  <a:gd name="connsiteY24" fmla="*/ 883920 h 2560320"/>
                  <a:gd name="connsiteX25" fmla="*/ 3275556 w 7283676"/>
                  <a:gd name="connsiteY25" fmla="*/ 853440 h 2560320"/>
                  <a:gd name="connsiteX26" fmla="*/ 3351756 w 7283676"/>
                  <a:gd name="connsiteY26" fmla="*/ 815340 h 2560320"/>
                  <a:gd name="connsiteX27" fmla="*/ 3580356 w 7283676"/>
                  <a:gd name="connsiteY27" fmla="*/ 723900 h 2560320"/>
                  <a:gd name="connsiteX28" fmla="*/ 3671796 w 7283676"/>
                  <a:gd name="connsiteY28" fmla="*/ 731520 h 2560320"/>
                  <a:gd name="connsiteX29" fmla="*/ 3770856 w 7283676"/>
                  <a:gd name="connsiteY29" fmla="*/ 624840 h 2560320"/>
                  <a:gd name="connsiteX30" fmla="*/ 3930876 w 7283676"/>
                  <a:gd name="connsiteY30" fmla="*/ 510540 h 2560320"/>
                  <a:gd name="connsiteX31" fmla="*/ 4098516 w 7283676"/>
                  <a:gd name="connsiteY31" fmla="*/ 472440 h 2560320"/>
                  <a:gd name="connsiteX32" fmla="*/ 4281396 w 7283676"/>
                  <a:gd name="connsiteY32" fmla="*/ 441960 h 2560320"/>
                  <a:gd name="connsiteX33" fmla="*/ 4426176 w 7283676"/>
                  <a:gd name="connsiteY33" fmla="*/ 388620 h 2560320"/>
                  <a:gd name="connsiteX34" fmla="*/ 4586196 w 7283676"/>
                  <a:gd name="connsiteY34" fmla="*/ 396240 h 2560320"/>
                  <a:gd name="connsiteX35" fmla="*/ 4738596 w 7283676"/>
                  <a:gd name="connsiteY35" fmla="*/ 388620 h 2560320"/>
                  <a:gd name="connsiteX36" fmla="*/ 4830036 w 7283676"/>
                  <a:gd name="connsiteY36" fmla="*/ 342900 h 2560320"/>
                  <a:gd name="connsiteX37" fmla="*/ 4951956 w 7283676"/>
                  <a:gd name="connsiteY37" fmla="*/ 335280 h 2560320"/>
                  <a:gd name="connsiteX38" fmla="*/ 4974816 w 7283676"/>
                  <a:gd name="connsiteY38" fmla="*/ 289560 h 2560320"/>
                  <a:gd name="connsiteX39" fmla="*/ 5066256 w 7283676"/>
                  <a:gd name="connsiteY39" fmla="*/ 281940 h 2560320"/>
                  <a:gd name="connsiteX40" fmla="*/ 5127216 w 7283676"/>
                  <a:gd name="connsiteY40" fmla="*/ 243840 h 2560320"/>
                  <a:gd name="connsiteX41" fmla="*/ 5294856 w 7283676"/>
                  <a:gd name="connsiteY41" fmla="*/ 236220 h 2560320"/>
                  <a:gd name="connsiteX42" fmla="*/ 5378676 w 7283676"/>
                  <a:gd name="connsiteY42" fmla="*/ 266700 h 2560320"/>
                  <a:gd name="connsiteX43" fmla="*/ 5416776 w 7283676"/>
                  <a:gd name="connsiteY43" fmla="*/ 220980 h 2560320"/>
                  <a:gd name="connsiteX44" fmla="*/ 5607276 w 7283676"/>
                  <a:gd name="connsiteY44" fmla="*/ 236220 h 2560320"/>
                  <a:gd name="connsiteX45" fmla="*/ 5721576 w 7283676"/>
                  <a:gd name="connsiteY45" fmla="*/ 137160 h 2560320"/>
                  <a:gd name="connsiteX46" fmla="*/ 5858736 w 7283676"/>
                  <a:gd name="connsiteY46" fmla="*/ 144780 h 2560320"/>
                  <a:gd name="connsiteX47" fmla="*/ 5973036 w 7283676"/>
                  <a:gd name="connsiteY47" fmla="*/ 167640 h 2560320"/>
                  <a:gd name="connsiteX48" fmla="*/ 6064476 w 7283676"/>
                  <a:gd name="connsiteY48" fmla="*/ 144780 h 2560320"/>
                  <a:gd name="connsiteX49" fmla="*/ 6171156 w 7283676"/>
                  <a:gd name="connsiteY49" fmla="*/ 68580 h 2560320"/>
                  <a:gd name="connsiteX50" fmla="*/ 6277836 w 7283676"/>
                  <a:gd name="connsiteY50" fmla="*/ 7620 h 2560320"/>
                  <a:gd name="connsiteX51" fmla="*/ 6468336 w 7283676"/>
                  <a:gd name="connsiteY51" fmla="*/ 15240 h 2560320"/>
                  <a:gd name="connsiteX52" fmla="*/ 6658836 w 7283676"/>
                  <a:gd name="connsiteY52" fmla="*/ 0 h 2560320"/>
                  <a:gd name="connsiteX53" fmla="*/ 6696936 w 7283676"/>
                  <a:gd name="connsiteY53" fmla="*/ 22860 h 2560320"/>
                  <a:gd name="connsiteX54" fmla="*/ 6879816 w 7283676"/>
                  <a:gd name="connsiteY54" fmla="*/ 0 h 2560320"/>
                  <a:gd name="connsiteX55" fmla="*/ 7055076 w 7283676"/>
                  <a:gd name="connsiteY55" fmla="*/ 7620 h 2560320"/>
                  <a:gd name="connsiteX56" fmla="*/ 7146516 w 7283676"/>
                  <a:gd name="connsiteY56" fmla="*/ 7620 h 2560320"/>
                  <a:gd name="connsiteX57" fmla="*/ 7283676 w 7283676"/>
                  <a:gd name="connsiteY57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332456 w 7283676"/>
                  <a:gd name="connsiteY10" fmla="*/ 1943100 h 2560320"/>
                  <a:gd name="connsiteX11" fmla="*/ 1515336 w 7283676"/>
                  <a:gd name="connsiteY11" fmla="*/ 1836420 h 2560320"/>
                  <a:gd name="connsiteX12" fmla="*/ 1614396 w 7283676"/>
                  <a:gd name="connsiteY12" fmla="*/ 1813560 h 2560320"/>
                  <a:gd name="connsiteX13" fmla="*/ 1667736 w 7283676"/>
                  <a:gd name="connsiteY13" fmla="*/ 1760220 h 2560320"/>
                  <a:gd name="connsiteX14" fmla="*/ 1759176 w 7283676"/>
                  <a:gd name="connsiteY14" fmla="*/ 1722120 h 2560320"/>
                  <a:gd name="connsiteX15" fmla="*/ 1858236 w 7283676"/>
                  <a:gd name="connsiteY15" fmla="*/ 1592580 h 2560320"/>
                  <a:gd name="connsiteX16" fmla="*/ 2033496 w 7283676"/>
                  <a:gd name="connsiteY16" fmla="*/ 1386840 h 2560320"/>
                  <a:gd name="connsiteX17" fmla="*/ 2223996 w 7283676"/>
                  <a:gd name="connsiteY17" fmla="*/ 1295400 h 2560320"/>
                  <a:gd name="connsiteX18" fmla="*/ 2277336 w 7283676"/>
                  <a:gd name="connsiteY18" fmla="*/ 1272540 h 2560320"/>
                  <a:gd name="connsiteX19" fmla="*/ 2483076 w 7283676"/>
                  <a:gd name="connsiteY19" fmla="*/ 1249680 h 2560320"/>
                  <a:gd name="connsiteX20" fmla="*/ 2673576 w 7283676"/>
                  <a:gd name="connsiteY20" fmla="*/ 1219200 h 2560320"/>
                  <a:gd name="connsiteX21" fmla="*/ 2818356 w 7283676"/>
                  <a:gd name="connsiteY21" fmla="*/ 1150620 h 2560320"/>
                  <a:gd name="connsiteX22" fmla="*/ 2970756 w 7283676"/>
                  <a:gd name="connsiteY22" fmla="*/ 1005840 h 2560320"/>
                  <a:gd name="connsiteX23" fmla="*/ 3054576 w 7283676"/>
                  <a:gd name="connsiteY23" fmla="*/ 982980 h 2560320"/>
                  <a:gd name="connsiteX24" fmla="*/ 3161256 w 7283676"/>
                  <a:gd name="connsiteY24" fmla="*/ 883920 h 2560320"/>
                  <a:gd name="connsiteX25" fmla="*/ 3275556 w 7283676"/>
                  <a:gd name="connsiteY25" fmla="*/ 853440 h 2560320"/>
                  <a:gd name="connsiteX26" fmla="*/ 3351756 w 7283676"/>
                  <a:gd name="connsiteY26" fmla="*/ 815340 h 2560320"/>
                  <a:gd name="connsiteX27" fmla="*/ 3580356 w 7283676"/>
                  <a:gd name="connsiteY27" fmla="*/ 723900 h 2560320"/>
                  <a:gd name="connsiteX28" fmla="*/ 3671796 w 7283676"/>
                  <a:gd name="connsiteY28" fmla="*/ 731520 h 2560320"/>
                  <a:gd name="connsiteX29" fmla="*/ 3770856 w 7283676"/>
                  <a:gd name="connsiteY29" fmla="*/ 624840 h 2560320"/>
                  <a:gd name="connsiteX30" fmla="*/ 3930876 w 7283676"/>
                  <a:gd name="connsiteY30" fmla="*/ 510540 h 2560320"/>
                  <a:gd name="connsiteX31" fmla="*/ 4098516 w 7283676"/>
                  <a:gd name="connsiteY31" fmla="*/ 472440 h 2560320"/>
                  <a:gd name="connsiteX32" fmla="*/ 4281396 w 7283676"/>
                  <a:gd name="connsiteY32" fmla="*/ 441960 h 2560320"/>
                  <a:gd name="connsiteX33" fmla="*/ 4426176 w 7283676"/>
                  <a:gd name="connsiteY33" fmla="*/ 388620 h 2560320"/>
                  <a:gd name="connsiteX34" fmla="*/ 4586196 w 7283676"/>
                  <a:gd name="connsiteY34" fmla="*/ 396240 h 2560320"/>
                  <a:gd name="connsiteX35" fmla="*/ 4738596 w 7283676"/>
                  <a:gd name="connsiteY35" fmla="*/ 388620 h 2560320"/>
                  <a:gd name="connsiteX36" fmla="*/ 4830036 w 7283676"/>
                  <a:gd name="connsiteY36" fmla="*/ 342900 h 2560320"/>
                  <a:gd name="connsiteX37" fmla="*/ 4951956 w 7283676"/>
                  <a:gd name="connsiteY37" fmla="*/ 335280 h 2560320"/>
                  <a:gd name="connsiteX38" fmla="*/ 4974816 w 7283676"/>
                  <a:gd name="connsiteY38" fmla="*/ 289560 h 2560320"/>
                  <a:gd name="connsiteX39" fmla="*/ 5066256 w 7283676"/>
                  <a:gd name="connsiteY39" fmla="*/ 281940 h 2560320"/>
                  <a:gd name="connsiteX40" fmla="*/ 5127216 w 7283676"/>
                  <a:gd name="connsiteY40" fmla="*/ 243840 h 2560320"/>
                  <a:gd name="connsiteX41" fmla="*/ 5294856 w 7283676"/>
                  <a:gd name="connsiteY41" fmla="*/ 236220 h 2560320"/>
                  <a:gd name="connsiteX42" fmla="*/ 5378676 w 7283676"/>
                  <a:gd name="connsiteY42" fmla="*/ 266700 h 2560320"/>
                  <a:gd name="connsiteX43" fmla="*/ 5416776 w 7283676"/>
                  <a:gd name="connsiteY43" fmla="*/ 220980 h 2560320"/>
                  <a:gd name="connsiteX44" fmla="*/ 5607276 w 7283676"/>
                  <a:gd name="connsiteY44" fmla="*/ 236220 h 2560320"/>
                  <a:gd name="connsiteX45" fmla="*/ 5721576 w 7283676"/>
                  <a:gd name="connsiteY45" fmla="*/ 137160 h 2560320"/>
                  <a:gd name="connsiteX46" fmla="*/ 5858736 w 7283676"/>
                  <a:gd name="connsiteY46" fmla="*/ 144780 h 2560320"/>
                  <a:gd name="connsiteX47" fmla="*/ 5973036 w 7283676"/>
                  <a:gd name="connsiteY47" fmla="*/ 167640 h 2560320"/>
                  <a:gd name="connsiteX48" fmla="*/ 6064476 w 7283676"/>
                  <a:gd name="connsiteY48" fmla="*/ 144780 h 2560320"/>
                  <a:gd name="connsiteX49" fmla="*/ 6171156 w 7283676"/>
                  <a:gd name="connsiteY49" fmla="*/ 68580 h 2560320"/>
                  <a:gd name="connsiteX50" fmla="*/ 6277836 w 7283676"/>
                  <a:gd name="connsiteY50" fmla="*/ 7620 h 2560320"/>
                  <a:gd name="connsiteX51" fmla="*/ 6468336 w 7283676"/>
                  <a:gd name="connsiteY51" fmla="*/ 15240 h 2560320"/>
                  <a:gd name="connsiteX52" fmla="*/ 6658836 w 7283676"/>
                  <a:gd name="connsiteY52" fmla="*/ 0 h 2560320"/>
                  <a:gd name="connsiteX53" fmla="*/ 6696936 w 7283676"/>
                  <a:gd name="connsiteY53" fmla="*/ 22860 h 2560320"/>
                  <a:gd name="connsiteX54" fmla="*/ 6879816 w 7283676"/>
                  <a:gd name="connsiteY54" fmla="*/ 0 h 2560320"/>
                  <a:gd name="connsiteX55" fmla="*/ 7055076 w 7283676"/>
                  <a:gd name="connsiteY55" fmla="*/ 7620 h 2560320"/>
                  <a:gd name="connsiteX56" fmla="*/ 7146516 w 7283676"/>
                  <a:gd name="connsiteY56" fmla="*/ 7620 h 2560320"/>
                  <a:gd name="connsiteX57" fmla="*/ 7283676 w 7283676"/>
                  <a:gd name="connsiteY57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32456 w 7283676"/>
                  <a:gd name="connsiteY11" fmla="*/ 1943100 h 2560320"/>
                  <a:gd name="connsiteX12" fmla="*/ 1515336 w 7283676"/>
                  <a:gd name="connsiteY12" fmla="*/ 1836420 h 2560320"/>
                  <a:gd name="connsiteX13" fmla="*/ 1614396 w 7283676"/>
                  <a:gd name="connsiteY13" fmla="*/ 1813560 h 2560320"/>
                  <a:gd name="connsiteX14" fmla="*/ 1667736 w 7283676"/>
                  <a:gd name="connsiteY14" fmla="*/ 1760220 h 2560320"/>
                  <a:gd name="connsiteX15" fmla="*/ 1759176 w 7283676"/>
                  <a:gd name="connsiteY15" fmla="*/ 1722120 h 2560320"/>
                  <a:gd name="connsiteX16" fmla="*/ 1858236 w 7283676"/>
                  <a:gd name="connsiteY16" fmla="*/ 1592580 h 2560320"/>
                  <a:gd name="connsiteX17" fmla="*/ 2033496 w 7283676"/>
                  <a:gd name="connsiteY17" fmla="*/ 1386840 h 2560320"/>
                  <a:gd name="connsiteX18" fmla="*/ 2223996 w 7283676"/>
                  <a:gd name="connsiteY18" fmla="*/ 1295400 h 2560320"/>
                  <a:gd name="connsiteX19" fmla="*/ 2277336 w 7283676"/>
                  <a:gd name="connsiteY19" fmla="*/ 1272540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614396 w 7283676"/>
                  <a:gd name="connsiteY13" fmla="*/ 1813560 h 2560320"/>
                  <a:gd name="connsiteX14" fmla="*/ 1667736 w 7283676"/>
                  <a:gd name="connsiteY14" fmla="*/ 1760220 h 2560320"/>
                  <a:gd name="connsiteX15" fmla="*/ 1759176 w 7283676"/>
                  <a:gd name="connsiteY15" fmla="*/ 1722120 h 2560320"/>
                  <a:gd name="connsiteX16" fmla="*/ 1858236 w 7283676"/>
                  <a:gd name="connsiteY16" fmla="*/ 1592580 h 2560320"/>
                  <a:gd name="connsiteX17" fmla="*/ 2033496 w 7283676"/>
                  <a:gd name="connsiteY17" fmla="*/ 1386840 h 2560320"/>
                  <a:gd name="connsiteX18" fmla="*/ 2223996 w 7283676"/>
                  <a:gd name="connsiteY18" fmla="*/ 1295400 h 2560320"/>
                  <a:gd name="connsiteX19" fmla="*/ 2277336 w 7283676"/>
                  <a:gd name="connsiteY19" fmla="*/ 1272540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9176 w 7283676"/>
                  <a:gd name="connsiteY15" fmla="*/ 1722120 h 2560320"/>
                  <a:gd name="connsiteX16" fmla="*/ 1858236 w 7283676"/>
                  <a:gd name="connsiteY16" fmla="*/ 1592580 h 2560320"/>
                  <a:gd name="connsiteX17" fmla="*/ 2033496 w 7283676"/>
                  <a:gd name="connsiteY17" fmla="*/ 1386840 h 2560320"/>
                  <a:gd name="connsiteX18" fmla="*/ 2223996 w 7283676"/>
                  <a:gd name="connsiteY18" fmla="*/ 1295400 h 2560320"/>
                  <a:gd name="connsiteX19" fmla="*/ 2277336 w 7283676"/>
                  <a:gd name="connsiteY19" fmla="*/ 1272540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2033496 w 7283676"/>
                  <a:gd name="connsiteY17" fmla="*/ 1386840 h 2560320"/>
                  <a:gd name="connsiteX18" fmla="*/ 2223996 w 7283676"/>
                  <a:gd name="connsiteY18" fmla="*/ 1295400 h 2560320"/>
                  <a:gd name="connsiteX19" fmla="*/ 2277336 w 7283676"/>
                  <a:gd name="connsiteY19" fmla="*/ 1272540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223996 w 7283676"/>
                  <a:gd name="connsiteY18" fmla="*/ 1295400 h 2560320"/>
                  <a:gd name="connsiteX19" fmla="*/ 2277336 w 7283676"/>
                  <a:gd name="connsiteY19" fmla="*/ 1272540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77336 w 7283676"/>
                  <a:gd name="connsiteY19" fmla="*/ 1272540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83076 w 7283676"/>
                  <a:gd name="connsiteY20" fmla="*/ 1249680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19200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18356 w 7283676"/>
                  <a:gd name="connsiteY22" fmla="*/ 1150620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796540 w 7283676"/>
                  <a:gd name="connsiteY22" fmla="*/ 1142007 h 2560320"/>
                  <a:gd name="connsiteX23" fmla="*/ 2970756 w 7283676"/>
                  <a:gd name="connsiteY23" fmla="*/ 1005840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796540 w 7283676"/>
                  <a:gd name="connsiteY22" fmla="*/ 1142007 h 2560320"/>
                  <a:gd name="connsiteX23" fmla="*/ 2954393 w 7283676"/>
                  <a:gd name="connsiteY23" fmla="*/ 1005839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54576 w 7283676"/>
                  <a:gd name="connsiteY24" fmla="*/ 982980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161256 w 7283676"/>
                  <a:gd name="connsiteY25" fmla="*/ 883920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120351 w 7283676"/>
                  <a:gd name="connsiteY25" fmla="*/ 892532 h 2560320"/>
                  <a:gd name="connsiteX26" fmla="*/ 3275556 w 7283676"/>
                  <a:gd name="connsiteY26" fmla="*/ 853440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120351 w 7283676"/>
                  <a:gd name="connsiteY25" fmla="*/ 892532 h 2560320"/>
                  <a:gd name="connsiteX26" fmla="*/ 3275556 w 7283676"/>
                  <a:gd name="connsiteY26" fmla="*/ 836214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153076 w 7283676"/>
                  <a:gd name="connsiteY25" fmla="*/ 869565 h 2560320"/>
                  <a:gd name="connsiteX26" fmla="*/ 3275556 w 7283676"/>
                  <a:gd name="connsiteY26" fmla="*/ 836214 h 2560320"/>
                  <a:gd name="connsiteX27" fmla="*/ 3351756 w 7283676"/>
                  <a:gd name="connsiteY27" fmla="*/ 815340 h 2560320"/>
                  <a:gd name="connsiteX28" fmla="*/ 3580356 w 7283676"/>
                  <a:gd name="connsiteY28" fmla="*/ 723900 h 2560320"/>
                  <a:gd name="connsiteX29" fmla="*/ 3671796 w 7283676"/>
                  <a:gd name="connsiteY29" fmla="*/ 731520 h 2560320"/>
                  <a:gd name="connsiteX30" fmla="*/ 3770856 w 7283676"/>
                  <a:gd name="connsiteY30" fmla="*/ 624840 h 2560320"/>
                  <a:gd name="connsiteX31" fmla="*/ 3930876 w 7283676"/>
                  <a:gd name="connsiteY31" fmla="*/ 510540 h 2560320"/>
                  <a:gd name="connsiteX32" fmla="*/ 4098516 w 7283676"/>
                  <a:gd name="connsiteY32" fmla="*/ 472440 h 2560320"/>
                  <a:gd name="connsiteX33" fmla="*/ 4281396 w 7283676"/>
                  <a:gd name="connsiteY33" fmla="*/ 441960 h 2560320"/>
                  <a:gd name="connsiteX34" fmla="*/ 4426176 w 7283676"/>
                  <a:gd name="connsiteY34" fmla="*/ 388620 h 2560320"/>
                  <a:gd name="connsiteX35" fmla="*/ 4586196 w 7283676"/>
                  <a:gd name="connsiteY35" fmla="*/ 396240 h 2560320"/>
                  <a:gd name="connsiteX36" fmla="*/ 4738596 w 7283676"/>
                  <a:gd name="connsiteY36" fmla="*/ 388620 h 2560320"/>
                  <a:gd name="connsiteX37" fmla="*/ 4830036 w 7283676"/>
                  <a:gd name="connsiteY37" fmla="*/ 342900 h 2560320"/>
                  <a:gd name="connsiteX38" fmla="*/ 4951956 w 7283676"/>
                  <a:gd name="connsiteY38" fmla="*/ 335280 h 2560320"/>
                  <a:gd name="connsiteX39" fmla="*/ 4974816 w 7283676"/>
                  <a:gd name="connsiteY39" fmla="*/ 289560 h 2560320"/>
                  <a:gd name="connsiteX40" fmla="*/ 5066256 w 7283676"/>
                  <a:gd name="connsiteY40" fmla="*/ 281940 h 2560320"/>
                  <a:gd name="connsiteX41" fmla="*/ 5127216 w 7283676"/>
                  <a:gd name="connsiteY41" fmla="*/ 243840 h 2560320"/>
                  <a:gd name="connsiteX42" fmla="*/ 5294856 w 7283676"/>
                  <a:gd name="connsiteY42" fmla="*/ 236220 h 2560320"/>
                  <a:gd name="connsiteX43" fmla="*/ 5378676 w 7283676"/>
                  <a:gd name="connsiteY43" fmla="*/ 266700 h 2560320"/>
                  <a:gd name="connsiteX44" fmla="*/ 5416776 w 7283676"/>
                  <a:gd name="connsiteY44" fmla="*/ 220980 h 2560320"/>
                  <a:gd name="connsiteX45" fmla="*/ 5607276 w 7283676"/>
                  <a:gd name="connsiteY45" fmla="*/ 236220 h 2560320"/>
                  <a:gd name="connsiteX46" fmla="*/ 5721576 w 7283676"/>
                  <a:gd name="connsiteY46" fmla="*/ 137160 h 2560320"/>
                  <a:gd name="connsiteX47" fmla="*/ 5858736 w 7283676"/>
                  <a:gd name="connsiteY47" fmla="*/ 144780 h 2560320"/>
                  <a:gd name="connsiteX48" fmla="*/ 5973036 w 7283676"/>
                  <a:gd name="connsiteY48" fmla="*/ 167640 h 2560320"/>
                  <a:gd name="connsiteX49" fmla="*/ 6064476 w 7283676"/>
                  <a:gd name="connsiteY49" fmla="*/ 144780 h 2560320"/>
                  <a:gd name="connsiteX50" fmla="*/ 6171156 w 7283676"/>
                  <a:gd name="connsiteY50" fmla="*/ 68580 h 2560320"/>
                  <a:gd name="connsiteX51" fmla="*/ 6277836 w 7283676"/>
                  <a:gd name="connsiteY51" fmla="*/ 7620 h 2560320"/>
                  <a:gd name="connsiteX52" fmla="*/ 6468336 w 7283676"/>
                  <a:gd name="connsiteY52" fmla="*/ 15240 h 2560320"/>
                  <a:gd name="connsiteX53" fmla="*/ 6658836 w 7283676"/>
                  <a:gd name="connsiteY53" fmla="*/ 0 h 2560320"/>
                  <a:gd name="connsiteX54" fmla="*/ 6696936 w 7283676"/>
                  <a:gd name="connsiteY54" fmla="*/ 22860 h 2560320"/>
                  <a:gd name="connsiteX55" fmla="*/ 6879816 w 7283676"/>
                  <a:gd name="connsiteY55" fmla="*/ 0 h 2560320"/>
                  <a:gd name="connsiteX56" fmla="*/ 7055076 w 7283676"/>
                  <a:gd name="connsiteY56" fmla="*/ 7620 h 2560320"/>
                  <a:gd name="connsiteX57" fmla="*/ 7146516 w 7283676"/>
                  <a:gd name="connsiteY57" fmla="*/ 7620 h 2560320"/>
                  <a:gd name="connsiteX58" fmla="*/ 7283676 w 7283676"/>
                  <a:gd name="connsiteY58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31520 h 2560320"/>
                  <a:gd name="connsiteX31" fmla="*/ 3770856 w 7283676"/>
                  <a:gd name="connsiteY31" fmla="*/ 624840 h 2560320"/>
                  <a:gd name="connsiteX32" fmla="*/ 3930876 w 7283676"/>
                  <a:gd name="connsiteY32" fmla="*/ 510540 h 2560320"/>
                  <a:gd name="connsiteX33" fmla="*/ 4098516 w 7283676"/>
                  <a:gd name="connsiteY33" fmla="*/ 472440 h 2560320"/>
                  <a:gd name="connsiteX34" fmla="*/ 4281396 w 7283676"/>
                  <a:gd name="connsiteY34" fmla="*/ 441960 h 2560320"/>
                  <a:gd name="connsiteX35" fmla="*/ 4426176 w 7283676"/>
                  <a:gd name="connsiteY35" fmla="*/ 388620 h 2560320"/>
                  <a:gd name="connsiteX36" fmla="*/ 4586196 w 7283676"/>
                  <a:gd name="connsiteY36" fmla="*/ 396240 h 2560320"/>
                  <a:gd name="connsiteX37" fmla="*/ 4738596 w 7283676"/>
                  <a:gd name="connsiteY37" fmla="*/ 388620 h 2560320"/>
                  <a:gd name="connsiteX38" fmla="*/ 4830036 w 7283676"/>
                  <a:gd name="connsiteY38" fmla="*/ 342900 h 2560320"/>
                  <a:gd name="connsiteX39" fmla="*/ 4951956 w 7283676"/>
                  <a:gd name="connsiteY39" fmla="*/ 335280 h 2560320"/>
                  <a:gd name="connsiteX40" fmla="*/ 4974816 w 7283676"/>
                  <a:gd name="connsiteY40" fmla="*/ 289560 h 2560320"/>
                  <a:gd name="connsiteX41" fmla="*/ 5066256 w 7283676"/>
                  <a:gd name="connsiteY41" fmla="*/ 281940 h 2560320"/>
                  <a:gd name="connsiteX42" fmla="*/ 5127216 w 7283676"/>
                  <a:gd name="connsiteY42" fmla="*/ 243840 h 2560320"/>
                  <a:gd name="connsiteX43" fmla="*/ 5294856 w 7283676"/>
                  <a:gd name="connsiteY43" fmla="*/ 236220 h 2560320"/>
                  <a:gd name="connsiteX44" fmla="*/ 5378676 w 7283676"/>
                  <a:gd name="connsiteY44" fmla="*/ 266700 h 2560320"/>
                  <a:gd name="connsiteX45" fmla="*/ 5416776 w 7283676"/>
                  <a:gd name="connsiteY45" fmla="*/ 220980 h 2560320"/>
                  <a:gd name="connsiteX46" fmla="*/ 5607276 w 7283676"/>
                  <a:gd name="connsiteY46" fmla="*/ 236220 h 2560320"/>
                  <a:gd name="connsiteX47" fmla="*/ 5721576 w 7283676"/>
                  <a:gd name="connsiteY47" fmla="*/ 137160 h 2560320"/>
                  <a:gd name="connsiteX48" fmla="*/ 5858736 w 7283676"/>
                  <a:gd name="connsiteY48" fmla="*/ 144780 h 2560320"/>
                  <a:gd name="connsiteX49" fmla="*/ 5973036 w 7283676"/>
                  <a:gd name="connsiteY49" fmla="*/ 167640 h 2560320"/>
                  <a:gd name="connsiteX50" fmla="*/ 6064476 w 7283676"/>
                  <a:gd name="connsiteY50" fmla="*/ 144780 h 2560320"/>
                  <a:gd name="connsiteX51" fmla="*/ 6171156 w 7283676"/>
                  <a:gd name="connsiteY51" fmla="*/ 68580 h 2560320"/>
                  <a:gd name="connsiteX52" fmla="*/ 6277836 w 7283676"/>
                  <a:gd name="connsiteY52" fmla="*/ 7620 h 2560320"/>
                  <a:gd name="connsiteX53" fmla="*/ 6468336 w 7283676"/>
                  <a:gd name="connsiteY53" fmla="*/ 15240 h 2560320"/>
                  <a:gd name="connsiteX54" fmla="*/ 6658836 w 7283676"/>
                  <a:gd name="connsiteY54" fmla="*/ 0 h 2560320"/>
                  <a:gd name="connsiteX55" fmla="*/ 6696936 w 7283676"/>
                  <a:gd name="connsiteY55" fmla="*/ 22860 h 2560320"/>
                  <a:gd name="connsiteX56" fmla="*/ 6879816 w 7283676"/>
                  <a:gd name="connsiteY56" fmla="*/ 0 h 2560320"/>
                  <a:gd name="connsiteX57" fmla="*/ 7055076 w 7283676"/>
                  <a:gd name="connsiteY57" fmla="*/ 7620 h 2560320"/>
                  <a:gd name="connsiteX58" fmla="*/ 7146516 w 7283676"/>
                  <a:gd name="connsiteY58" fmla="*/ 7620 h 2560320"/>
                  <a:gd name="connsiteX59" fmla="*/ 7283676 w 7283676"/>
                  <a:gd name="connsiteY59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4523 w 7283676"/>
                  <a:gd name="connsiteY30" fmla="*/ 714294 h 2560320"/>
                  <a:gd name="connsiteX31" fmla="*/ 3770856 w 7283676"/>
                  <a:gd name="connsiteY31" fmla="*/ 624840 h 2560320"/>
                  <a:gd name="connsiteX32" fmla="*/ 3930876 w 7283676"/>
                  <a:gd name="connsiteY32" fmla="*/ 510540 h 2560320"/>
                  <a:gd name="connsiteX33" fmla="*/ 4098516 w 7283676"/>
                  <a:gd name="connsiteY33" fmla="*/ 472440 h 2560320"/>
                  <a:gd name="connsiteX34" fmla="*/ 4281396 w 7283676"/>
                  <a:gd name="connsiteY34" fmla="*/ 441960 h 2560320"/>
                  <a:gd name="connsiteX35" fmla="*/ 4426176 w 7283676"/>
                  <a:gd name="connsiteY35" fmla="*/ 388620 h 2560320"/>
                  <a:gd name="connsiteX36" fmla="*/ 4586196 w 7283676"/>
                  <a:gd name="connsiteY36" fmla="*/ 396240 h 2560320"/>
                  <a:gd name="connsiteX37" fmla="*/ 4738596 w 7283676"/>
                  <a:gd name="connsiteY37" fmla="*/ 388620 h 2560320"/>
                  <a:gd name="connsiteX38" fmla="*/ 4830036 w 7283676"/>
                  <a:gd name="connsiteY38" fmla="*/ 342900 h 2560320"/>
                  <a:gd name="connsiteX39" fmla="*/ 4951956 w 7283676"/>
                  <a:gd name="connsiteY39" fmla="*/ 335280 h 2560320"/>
                  <a:gd name="connsiteX40" fmla="*/ 4974816 w 7283676"/>
                  <a:gd name="connsiteY40" fmla="*/ 289560 h 2560320"/>
                  <a:gd name="connsiteX41" fmla="*/ 5066256 w 7283676"/>
                  <a:gd name="connsiteY41" fmla="*/ 281940 h 2560320"/>
                  <a:gd name="connsiteX42" fmla="*/ 5127216 w 7283676"/>
                  <a:gd name="connsiteY42" fmla="*/ 243840 h 2560320"/>
                  <a:gd name="connsiteX43" fmla="*/ 5294856 w 7283676"/>
                  <a:gd name="connsiteY43" fmla="*/ 236220 h 2560320"/>
                  <a:gd name="connsiteX44" fmla="*/ 5378676 w 7283676"/>
                  <a:gd name="connsiteY44" fmla="*/ 266700 h 2560320"/>
                  <a:gd name="connsiteX45" fmla="*/ 5416776 w 7283676"/>
                  <a:gd name="connsiteY45" fmla="*/ 220980 h 2560320"/>
                  <a:gd name="connsiteX46" fmla="*/ 5607276 w 7283676"/>
                  <a:gd name="connsiteY46" fmla="*/ 236220 h 2560320"/>
                  <a:gd name="connsiteX47" fmla="*/ 5721576 w 7283676"/>
                  <a:gd name="connsiteY47" fmla="*/ 137160 h 2560320"/>
                  <a:gd name="connsiteX48" fmla="*/ 5858736 w 7283676"/>
                  <a:gd name="connsiteY48" fmla="*/ 144780 h 2560320"/>
                  <a:gd name="connsiteX49" fmla="*/ 5973036 w 7283676"/>
                  <a:gd name="connsiteY49" fmla="*/ 167640 h 2560320"/>
                  <a:gd name="connsiteX50" fmla="*/ 6064476 w 7283676"/>
                  <a:gd name="connsiteY50" fmla="*/ 144780 h 2560320"/>
                  <a:gd name="connsiteX51" fmla="*/ 6171156 w 7283676"/>
                  <a:gd name="connsiteY51" fmla="*/ 68580 h 2560320"/>
                  <a:gd name="connsiteX52" fmla="*/ 6277836 w 7283676"/>
                  <a:gd name="connsiteY52" fmla="*/ 7620 h 2560320"/>
                  <a:gd name="connsiteX53" fmla="*/ 6468336 w 7283676"/>
                  <a:gd name="connsiteY53" fmla="*/ 15240 h 2560320"/>
                  <a:gd name="connsiteX54" fmla="*/ 6658836 w 7283676"/>
                  <a:gd name="connsiteY54" fmla="*/ 0 h 2560320"/>
                  <a:gd name="connsiteX55" fmla="*/ 6696936 w 7283676"/>
                  <a:gd name="connsiteY55" fmla="*/ 22860 h 2560320"/>
                  <a:gd name="connsiteX56" fmla="*/ 6879816 w 7283676"/>
                  <a:gd name="connsiteY56" fmla="*/ 0 h 2560320"/>
                  <a:gd name="connsiteX57" fmla="*/ 7055076 w 7283676"/>
                  <a:gd name="connsiteY57" fmla="*/ 7620 h 2560320"/>
                  <a:gd name="connsiteX58" fmla="*/ 7146516 w 7283676"/>
                  <a:gd name="connsiteY58" fmla="*/ 7620 h 2560320"/>
                  <a:gd name="connsiteX59" fmla="*/ 7283676 w 7283676"/>
                  <a:gd name="connsiteY59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70856 w 7283676"/>
                  <a:gd name="connsiteY31" fmla="*/ 624840 h 2560320"/>
                  <a:gd name="connsiteX32" fmla="*/ 3930876 w 7283676"/>
                  <a:gd name="connsiteY32" fmla="*/ 510540 h 2560320"/>
                  <a:gd name="connsiteX33" fmla="*/ 4098516 w 7283676"/>
                  <a:gd name="connsiteY33" fmla="*/ 472440 h 2560320"/>
                  <a:gd name="connsiteX34" fmla="*/ 4281396 w 7283676"/>
                  <a:gd name="connsiteY34" fmla="*/ 441960 h 2560320"/>
                  <a:gd name="connsiteX35" fmla="*/ 4426176 w 7283676"/>
                  <a:gd name="connsiteY35" fmla="*/ 388620 h 2560320"/>
                  <a:gd name="connsiteX36" fmla="*/ 4586196 w 7283676"/>
                  <a:gd name="connsiteY36" fmla="*/ 396240 h 2560320"/>
                  <a:gd name="connsiteX37" fmla="*/ 4738596 w 7283676"/>
                  <a:gd name="connsiteY37" fmla="*/ 388620 h 2560320"/>
                  <a:gd name="connsiteX38" fmla="*/ 4830036 w 7283676"/>
                  <a:gd name="connsiteY38" fmla="*/ 342900 h 2560320"/>
                  <a:gd name="connsiteX39" fmla="*/ 4951956 w 7283676"/>
                  <a:gd name="connsiteY39" fmla="*/ 335280 h 2560320"/>
                  <a:gd name="connsiteX40" fmla="*/ 4974816 w 7283676"/>
                  <a:gd name="connsiteY40" fmla="*/ 289560 h 2560320"/>
                  <a:gd name="connsiteX41" fmla="*/ 5066256 w 7283676"/>
                  <a:gd name="connsiteY41" fmla="*/ 281940 h 2560320"/>
                  <a:gd name="connsiteX42" fmla="*/ 5127216 w 7283676"/>
                  <a:gd name="connsiteY42" fmla="*/ 243840 h 2560320"/>
                  <a:gd name="connsiteX43" fmla="*/ 5294856 w 7283676"/>
                  <a:gd name="connsiteY43" fmla="*/ 236220 h 2560320"/>
                  <a:gd name="connsiteX44" fmla="*/ 5378676 w 7283676"/>
                  <a:gd name="connsiteY44" fmla="*/ 266700 h 2560320"/>
                  <a:gd name="connsiteX45" fmla="*/ 5416776 w 7283676"/>
                  <a:gd name="connsiteY45" fmla="*/ 220980 h 2560320"/>
                  <a:gd name="connsiteX46" fmla="*/ 5607276 w 7283676"/>
                  <a:gd name="connsiteY46" fmla="*/ 236220 h 2560320"/>
                  <a:gd name="connsiteX47" fmla="*/ 5721576 w 7283676"/>
                  <a:gd name="connsiteY47" fmla="*/ 137160 h 2560320"/>
                  <a:gd name="connsiteX48" fmla="*/ 5858736 w 7283676"/>
                  <a:gd name="connsiteY48" fmla="*/ 144780 h 2560320"/>
                  <a:gd name="connsiteX49" fmla="*/ 5973036 w 7283676"/>
                  <a:gd name="connsiteY49" fmla="*/ 167640 h 2560320"/>
                  <a:gd name="connsiteX50" fmla="*/ 6064476 w 7283676"/>
                  <a:gd name="connsiteY50" fmla="*/ 144780 h 2560320"/>
                  <a:gd name="connsiteX51" fmla="*/ 6171156 w 7283676"/>
                  <a:gd name="connsiteY51" fmla="*/ 68580 h 2560320"/>
                  <a:gd name="connsiteX52" fmla="*/ 6277836 w 7283676"/>
                  <a:gd name="connsiteY52" fmla="*/ 7620 h 2560320"/>
                  <a:gd name="connsiteX53" fmla="*/ 6468336 w 7283676"/>
                  <a:gd name="connsiteY53" fmla="*/ 15240 h 2560320"/>
                  <a:gd name="connsiteX54" fmla="*/ 6658836 w 7283676"/>
                  <a:gd name="connsiteY54" fmla="*/ 0 h 2560320"/>
                  <a:gd name="connsiteX55" fmla="*/ 6696936 w 7283676"/>
                  <a:gd name="connsiteY55" fmla="*/ 22860 h 2560320"/>
                  <a:gd name="connsiteX56" fmla="*/ 6879816 w 7283676"/>
                  <a:gd name="connsiteY56" fmla="*/ 0 h 2560320"/>
                  <a:gd name="connsiteX57" fmla="*/ 7055076 w 7283676"/>
                  <a:gd name="connsiteY57" fmla="*/ 7620 h 2560320"/>
                  <a:gd name="connsiteX58" fmla="*/ 7146516 w 7283676"/>
                  <a:gd name="connsiteY58" fmla="*/ 7620 h 2560320"/>
                  <a:gd name="connsiteX59" fmla="*/ 7283676 w 7283676"/>
                  <a:gd name="connsiteY59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930876 w 7283676"/>
                  <a:gd name="connsiteY32" fmla="*/ 510540 h 2560320"/>
                  <a:gd name="connsiteX33" fmla="*/ 4098516 w 7283676"/>
                  <a:gd name="connsiteY33" fmla="*/ 472440 h 2560320"/>
                  <a:gd name="connsiteX34" fmla="*/ 4281396 w 7283676"/>
                  <a:gd name="connsiteY34" fmla="*/ 441960 h 2560320"/>
                  <a:gd name="connsiteX35" fmla="*/ 4426176 w 7283676"/>
                  <a:gd name="connsiteY35" fmla="*/ 388620 h 2560320"/>
                  <a:gd name="connsiteX36" fmla="*/ 4586196 w 7283676"/>
                  <a:gd name="connsiteY36" fmla="*/ 396240 h 2560320"/>
                  <a:gd name="connsiteX37" fmla="*/ 4738596 w 7283676"/>
                  <a:gd name="connsiteY37" fmla="*/ 388620 h 2560320"/>
                  <a:gd name="connsiteX38" fmla="*/ 4830036 w 7283676"/>
                  <a:gd name="connsiteY38" fmla="*/ 342900 h 2560320"/>
                  <a:gd name="connsiteX39" fmla="*/ 4951956 w 7283676"/>
                  <a:gd name="connsiteY39" fmla="*/ 335280 h 2560320"/>
                  <a:gd name="connsiteX40" fmla="*/ 4974816 w 7283676"/>
                  <a:gd name="connsiteY40" fmla="*/ 289560 h 2560320"/>
                  <a:gd name="connsiteX41" fmla="*/ 5066256 w 7283676"/>
                  <a:gd name="connsiteY41" fmla="*/ 281940 h 2560320"/>
                  <a:gd name="connsiteX42" fmla="*/ 5127216 w 7283676"/>
                  <a:gd name="connsiteY42" fmla="*/ 243840 h 2560320"/>
                  <a:gd name="connsiteX43" fmla="*/ 5294856 w 7283676"/>
                  <a:gd name="connsiteY43" fmla="*/ 236220 h 2560320"/>
                  <a:gd name="connsiteX44" fmla="*/ 5378676 w 7283676"/>
                  <a:gd name="connsiteY44" fmla="*/ 266700 h 2560320"/>
                  <a:gd name="connsiteX45" fmla="*/ 5416776 w 7283676"/>
                  <a:gd name="connsiteY45" fmla="*/ 220980 h 2560320"/>
                  <a:gd name="connsiteX46" fmla="*/ 5607276 w 7283676"/>
                  <a:gd name="connsiteY46" fmla="*/ 236220 h 2560320"/>
                  <a:gd name="connsiteX47" fmla="*/ 5721576 w 7283676"/>
                  <a:gd name="connsiteY47" fmla="*/ 137160 h 2560320"/>
                  <a:gd name="connsiteX48" fmla="*/ 5858736 w 7283676"/>
                  <a:gd name="connsiteY48" fmla="*/ 144780 h 2560320"/>
                  <a:gd name="connsiteX49" fmla="*/ 5973036 w 7283676"/>
                  <a:gd name="connsiteY49" fmla="*/ 167640 h 2560320"/>
                  <a:gd name="connsiteX50" fmla="*/ 6064476 w 7283676"/>
                  <a:gd name="connsiteY50" fmla="*/ 144780 h 2560320"/>
                  <a:gd name="connsiteX51" fmla="*/ 6171156 w 7283676"/>
                  <a:gd name="connsiteY51" fmla="*/ 68580 h 2560320"/>
                  <a:gd name="connsiteX52" fmla="*/ 6277836 w 7283676"/>
                  <a:gd name="connsiteY52" fmla="*/ 7620 h 2560320"/>
                  <a:gd name="connsiteX53" fmla="*/ 6468336 w 7283676"/>
                  <a:gd name="connsiteY53" fmla="*/ 15240 h 2560320"/>
                  <a:gd name="connsiteX54" fmla="*/ 6658836 w 7283676"/>
                  <a:gd name="connsiteY54" fmla="*/ 0 h 2560320"/>
                  <a:gd name="connsiteX55" fmla="*/ 6696936 w 7283676"/>
                  <a:gd name="connsiteY55" fmla="*/ 22860 h 2560320"/>
                  <a:gd name="connsiteX56" fmla="*/ 6879816 w 7283676"/>
                  <a:gd name="connsiteY56" fmla="*/ 0 h 2560320"/>
                  <a:gd name="connsiteX57" fmla="*/ 7055076 w 7283676"/>
                  <a:gd name="connsiteY57" fmla="*/ 7620 h 2560320"/>
                  <a:gd name="connsiteX58" fmla="*/ 7146516 w 7283676"/>
                  <a:gd name="connsiteY58" fmla="*/ 7620 h 2560320"/>
                  <a:gd name="connsiteX59" fmla="*/ 7283676 w 7283676"/>
                  <a:gd name="connsiteY59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87243 w 7283676"/>
                  <a:gd name="connsiteY32" fmla="*/ 501927 h 2560320"/>
                  <a:gd name="connsiteX33" fmla="*/ 4098516 w 7283676"/>
                  <a:gd name="connsiteY33" fmla="*/ 472440 h 2560320"/>
                  <a:gd name="connsiteX34" fmla="*/ 4281396 w 7283676"/>
                  <a:gd name="connsiteY34" fmla="*/ 441960 h 2560320"/>
                  <a:gd name="connsiteX35" fmla="*/ 4426176 w 7283676"/>
                  <a:gd name="connsiteY35" fmla="*/ 388620 h 2560320"/>
                  <a:gd name="connsiteX36" fmla="*/ 4586196 w 7283676"/>
                  <a:gd name="connsiteY36" fmla="*/ 396240 h 2560320"/>
                  <a:gd name="connsiteX37" fmla="*/ 4738596 w 7283676"/>
                  <a:gd name="connsiteY37" fmla="*/ 388620 h 2560320"/>
                  <a:gd name="connsiteX38" fmla="*/ 4830036 w 7283676"/>
                  <a:gd name="connsiteY38" fmla="*/ 342900 h 2560320"/>
                  <a:gd name="connsiteX39" fmla="*/ 4951956 w 7283676"/>
                  <a:gd name="connsiteY39" fmla="*/ 335280 h 2560320"/>
                  <a:gd name="connsiteX40" fmla="*/ 4974816 w 7283676"/>
                  <a:gd name="connsiteY40" fmla="*/ 289560 h 2560320"/>
                  <a:gd name="connsiteX41" fmla="*/ 5066256 w 7283676"/>
                  <a:gd name="connsiteY41" fmla="*/ 281940 h 2560320"/>
                  <a:gd name="connsiteX42" fmla="*/ 5127216 w 7283676"/>
                  <a:gd name="connsiteY42" fmla="*/ 243840 h 2560320"/>
                  <a:gd name="connsiteX43" fmla="*/ 5294856 w 7283676"/>
                  <a:gd name="connsiteY43" fmla="*/ 236220 h 2560320"/>
                  <a:gd name="connsiteX44" fmla="*/ 5378676 w 7283676"/>
                  <a:gd name="connsiteY44" fmla="*/ 266700 h 2560320"/>
                  <a:gd name="connsiteX45" fmla="*/ 5416776 w 7283676"/>
                  <a:gd name="connsiteY45" fmla="*/ 220980 h 2560320"/>
                  <a:gd name="connsiteX46" fmla="*/ 5607276 w 7283676"/>
                  <a:gd name="connsiteY46" fmla="*/ 236220 h 2560320"/>
                  <a:gd name="connsiteX47" fmla="*/ 5721576 w 7283676"/>
                  <a:gd name="connsiteY47" fmla="*/ 137160 h 2560320"/>
                  <a:gd name="connsiteX48" fmla="*/ 5858736 w 7283676"/>
                  <a:gd name="connsiteY48" fmla="*/ 144780 h 2560320"/>
                  <a:gd name="connsiteX49" fmla="*/ 5973036 w 7283676"/>
                  <a:gd name="connsiteY49" fmla="*/ 167640 h 2560320"/>
                  <a:gd name="connsiteX50" fmla="*/ 6064476 w 7283676"/>
                  <a:gd name="connsiteY50" fmla="*/ 144780 h 2560320"/>
                  <a:gd name="connsiteX51" fmla="*/ 6171156 w 7283676"/>
                  <a:gd name="connsiteY51" fmla="*/ 68580 h 2560320"/>
                  <a:gd name="connsiteX52" fmla="*/ 6277836 w 7283676"/>
                  <a:gd name="connsiteY52" fmla="*/ 7620 h 2560320"/>
                  <a:gd name="connsiteX53" fmla="*/ 6468336 w 7283676"/>
                  <a:gd name="connsiteY53" fmla="*/ 15240 h 2560320"/>
                  <a:gd name="connsiteX54" fmla="*/ 6658836 w 7283676"/>
                  <a:gd name="connsiteY54" fmla="*/ 0 h 2560320"/>
                  <a:gd name="connsiteX55" fmla="*/ 6696936 w 7283676"/>
                  <a:gd name="connsiteY55" fmla="*/ 22860 h 2560320"/>
                  <a:gd name="connsiteX56" fmla="*/ 6879816 w 7283676"/>
                  <a:gd name="connsiteY56" fmla="*/ 0 h 2560320"/>
                  <a:gd name="connsiteX57" fmla="*/ 7055076 w 7283676"/>
                  <a:gd name="connsiteY57" fmla="*/ 7620 h 2560320"/>
                  <a:gd name="connsiteX58" fmla="*/ 7146516 w 7283676"/>
                  <a:gd name="connsiteY58" fmla="*/ 7620 h 2560320"/>
                  <a:gd name="connsiteX59" fmla="*/ 7283676 w 7283676"/>
                  <a:gd name="connsiteY59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87243 w 7283676"/>
                  <a:gd name="connsiteY32" fmla="*/ 501927 h 2560320"/>
                  <a:gd name="connsiteX33" fmla="*/ 4024886 w 7283676"/>
                  <a:gd name="connsiteY33" fmla="*/ 463828 h 2560320"/>
                  <a:gd name="connsiteX34" fmla="*/ 4281396 w 7283676"/>
                  <a:gd name="connsiteY34" fmla="*/ 441960 h 2560320"/>
                  <a:gd name="connsiteX35" fmla="*/ 4426176 w 7283676"/>
                  <a:gd name="connsiteY35" fmla="*/ 388620 h 2560320"/>
                  <a:gd name="connsiteX36" fmla="*/ 4586196 w 7283676"/>
                  <a:gd name="connsiteY36" fmla="*/ 396240 h 2560320"/>
                  <a:gd name="connsiteX37" fmla="*/ 4738596 w 7283676"/>
                  <a:gd name="connsiteY37" fmla="*/ 388620 h 2560320"/>
                  <a:gd name="connsiteX38" fmla="*/ 4830036 w 7283676"/>
                  <a:gd name="connsiteY38" fmla="*/ 342900 h 2560320"/>
                  <a:gd name="connsiteX39" fmla="*/ 4951956 w 7283676"/>
                  <a:gd name="connsiteY39" fmla="*/ 335280 h 2560320"/>
                  <a:gd name="connsiteX40" fmla="*/ 4974816 w 7283676"/>
                  <a:gd name="connsiteY40" fmla="*/ 289560 h 2560320"/>
                  <a:gd name="connsiteX41" fmla="*/ 5066256 w 7283676"/>
                  <a:gd name="connsiteY41" fmla="*/ 281940 h 2560320"/>
                  <a:gd name="connsiteX42" fmla="*/ 5127216 w 7283676"/>
                  <a:gd name="connsiteY42" fmla="*/ 243840 h 2560320"/>
                  <a:gd name="connsiteX43" fmla="*/ 5294856 w 7283676"/>
                  <a:gd name="connsiteY43" fmla="*/ 236220 h 2560320"/>
                  <a:gd name="connsiteX44" fmla="*/ 5378676 w 7283676"/>
                  <a:gd name="connsiteY44" fmla="*/ 266700 h 2560320"/>
                  <a:gd name="connsiteX45" fmla="*/ 5416776 w 7283676"/>
                  <a:gd name="connsiteY45" fmla="*/ 220980 h 2560320"/>
                  <a:gd name="connsiteX46" fmla="*/ 5607276 w 7283676"/>
                  <a:gd name="connsiteY46" fmla="*/ 236220 h 2560320"/>
                  <a:gd name="connsiteX47" fmla="*/ 5721576 w 7283676"/>
                  <a:gd name="connsiteY47" fmla="*/ 137160 h 2560320"/>
                  <a:gd name="connsiteX48" fmla="*/ 5858736 w 7283676"/>
                  <a:gd name="connsiteY48" fmla="*/ 144780 h 2560320"/>
                  <a:gd name="connsiteX49" fmla="*/ 5973036 w 7283676"/>
                  <a:gd name="connsiteY49" fmla="*/ 167640 h 2560320"/>
                  <a:gd name="connsiteX50" fmla="*/ 6064476 w 7283676"/>
                  <a:gd name="connsiteY50" fmla="*/ 144780 h 2560320"/>
                  <a:gd name="connsiteX51" fmla="*/ 6171156 w 7283676"/>
                  <a:gd name="connsiteY51" fmla="*/ 68580 h 2560320"/>
                  <a:gd name="connsiteX52" fmla="*/ 6277836 w 7283676"/>
                  <a:gd name="connsiteY52" fmla="*/ 7620 h 2560320"/>
                  <a:gd name="connsiteX53" fmla="*/ 6468336 w 7283676"/>
                  <a:gd name="connsiteY53" fmla="*/ 15240 h 2560320"/>
                  <a:gd name="connsiteX54" fmla="*/ 6658836 w 7283676"/>
                  <a:gd name="connsiteY54" fmla="*/ 0 h 2560320"/>
                  <a:gd name="connsiteX55" fmla="*/ 6696936 w 7283676"/>
                  <a:gd name="connsiteY55" fmla="*/ 22860 h 2560320"/>
                  <a:gd name="connsiteX56" fmla="*/ 6879816 w 7283676"/>
                  <a:gd name="connsiteY56" fmla="*/ 0 h 2560320"/>
                  <a:gd name="connsiteX57" fmla="*/ 7055076 w 7283676"/>
                  <a:gd name="connsiteY57" fmla="*/ 7620 h 2560320"/>
                  <a:gd name="connsiteX58" fmla="*/ 7146516 w 7283676"/>
                  <a:gd name="connsiteY58" fmla="*/ 7620 h 2560320"/>
                  <a:gd name="connsiteX59" fmla="*/ 7283676 w 7283676"/>
                  <a:gd name="connsiteY59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1396 w 7283676"/>
                  <a:gd name="connsiteY35" fmla="*/ 441960 h 2560320"/>
                  <a:gd name="connsiteX36" fmla="*/ 4426176 w 7283676"/>
                  <a:gd name="connsiteY36" fmla="*/ 388620 h 2560320"/>
                  <a:gd name="connsiteX37" fmla="*/ 4586196 w 7283676"/>
                  <a:gd name="connsiteY37" fmla="*/ 396240 h 2560320"/>
                  <a:gd name="connsiteX38" fmla="*/ 4738596 w 7283676"/>
                  <a:gd name="connsiteY38" fmla="*/ 388620 h 2560320"/>
                  <a:gd name="connsiteX39" fmla="*/ 4830036 w 7283676"/>
                  <a:gd name="connsiteY39" fmla="*/ 342900 h 2560320"/>
                  <a:gd name="connsiteX40" fmla="*/ 4951956 w 7283676"/>
                  <a:gd name="connsiteY40" fmla="*/ 335280 h 2560320"/>
                  <a:gd name="connsiteX41" fmla="*/ 4974816 w 7283676"/>
                  <a:gd name="connsiteY41" fmla="*/ 289560 h 2560320"/>
                  <a:gd name="connsiteX42" fmla="*/ 5066256 w 7283676"/>
                  <a:gd name="connsiteY42" fmla="*/ 281940 h 2560320"/>
                  <a:gd name="connsiteX43" fmla="*/ 5127216 w 7283676"/>
                  <a:gd name="connsiteY43" fmla="*/ 243840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26176 w 7283676"/>
                  <a:gd name="connsiteY36" fmla="*/ 388620 h 2560320"/>
                  <a:gd name="connsiteX37" fmla="*/ 4586196 w 7283676"/>
                  <a:gd name="connsiteY37" fmla="*/ 396240 h 2560320"/>
                  <a:gd name="connsiteX38" fmla="*/ 4738596 w 7283676"/>
                  <a:gd name="connsiteY38" fmla="*/ 388620 h 2560320"/>
                  <a:gd name="connsiteX39" fmla="*/ 4830036 w 7283676"/>
                  <a:gd name="connsiteY39" fmla="*/ 342900 h 2560320"/>
                  <a:gd name="connsiteX40" fmla="*/ 4951956 w 7283676"/>
                  <a:gd name="connsiteY40" fmla="*/ 335280 h 2560320"/>
                  <a:gd name="connsiteX41" fmla="*/ 4974816 w 7283676"/>
                  <a:gd name="connsiteY41" fmla="*/ 289560 h 2560320"/>
                  <a:gd name="connsiteX42" fmla="*/ 5066256 w 7283676"/>
                  <a:gd name="connsiteY42" fmla="*/ 281940 h 2560320"/>
                  <a:gd name="connsiteX43" fmla="*/ 5127216 w 7283676"/>
                  <a:gd name="connsiteY43" fmla="*/ 243840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586196 w 7283676"/>
                  <a:gd name="connsiteY37" fmla="*/ 396240 h 2560320"/>
                  <a:gd name="connsiteX38" fmla="*/ 4738596 w 7283676"/>
                  <a:gd name="connsiteY38" fmla="*/ 388620 h 2560320"/>
                  <a:gd name="connsiteX39" fmla="*/ 4830036 w 7283676"/>
                  <a:gd name="connsiteY39" fmla="*/ 342900 h 2560320"/>
                  <a:gd name="connsiteX40" fmla="*/ 4951956 w 7283676"/>
                  <a:gd name="connsiteY40" fmla="*/ 335280 h 2560320"/>
                  <a:gd name="connsiteX41" fmla="*/ 4974816 w 7283676"/>
                  <a:gd name="connsiteY41" fmla="*/ 289560 h 2560320"/>
                  <a:gd name="connsiteX42" fmla="*/ 5066256 w 7283676"/>
                  <a:gd name="connsiteY42" fmla="*/ 281940 h 2560320"/>
                  <a:gd name="connsiteX43" fmla="*/ 5127216 w 7283676"/>
                  <a:gd name="connsiteY43" fmla="*/ 243840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30036 w 7283676"/>
                  <a:gd name="connsiteY39" fmla="*/ 342900 h 2560320"/>
                  <a:gd name="connsiteX40" fmla="*/ 4951956 w 7283676"/>
                  <a:gd name="connsiteY40" fmla="*/ 335280 h 2560320"/>
                  <a:gd name="connsiteX41" fmla="*/ 4974816 w 7283676"/>
                  <a:gd name="connsiteY41" fmla="*/ 289560 h 2560320"/>
                  <a:gd name="connsiteX42" fmla="*/ 5066256 w 7283676"/>
                  <a:gd name="connsiteY42" fmla="*/ 281940 h 2560320"/>
                  <a:gd name="connsiteX43" fmla="*/ 5127216 w 7283676"/>
                  <a:gd name="connsiteY43" fmla="*/ 243840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74816 w 7283676"/>
                  <a:gd name="connsiteY41" fmla="*/ 289560 h 2560320"/>
                  <a:gd name="connsiteX42" fmla="*/ 5066256 w 7283676"/>
                  <a:gd name="connsiteY42" fmla="*/ 281940 h 2560320"/>
                  <a:gd name="connsiteX43" fmla="*/ 5127216 w 7283676"/>
                  <a:gd name="connsiteY43" fmla="*/ 243840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27216 w 7283676"/>
                  <a:gd name="connsiteY43" fmla="*/ 243840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78676 w 7283676"/>
                  <a:gd name="connsiteY45" fmla="*/ 266700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78677 w 7283676"/>
                  <a:gd name="connsiteY45" fmla="*/ 275313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21576 w 7283676"/>
                  <a:gd name="connsiteY48" fmla="*/ 137160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78677 w 7283676"/>
                  <a:gd name="connsiteY45" fmla="*/ 275313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36220 h 2560320"/>
                  <a:gd name="connsiteX48" fmla="*/ 5702487 w 7283676"/>
                  <a:gd name="connsiteY48" fmla="*/ 134289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78677 w 7283676"/>
                  <a:gd name="connsiteY45" fmla="*/ 275313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24737 h 2560320"/>
                  <a:gd name="connsiteX48" fmla="*/ 5702487 w 7283676"/>
                  <a:gd name="connsiteY48" fmla="*/ 134289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81404 w 7283676"/>
                  <a:gd name="connsiteY45" fmla="*/ 260959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24737 h 2560320"/>
                  <a:gd name="connsiteX48" fmla="*/ 5702487 w 7283676"/>
                  <a:gd name="connsiteY48" fmla="*/ 134289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59588 w 7283676"/>
                  <a:gd name="connsiteY45" fmla="*/ 275313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24737 h 2560320"/>
                  <a:gd name="connsiteX48" fmla="*/ 5702487 w 7283676"/>
                  <a:gd name="connsiteY48" fmla="*/ 134289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71156 w 7283676"/>
                  <a:gd name="connsiteY52" fmla="*/ 68580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56528 h 2560320"/>
                  <a:gd name="connsiteX1" fmla="*/ 273276 w 7283676"/>
                  <a:gd name="connsiteY1" fmla="*/ 2560320 h 2560320"/>
                  <a:gd name="connsiteX2" fmla="*/ 348432 w 7283676"/>
                  <a:gd name="connsiteY2" fmla="*/ 2541323 h 2560320"/>
                  <a:gd name="connsiteX3" fmla="*/ 467547 w 7283676"/>
                  <a:gd name="connsiteY3" fmla="*/ 2540438 h 2560320"/>
                  <a:gd name="connsiteX4" fmla="*/ 662378 w 7283676"/>
                  <a:gd name="connsiteY4" fmla="*/ 2458389 h 2560320"/>
                  <a:gd name="connsiteX5" fmla="*/ 791436 w 7283676"/>
                  <a:gd name="connsiteY5" fmla="*/ 2316480 h 2560320"/>
                  <a:gd name="connsiteX6" fmla="*/ 882876 w 7283676"/>
                  <a:gd name="connsiteY6" fmla="*/ 2263140 h 2560320"/>
                  <a:gd name="connsiteX7" fmla="*/ 922379 w 7283676"/>
                  <a:gd name="connsiteY7" fmla="*/ 2198819 h 2560320"/>
                  <a:gd name="connsiteX8" fmla="*/ 1020036 w 7283676"/>
                  <a:gd name="connsiteY8" fmla="*/ 2125980 h 2560320"/>
                  <a:gd name="connsiteX9" fmla="*/ 1217595 w 7283676"/>
                  <a:gd name="connsiteY9" fmla="*/ 1982086 h 2560320"/>
                  <a:gd name="connsiteX10" fmla="*/ 1268714 w 7283676"/>
                  <a:gd name="connsiteY10" fmla="*/ 1943311 h 2560320"/>
                  <a:gd name="connsiteX11" fmla="*/ 1397905 w 7283676"/>
                  <a:gd name="connsiteY11" fmla="*/ 1920133 h 2560320"/>
                  <a:gd name="connsiteX12" fmla="*/ 1515336 w 7283676"/>
                  <a:gd name="connsiteY12" fmla="*/ 1836420 h 2560320"/>
                  <a:gd name="connsiteX13" fmla="*/ 1578944 w 7283676"/>
                  <a:gd name="connsiteY13" fmla="*/ 1827915 h 2560320"/>
                  <a:gd name="connsiteX14" fmla="*/ 1667736 w 7283676"/>
                  <a:gd name="connsiteY14" fmla="*/ 1760220 h 2560320"/>
                  <a:gd name="connsiteX15" fmla="*/ 1753722 w 7283676"/>
                  <a:gd name="connsiteY15" fmla="*/ 1699152 h 2560320"/>
                  <a:gd name="connsiteX16" fmla="*/ 1858236 w 7283676"/>
                  <a:gd name="connsiteY16" fmla="*/ 1592580 h 2560320"/>
                  <a:gd name="connsiteX17" fmla="*/ 1998044 w 7283676"/>
                  <a:gd name="connsiteY17" fmla="*/ 1404065 h 2560320"/>
                  <a:gd name="connsiteX18" fmla="*/ 2117642 w 7283676"/>
                  <a:gd name="connsiteY18" fmla="*/ 1332723 h 2560320"/>
                  <a:gd name="connsiteX19" fmla="*/ 2252793 w 7283676"/>
                  <a:gd name="connsiteY19" fmla="*/ 1263929 h 2560320"/>
                  <a:gd name="connsiteX20" fmla="*/ 2420353 w 7283676"/>
                  <a:gd name="connsiteY20" fmla="*/ 1269776 h 2560320"/>
                  <a:gd name="connsiteX21" fmla="*/ 2673576 w 7283676"/>
                  <a:gd name="connsiteY21" fmla="*/ 1207717 h 2560320"/>
                  <a:gd name="connsiteX22" fmla="*/ 2842900 w 7283676"/>
                  <a:gd name="connsiteY22" fmla="*/ 1121910 h 2560320"/>
                  <a:gd name="connsiteX23" fmla="*/ 2954393 w 7283676"/>
                  <a:gd name="connsiteY23" fmla="*/ 1005839 h 2560320"/>
                  <a:gd name="connsiteX24" fmla="*/ 3049122 w 7283676"/>
                  <a:gd name="connsiteY24" fmla="*/ 971496 h 2560320"/>
                  <a:gd name="connsiteX25" fmla="*/ 3098558 w 7283676"/>
                  <a:gd name="connsiteY25" fmla="*/ 909794 h 2560320"/>
                  <a:gd name="connsiteX26" fmla="*/ 3153076 w 7283676"/>
                  <a:gd name="connsiteY26" fmla="*/ 869565 h 2560320"/>
                  <a:gd name="connsiteX27" fmla="*/ 3275556 w 7283676"/>
                  <a:gd name="connsiteY27" fmla="*/ 836214 h 2560320"/>
                  <a:gd name="connsiteX28" fmla="*/ 3351756 w 7283676"/>
                  <a:gd name="connsiteY28" fmla="*/ 815340 h 2560320"/>
                  <a:gd name="connsiteX29" fmla="*/ 3580356 w 7283676"/>
                  <a:gd name="connsiteY29" fmla="*/ 723900 h 2560320"/>
                  <a:gd name="connsiteX30" fmla="*/ 3671796 w 7283676"/>
                  <a:gd name="connsiteY30" fmla="*/ 705683 h 2560320"/>
                  <a:gd name="connsiteX31" fmla="*/ 3751767 w 7283676"/>
                  <a:gd name="connsiteY31" fmla="*/ 613356 h 2560320"/>
                  <a:gd name="connsiteX32" fmla="*/ 3826678 w 7283676"/>
                  <a:gd name="connsiteY32" fmla="*/ 553805 h 2560320"/>
                  <a:gd name="connsiteX33" fmla="*/ 3887243 w 7283676"/>
                  <a:gd name="connsiteY33" fmla="*/ 501927 h 2560320"/>
                  <a:gd name="connsiteX34" fmla="*/ 4024886 w 7283676"/>
                  <a:gd name="connsiteY34" fmla="*/ 463828 h 2560320"/>
                  <a:gd name="connsiteX35" fmla="*/ 4284123 w 7283676"/>
                  <a:gd name="connsiteY35" fmla="*/ 436217 h 2560320"/>
                  <a:gd name="connsiteX36" fmla="*/ 4434358 w 7283676"/>
                  <a:gd name="connsiteY36" fmla="*/ 368524 h 2560320"/>
                  <a:gd name="connsiteX37" fmla="*/ 4651645 w 7283676"/>
                  <a:gd name="connsiteY37" fmla="*/ 399111 h 2560320"/>
                  <a:gd name="connsiteX38" fmla="*/ 4738596 w 7283676"/>
                  <a:gd name="connsiteY38" fmla="*/ 388620 h 2560320"/>
                  <a:gd name="connsiteX39" fmla="*/ 4802767 w 7283676"/>
                  <a:gd name="connsiteY39" fmla="*/ 348642 h 2560320"/>
                  <a:gd name="connsiteX40" fmla="*/ 4951956 w 7283676"/>
                  <a:gd name="connsiteY40" fmla="*/ 335280 h 2560320"/>
                  <a:gd name="connsiteX41" fmla="*/ 4985724 w 7283676"/>
                  <a:gd name="connsiteY41" fmla="*/ 292430 h 2560320"/>
                  <a:gd name="connsiteX42" fmla="*/ 5066256 w 7283676"/>
                  <a:gd name="connsiteY42" fmla="*/ 281940 h 2560320"/>
                  <a:gd name="connsiteX43" fmla="*/ 5110854 w 7283676"/>
                  <a:gd name="connsiteY43" fmla="*/ 232357 h 2560320"/>
                  <a:gd name="connsiteX44" fmla="*/ 5294856 w 7283676"/>
                  <a:gd name="connsiteY44" fmla="*/ 236220 h 2560320"/>
                  <a:gd name="connsiteX45" fmla="*/ 5359588 w 7283676"/>
                  <a:gd name="connsiteY45" fmla="*/ 275313 h 2560320"/>
                  <a:gd name="connsiteX46" fmla="*/ 5416776 w 7283676"/>
                  <a:gd name="connsiteY46" fmla="*/ 220980 h 2560320"/>
                  <a:gd name="connsiteX47" fmla="*/ 5607276 w 7283676"/>
                  <a:gd name="connsiteY47" fmla="*/ 224737 h 2560320"/>
                  <a:gd name="connsiteX48" fmla="*/ 5702487 w 7283676"/>
                  <a:gd name="connsiteY48" fmla="*/ 134289 h 2560320"/>
                  <a:gd name="connsiteX49" fmla="*/ 5858736 w 7283676"/>
                  <a:gd name="connsiteY49" fmla="*/ 144780 h 2560320"/>
                  <a:gd name="connsiteX50" fmla="*/ 5973036 w 7283676"/>
                  <a:gd name="connsiteY50" fmla="*/ 167640 h 2560320"/>
                  <a:gd name="connsiteX51" fmla="*/ 6064476 w 7283676"/>
                  <a:gd name="connsiteY51" fmla="*/ 144780 h 2560320"/>
                  <a:gd name="connsiteX52" fmla="*/ 6165702 w 7283676"/>
                  <a:gd name="connsiteY52" fmla="*/ 54226 h 2560320"/>
                  <a:gd name="connsiteX53" fmla="*/ 6277836 w 7283676"/>
                  <a:gd name="connsiteY53" fmla="*/ 7620 h 2560320"/>
                  <a:gd name="connsiteX54" fmla="*/ 6468336 w 7283676"/>
                  <a:gd name="connsiteY54" fmla="*/ 15240 h 2560320"/>
                  <a:gd name="connsiteX55" fmla="*/ 6658836 w 7283676"/>
                  <a:gd name="connsiteY55" fmla="*/ 0 h 2560320"/>
                  <a:gd name="connsiteX56" fmla="*/ 6696936 w 7283676"/>
                  <a:gd name="connsiteY56" fmla="*/ 22860 h 2560320"/>
                  <a:gd name="connsiteX57" fmla="*/ 6879816 w 7283676"/>
                  <a:gd name="connsiteY57" fmla="*/ 0 h 2560320"/>
                  <a:gd name="connsiteX58" fmla="*/ 7055076 w 7283676"/>
                  <a:gd name="connsiteY58" fmla="*/ 7620 h 2560320"/>
                  <a:gd name="connsiteX59" fmla="*/ 7146516 w 7283676"/>
                  <a:gd name="connsiteY59" fmla="*/ 7620 h 2560320"/>
                  <a:gd name="connsiteX60" fmla="*/ 7283676 w 7283676"/>
                  <a:gd name="connsiteY60" fmla="*/ 121920 h 2560320"/>
                  <a:gd name="connsiteX0" fmla="*/ 0 w 7283676"/>
                  <a:gd name="connsiteY0" fmla="*/ 2568288 h 2572080"/>
                  <a:gd name="connsiteX1" fmla="*/ 273276 w 7283676"/>
                  <a:gd name="connsiteY1" fmla="*/ 2572080 h 2572080"/>
                  <a:gd name="connsiteX2" fmla="*/ 348432 w 7283676"/>
                  <a:gd name="connsiteY2" fmla="*/ 2553083 h 2572080"/>
                  <a:gd name="connsiteX3" fmla="*/ 467547 w 7283676"/>
                  <a:gd name="connsiteY3" fmla="*/ 2552198 h 2572080"/>
                  <a:gd name="connsiteX4" fmla="*/ 662378 w 7283676"/>
                  <a:gd name="connsiteY4" fmla="*/ 2470149 h 2572080"/>
                  <a:gd name="connsiteX5" fmla="*/ 791436 w 7283676"/>
                  <a:gd name="connsiteY5" fmla="*/ 2328240 h 2572080"/>
                  <a:gd name="connsiteX6" fmla="*/ 882876 w 7283676"/>
                  <a:gd name="connsiteY6" fmla="*/ 2274900 h 2572080"/>
                  <a:gd name="connsiteX7" fmla="*/ 922379 w 7283676"/>
                  <a:gd name="connsiteY7" fmla="*/ 2210579 h 2572080"/>
                  <a:gd name="connsiteX8" fmla="*/ 1020036 w 7283676"/>
                  <a:gd name="connsiteY8" fmla="*/ 2137740 h 2572080"/>
                  <a:gd name="connsiteX9" fmla="*/ 1217595 w 7283676"/>
                  <a:gd name="connsiteY9" fmla="*/ 1993846 h 2572080"/>
                  <a:gd name="connsiteX10" fmla="*/ 1268714 w 7283676"/>
                  <a:gd name="connsiteY10" fmla="*/ 1955071 h 2572080"/>
                  <a:gd name="connsiteX11" fmla="*/ 1397905 w 7283676"/>
                  <a:gd name="connsiteY11" fmla="*/ 1931893 h 2572080"/>
                  <a:gd name="connsiteX12" fmla="*/ 1515336 w 7283676"/>
                  <a:gd name="connsiteY12" fmla="*/ 1848180 h 2572080"/>
                  <a:gd name="connsiteX13" fmla="*/ 1578944 w 7283676"/>
                  <a:gd name="connsiteY13" fmla="*/ 1839675 h 2572080"/>
                  <a:gd name="connsiteX14" fmla="*/ 1667736 w 7283676"/>
                  <a:gd name="connsiteY14" fmla="*/ 1771980 h 2572080"/>
                  <a:gd name="connsiteX15" fmla="*/ 1753722 w 7283676"/>
                  <a:gd name="connsiteY15" fmla="*/ 1710912 h 2572080"/>
                  <a:gd name="connsiteX16" fmla="*/ 1858236 w 7283676"/>
                  <a:gd name="connsiteY16" fmla="*/ 1604340 h 2572080"/>
                  <a:gd name="connsiteX17" fmla="*/ 1998044 w 7283676"/>
                  <a:gd name="connsiteY17" fmla="*/ 1415825 h 2572080"/>
                  <a:gd name="connsiteX18" fmla="*/ 2117642 w 7283676"/>
                  <a:gd name="connsiteY18" fmla="*/ 1344483 h 2572080"/>
                  <a:gd name="connsiteX19" fmla="*/ 2252793 w 7283676"/>
                  <a:gd name="connsiteY19" fmla="*/ 1275689 h 2572080"/>
                  <a:gd name="connsiteX20" fmla="*/ 2420353 w 7283676"/>
                  <a:gd name="connsiteY20" fmla="*/ 1281536 h 2572080"/>
                  <a:gd name="connsiteX21" fmla="*/ 2673576 w 7283676"/>
                  <a:gd name="connsiteY21" fmla="*/ 1219477 h 2572080"/>
                  <a:gd name="connsiteX22" fmla="*/ 2842900 w 7283676"/>
                  <a:gd name="connsiteY22" fmla="*/ 1133670 h 2572080"/>
                  <a:gd name="connsiteX23" fmla="*/ 2954393 w 7283676"/>
                  <a:gd name="connsiteY23" fmla="*/ 1017599 h 2572080"/>
                  <a:gd name="connsiteX24" fmla="*/ 3049122 w 7283676"/>
                  <a:gd name="connsiteY24" fmla="*/ 983256 h 2572080"/>
                  <a:gd name="connsiteX25" fmla="*/ 3098558 w 7283676"/>
                  <a:gd name="connsiteY25" fmla="*/ 921554 h 2572080"/>
                  <a:gd name="connsiteX26" fmla="*/ 3153076 w 7283676"/>
                  <a:gd name="connsiteY26" fmla="*/ 881325 h 2572080"/>
                  <a:gd name="connsiteX27" fmla="*/ 3275556 w 7283676"/>
                  <a:gd name="connsiteY27" fmla="*/ 847974 h 2572080"/>
                  <a:gd name="connsiteX28" fmla="*/ 3351756 w 7283676"/>
                  <a:gd name="connsiteY28" fmla="*/ 827100 h 2572080"/>
                  <a:gd name="connsiteX29" fmla="*/ 3580356 w 7283676"/>
                  <a:gd name="connsiteY29" fmla="*/ 735660 h 2572080"/>
                  <a:gd name="connsiteX30" fmla="*/ 3671796 w 7283676"/>
                  <a:gd name="connsiteY30" fmla="*/ 717443 h 2572080"/>
                  <a:gd name="connsiteX31" fmla="*/ 3751767 w 7283676"/>
                  <a:gd name="connsiteY31" fmla="*/ 625116 h 2572080"/>
                  <a:gd name="connsiteX32" fmla="*/ 3826678 w 7283676"/>
                  <a:gd name="connsiteY32" fmla="*/ 565565 h 2572080"/>
                  <a:gd name="connsiteX33" fmla="*/ 3887243 w 7283676"/>
                  <a:gd name="connsiteY33" fmla="*/ 513687 h 2572080"/>
                  <a:gd name="connsiteX34" fmla="*/ 4024886 w 7283676"/>
                  <a:gd name="connsiteY34" fmla="*/ 475588 h 2572080"/>
                  <a:gd name="connsiteX35" fmla="*/ 4284123 w 7283676"/>
                  <a:gd name="connsiteY35" fmla="*/ 447977 h 2572080"/>
                  <a:gd name="connsiteX36" fmla="*/ 4434358 w 7283676"/>
                  <a:gd name="connsiteY36" fmla="*/ 380284 h 2572080"/>
                  <a:gd name="connsiteX37" fmla="*/ 4651645 w 7283676"/>
                  <a:gd name="connsiteY37" fmla="*/ 410871 h 2572080"/>
                  <a:gd name="connsiteX38" fmla="*/ 4738596 w 7283676"/>
                  <a:gd name="connsiteY38" fmla="*/ 400380 h 2572080"/>
                  <a:gd name="connsiteX39" fmla="*/ 4802767 w 7283676"/>
                  <a:gd name="connsiteY39" fmla="*/ 360402 h 2572080"/>
                  <a:gd name="connsiteX40" fmla="*/ 4951956 w 7283676"/>
                  <a:gd name="connsiteY40" fmla="*/ 347040 h 2572080"/>
                  <a:gd name="connsiteX41" fmla="*/ 4985724 w 7283676"/>
                  <a:gd name="connsiteY41" fmla="*/ 304190 h 2572080"/>
                  <a:gd name="connsiteX42" fmla="*/ 5066256 w 7283676"/>
                  <a:gd name="connsiteY42" fmla="*/ 293700 h 2572080"/>
                  <a:gd name="connsiteX43" fmla="*/ 5110854 w 7283676"/>
                  <a:gd name="connsiteY43" fmla="*/ 244117 h 2572080"/>
                  <a:gd name="connsiteX44" fmla="*/ 5294856 w 7283676"/>
                  <a:gd name="connsiteY44" fmla="*/ 247980 h 2572080"/>
                  <a:gd name="connsiteX45" fmla="*/ 5359588 w 7283676"/>
                  <a:gd name="connsiteY45" fmla="*/ 287073 h 2572080"/>
                  <a:gd name="connsiteX46" fmla="*/ 5416776 w 7283676"/>
                  <a:gd name="connsiteY46" fmla="*/ 232740 h 2572080"/>
                  <a:gd name="connsiteX47" fmla="*/ 5607276 w 7283676"/>
                  <a:gd name="connsiteY47" fmla="*/ 236497 h 2572080"/>
                  <a:gd name="connsiteX48" fmla="*/ 5702487 w 7283676"/>
                  <a:gd name="connsiteY48" fmla="*/ 146049 h 2572080"/>
                  <a:gd name="connsiteX49" fmla="*/ 5858736 w 7283676"/>
                  <a:gd name="connsiteY49" fmla="*/ 156540 h 2572080"/>
                  <a:gd name="connsiteX50" fmla="*/ 5973036 w 7283676"/>
                  <a:gd name="connsiteY50" fmla="*/ 179400 h 2572080"/>
                  <a:gd name="connsiteX51" fmla="*/ 6064476 w 7283676"/>
                  <a:gd name="connsiteY51" fmla="*/ 156540 h 2572080"/>
                  <a:gd name="connsiteX52" fmla="*/ 6165702 w 7283676"/>
                  <a:gd name="connsiteY52" fmla="*/ 65986 h 2572080"/>
                  <a:gd name="connsiteX53" fmla="*/ 6277836 w 7283676"/>
                  <a:gd name="connsiteY53" fmla="*/ 19380 h 2572080"/>
                  <a:gd name="connsiteX54" fmla="*/ 6468336 w 7283676"/>
                  <a:gd name="connsiteY54" fmla="*/ 27000 h 2572080"/>
                  <a:gd name="connsiteX55" fmla="*/ 6572807 w 7283676"/>
                  <a:gd name="connsiteY55" fmla="*/ 0 h 2572080"/>
                  <a:gd name="connsiteX56" fmla="*/ 6658836 w 7283676"/>
                  <a:gd name="connsiteY56" fmla="*/ 11760 h 2572080"/>
                  <a:gd name="connsiteX57" fmla="*/ 6696936 w 7283676"/>
                  <a:gd name="connsiteY57" fmla="*/ 34620 h 2572080"/>
                  <a:gd name="connsiteX58" fmla="*/ 6879816 w 7283676"/>
                  <a:gd name="connsiteY58" fmla="*/ 11760 h 2572080"/>
                  <a:gd name="connsiteX59" fmla="*/ 7055076 w 7283676"/>
                  <a:gd name="connsiteY59" fmla="*/ 19380 h 2572080"/>
                  <a:gd name="connsiteX60" fmla="*/ 7146516 w 7283676"/>
                  <a:gd name="connsiteY60" fmla="*/ 19380 h 2572080"/>
                  <a:gd name="connsiteX61" fmla="*/ 7283676 w 7283676"/>
                  <a:gd name="connsiteY61" fmla="*/ 133680 h 2572080"/>
                  <a:gd name="connsiteX0" fmla="*/ 0 w 7283676"/>
                  <a:gd name="connsiteY0" fmla="*/ 2568288 h 2572080"/>
                  <a:gd name="connsiteX1" fmla="*/ 273276 w 7283676"/>
                  <a:gd name="connsiteY1" fmla="*/ 2572080 h 2572080"/>
                  <a:gd name="connsiteX2" fmla="*/ 348432 w 7283676"/>
                  <a:gd name="connsiteY2" fmla="*/ 2553083 h 2572080"/>
                  <a:gd name="connsiteX3" fmla="*/ 467547 w 7283676"/>
                  <a:gd name="connsiteY3" fmla="*/ 2552198 h 2572080"/>
                  <a:gd name="connsiteX4" fmla="*/ 662378 w 7283676"/>
                  <a:gd name="connsiteY4" fmla="*/ 2470149 h 2572080"/>
                  <a:gd name="connsiteX5" fmla="*/ 791436 w 7283676"/>
                  <a:gd name="connsiteY5" fmla="*/ 2328240 h 2572080"/>
                  <a:gd name="connsiteX6" fmla="*/ 882876 w 7283676"/>
                  <a:gd name="connsiteY6" fmla="*/ 2274900 h 2572080"/>
                  <a:gd name="connsiteX7" fmla="*/ 922379 w 7283676"/>
                  <a:gd name="connsiteY7" fmla="*/ 2210579 h 2572080"/>
                  <a:gd name="connsiteX8" fmla="*/ 1020036 w 7283676"/>
                  <a:gd name="connsiteY8" fmla="*/ 2137740 h 2572080"/>
                  <a:gd name="connsiteX9" fmla="*/ 1217595 w 7283676"/>
                  <a:gd name="connsiteY9" fmla="*/ 1993846 h 2572080"/>
                  <a:gd name="connsiteX10" fmla="*/ 1268714 w 7283676"/>
                  <a:gd name="connsiteY10" fmla="*/ 1955071 h 2572080"/>
                  <a:gd name="connsiteX11" fmla="*/ 1397905 w 7283676"/>
                  <a:gd name="connsiteY11" fmla="*/ 1931893 h 2572080"/>
                  <a:gd name="connsiteX12" fmla="*/ 1515336 w 7283676"/>
                  <a:gd name="connsiteY12" fmla="*/ 1848180 h 2572080"/>
                  <a:gd name="connsiteX13" fmla="*/ 1578944 w 7283676"/>
                  <a:gd name="connsiteY13" fmla="*/ 1839675 h 2572080"/>
                  <a:gd name="connsiteX14" fmla="*/ 1667736 w 7283676"/>
                  <a:gd name="connsiteY14" fmla="*/ 1771980 h 2572080"/>
                  <a:gd name="connsiteX15" fmla="*/ 1753722 w 7283676"/>
                  <a:gd name="connsiteY15" fmla="*/ 1710912 h 2572080"/>
                  <a:gd name="connsiteX16" fmla="*/ 1858236 w 7283676"/>
                  <a:gd name="connsiteY16" fmla="*/ 1604340 h 2572080"/>
                  <a:gd name="connsiteX17" fmla="*/ 1998044 w 7283676"/>
                  <a:gd name="connsiteY17" fmla="*/ 1415825 h 2572080"/>
                  <a:gd name="connsiteX18" fmla="*/ 2117642 w 7283676"/>
                  <a:gd name="connsiteY18" fmla="*/ 1344483 h 2572080"/>
                  <a:gd name="connsiteX19" fmla="*/ 2252793 w 7283676"/>
                  <a:gd name="connsiteY19" fmla="*/ 1275689 h 2572080"/>
                  <a:gd name="connsiteX20" fmla="*/ 2420353 w 7283676"/>
                  <a:gd name="connsiteY20" fmla="*/ 1281536 h 2572080"/>
                  <a:gd name="connsiteX21" fmla="*/ 2673576 w 7283676"/>
                  <a:gd name="connsiteY21" fmla="*/ 1219477 h 2572080"/>
                  <a:gd name="connsiteX22" fmla="*/ 2842900 w 7283676"/>
                  <a:gd name="connsiteY22" fmla="*/ 1133670 h 2572080"/>
                  <a:gd name="connsiteX23" fmla="*/ 2954393 w 7283676"/>
                  <a:gd name="connsiteY23" fmla="*/ 1017599 h 2572080"/>
                  <a:gd name="connsiteX24" fmla="*/ 3049122 w 7283676"/>
                  <a:gd name="connsiteY24" fmla="*/ 983256 h 2572080"/>
                  <a:gd name="connsiteX25" fmla="*/ 3098558 w 7283676"/>
                  <a:gd name="connsiteY25" fmla="*/ 921554 h 2572080"/>
                  <a:gd name="connsiteX26" fmla="*/ 3153076 w 7283676"/>
                  <a:gd name="connsiteY26" fmla="*/ 881325 h 2572080"/>
                  <a:gd name="connsiteX27" fmla="*/ 3275556 w 7283676"/>
                  <a:gd name="connsiteY27" fmla="*/ 847974 h 2572080"/>
                  <a:gd name="connsiteX28" fmla="*/ 3351756 w 7283676"/>
                  <a:gd name="connsiteY28" fmla="*/ 827100 h 2572080"/>
                  <a:gd name="connsiteX29" fmla="*/ 3580356 w 7283676"/>
                  <a:gd name="connsiteY29" fmla="*/ 735660 h 2572080"/>
                  <a:gd name="connsiteX30" fmla="*/ 3671796 w 7283676"/>
                  <a:gd name="connsiteY30" fmla="*/ 717443 h 2572080"/>
                  <a:gd name="connsiteX31" fmla="*/ 3751767 w 7283676"/>
                  <a:gd name="connsiteY31" fmla="*/ 625116 h 2572080"/>
                  <a:gd name="connsiteX32" fmla="*/ 3826678 w 7283676"/>
                  <a:gd name="connsiteY32" fmla="*/ 565565 h 2572080"/>
                  <a:gd name="connsiteX33" fmla="*/ 3887243 w 7283676"/>
                  <a:gd name="connsiteY33" fmla="*/ 513687 h 2572080"/>
                  <a:gd name="connsiteX34" fmla="*/ 4024886 w 7283676"/>
                  <a:gd name="connsiteY34" fmla="*/ 475588 h 2572080"/>
                  <a:gd name="connsiteX35" fmla="*/ 4284123 w 7283676"/>
                  <a:gd name="connsiteY35" fmla="*/ 447977 h 2572080"/>
                  <a:gd name="connsiteX36" fmla="*/ 4434358 w 7283676"/>
                  <a:gd name="connsiteY36" fmla="*/ 380284 h 2572080"/>
                  <a:gd name="connsiteX37" fmla="*/ 4651645 w 7283676"/>
                  <a:gd name="connsiteY37" fmla="*/ 410871 h 2572080"/>
                  <a:gd name="connsiteX38" fmla="*/ 4738596 w 7283676"/>
                  <a:gd name="connsiteY38" fmla="*/ 400380 h 2572080"/>
                  <a:gd name="connsiteX39" fmla="*/ 4802767 w 7283676"/>
                  <a:gd name="connsiteY39" fmla="*/ 360402 h 2572080"/>
                  <a:gd name="connsiteX40" fmla="*/ 4951956 w 7283676"/>
                  <a:gd name="connsiteY40" fmla="*/ 347040 h 2572080"/>
                  <a:gd name="connsiteX41" fmla="*/ 4985724 w 7283676"/>
                  <a:gd name="connsiteY41" fmla="*/ 304190 h 2572080"/>
                  <a:gd name="connsiteX42" fmla="*/ 5066256 w 7283676"/>
                  <a:gd name="connsiteY42" fmla="*/ 293700 h 2572080"/>
                  <a:gd name="connsiteX43" fmla="*/ 5110854 w 7283676"/>
                  <a:gd name="connsiteY43" fmla="*/ 244117 h 2572080"/>
                  <a:gd name="connsiteX44" fmla="*/ 5294856 w 7283676"/>
                  <a:gd name="connsiteY44" fmla="*/ 247980 h 2572080"/>
                  <a:gd name="connsiteX45" fmla="*/ 5359588 w 7283676"/>
                  <a:gd name="connsiteY45" fmla="*/ 287073 h 2572080"/>
                  <a:gd name="connsiteX46" fmla="*/ 5416776 w 7283676"/>
                  <a:gd name="connsiteY46" fmla="*/ 232740 h 2572080"/>
                  <a:gd name="connsiteX47" fmla="*/ 5607276 w 7283676"/>
                  <a:gd name="connsiteY47" fmla="*/ 236497 h 2572080"/>
                  <a:gd name="connsiteX48" fmla="*/ 5702487 w 7283676"/>
                  <a:gd name="connsiteY48" fmla="*/ 146049 h 2572080"/>
                  <a:gd name="connsiteX49" fmla="*/ 5858736 w 7283676"/>
                  <a:gd name="connsiteY49" fmla="*/ 156540 h 2572080"/>
                  <a:gd name="connsiteX50" fmla="*/ 5973036 w 7283676"/>
                  <a:gd name="connsiteY50" fmla="*/ 179400 h 2572080"/>
                  <a:gd name="connsiteX51" fmla="*/ 6064476 w 7283676"/>
                  <a:gd name="connsiteY51" fmla="*/ 156540 h 2572080"/>
                  <a:gd name="connsiteX52" fmla="*/ 6165702 w 7283676"/>
                  <a:gd name="connsiteY52" fmla="*/ 65986 h 2572080"/>
                  <a:gd name="connsiteX53" fmla="*/ 6277836 w 7283676"/>
                  <a:gd name="connsiteY53" fmla="*/ 19380 h 2572080"/>
                  <a:gd name="connsiteX54" fmla="*/ 6468336 w 7283676"/>
                  <a:gd name="connsiteY54" fmla="*/ 27000 h 2572080"/>
                  <a:gd name="connsiteX55" fmla="*/ 6572807 w 7283676"/>
                  <a:gd name="connsiteY55" fmla="*/ 0 h 2572080"/>
                  <a:gd name="connsiteX56" fmla="*/ 6658836 w 7283676"/>
                  <a:gd name="connsiteY56" fmla="*/ 11760 h 2572080"/>
                  <a:gd name="connsiteX57" fmla="*/ 6696936 w 7283676"/>
                  <a:gd name="connsiteY57" fmla="*/ 34620 h 2572080"/>
                  <a:gd name="connsiteX58" fmla="*/ 6868908 w 7283676"/>
                  <a:gd name="connsiteY58" fmla="*/ 3148 h 2572080"/>
                  <a:gd name="connsiteX59" fmla="*/ 7055076 w 7283676"/>
                  <a:gd name="connsiteY59" fmla="*/ 19380 h 2572080"/>
                  <a:gd name="connsiteX60" fmla="*/ 7146516 w 7283676"/>
                  <a:gd name="connsiteY60" fmla="*/ 19380 h 2572080"/>
                  <a:gd name="connsiteX61" fmla="*/ 7283676 w 7283676"/>
                  <a:gd name="connsiteY61" fmla="*/ 133680 h 2572080"/>
                  <a:gd name="connsiteX0" fmla="*/ 0 w 7283676"/>
                  <a:gd name="connsiteY0" fmla="*/ 2569004 h 2572796"/>
                  <a:gd name="connsiteX1" fmla="*/ 273276 w 7283676"/>
                  <a:gd name="connsiteY1" fmla="*/ 2572796 h 2572796"/>
                  <a:gd name="connsiteX2" fmla="*/ 348432 w 7283676"/>
                  <a:gd name="connsiteY2" fmla="*/ 2553799 h 2572796"/>
                  <a:gd name="connsiteX3" fmla="*/ 467547 w 7283676"/>
                  <a:gd name="connsiteY3" fmla="*/ 2552914 h 2572796"/>
                  <a:gd name="connsiteX4" fmla="*/ 662378 w 7283676"/>
                  <a:gd name="connsiteY4" fmla="*/ 2470865 h 2572796"/>
                  <a:gd name="connsiteX5" fmla="*/ 791436 w 7283676"/>
                  <a:gd name="connsiteY5" fmla="*/ 2328956 h 2572796"/>
                  <a:gd name="connsiteX6" fmla="*/ 882876 w 7283676"/>
                  <a:gd name="connsiteY6" fmla="*/ 2275616 h 2572796"/>
                  <a:gd name="connsiteX7" fmla="*/ 922379 w 7283676"/>
                  <a:gd name="connsiteY7" fmla="*/ 2211295 h 2572796"/>
                  <a:gd name="connsiteX8" fmla="*/ 1020036 w 7283676"/>
                  <a:gd name="connsiteY8" fmla="*/ 2138456 h 2572796"/>
                  <a:gd name="connsiteX9" fmla="*/ 1217595 w 7283676"/>
                  <a:gd name="connsiteY9" fmla="*/ 1994562 h 2572796"/>
                  <a:gd name="connsiteX10" fmla="*/ 1268714 w 7283676"/>
                  <a:gd name="connsiteY10" fmla="*/ 1955787 h 2572796"/>
                  <a:gd name="connsiteX11" fmla="*/ 1397905 w 7283676"/>
                  <a:gd name="connsiteY11" fmla="*/ 1932609 h 2572796"/>
                  <a:gd name="connsiteX12" fmla="*/ 1515336 w 7283676"/>
                  <a:gd name="connsiteY12" fmla="*/ 1848896 h 2572796"/>
                  <a:gd name="connsiteX13" fmla="*/ 1578944 w 7283676"/>
                  <a:gd name="connsiteY13" fmla="*/ 1840391 h 2572796"/>
                  <a:gd name="connsiteX14" fmla="*/ 1667736 w 7283676"/>
                  <a:gd name="connsiteY14" fmla="*/ 1772696 h 2572796"/>
                  <a:gd name="connsiteX15" fmla="*/ 1753722 w 7283676"/>
                  <a:gd name="connsiteY15" fmla="*/ 1711628 h 2572796"/>
                  <a:gd name="connsiteX16" fmla="*/ 1858236 w 7283676"/>
                  <a:gd name="connsiteY16" fmla="*/ 1605056 h 2572796"/>
                  <a:gd name="connsiteX17" fmla="*/ 1998044 w 7283676"/>
                  <a:gd name="connsiteY17" fmla="*/ 1416541 h 2572796"/>
                  <a:gd name="connsiteX18" fmla="*/ 2117642 w 7283676"/>
                  <a:gd name="connsiteY18" fmla="*/ 1345199 h 2572796"/>
                  <a:gd name="connsiteX19" fmla="*/ 2252793 w 7283676"/>
                  <a:gd name="connsiteY19" fmla="*/ 1276405 h 2572796"/>
                  <a:gd name="connsiteX20" fmla="*/ 2420353 w 7283676"/>
                  <a:gd name="connsiteY20" fmla="*/ 1282252 h 2572796"/>
                  <a:gd name="connsiteX21" fmla="*/ 2673576 w 7283676"/>
                  <a:gd name="connsiteY21" fmla="*/ 1220193 h 2572796"/>
                  <a:gd name="connsiteX22" fmla="*/ 2842900 w 7283676"/>
                  <a:gd name="connsiteY22" fmla="*/ 1134386 h 2572796"/>
                  <a:gd name="connsiteX23" fmla="*/ 2954393 w 7283676"/>
                  <a:gd name="connsiteY23" fmla="*/ 1018315 h 2572796"/>
                  <a:gd name="connsiteX24" fmla="*/ 3049122 w 7283676"/>
                  <a:gd name="connsiteY24" fmla="*/ 983972 h 2572796"/>
                  <a:gd name="connsiteX25" fmla="*/ 3098558 w 7283676"/>
                  <a:gd name="connsiteY25" fmla="*/ 922270 h 2572796"/>
                  <a:gd name="connsiteX26" fmla="*/ 3153076 w 7283676"/>
                  <a:gd name="connsiteY26" fmla="*/ 882041 h 2572796"/>
                  <a:gd name="connsiteX27" fmla="*/ 3275556 w 7283676"/>
                  <a:gd name="connsiteY27" fmla="*/ 848690 h 2572796"/>
                  <a:gd name="connsiteX28" fmla="*/ 3351756 w 7283676"/>
                  <a:gd name="connsiteY28" fmla="*/ 827816 h 2572796"/>
                  <a:gd name="connsiteX29" fmla="*/ 3580356 w 7283676"/>
                  <a:gd name="connsiteY29" fmla="*/ 736376 h 2572796"/>
                  <a:gd name="connsiteX30" fmla="*/ 3671796 w 7283676"/>
                  <a:gd name="connsiteY30" fmla="*/ 718159 h 2572796"/>
                  <a:gd name="connsiteX31" fmla="*/ 3751767 w 7283676"/>
                  <a:gd name="connsiteY31" fmla="*/ 625832 h 2572796"/>
                  <a:gd name="connsiteX32" fmla="*/ 3826678 w 7283676"/>
                  <a:gd name="connsiteY32" fmla="*/ 566281 h 2572796"/>
                  <a:gd name="connsiteX33" fmla="*/ 3887243 w 7283676"/>
                  <a:gd name="connsiteY33" fmla="*/ 514403 h 2572796"/>
                  <a:gd name="connsiteX34" fmla="*/ 4024886 w 7283676"/>
                  <a:gd name="connsiteY34" fmla="*/ 476304 h 2572796"/>
                  <a:gd name="connsiteX35" fmla="*/ 4284123 w 7283676"/>
                  <a:gd name="connsiteY35" fmla="*/ 448693 h 2572796"/>
                  <a:gd name="connsiteX36" fmla="*/ 4434358 w 7283676"/>
                  <a:gd name="connsiteY36" fmla="*/ 381000 h 2572796"/>
                  <a:gd name="connsiteX37" fmla="*/ 4651645 w 7283676"/>
                  <a:gd name="connsiteY37" fmla="*/ 411587 h 2572796"/>
                  <a:gd name="connsiteX38" fmla="*/ 4738596 w 7283676"/>
                  <a:gd name="connsiteY38" fmla="*/ 401096 h 2572796"/>
                  <a:gd name="connsiteX39" fmla="*/ 4802767 w 7283676"/>
                  <a:gd name="connsiteY39" fmla="*/ 361118 h 2572796"/>
                  <a:gd name="connsiteX40" fmla="*/ 4951956 w 7283676"/>
                  <a:gd name="connsiteY40" fmla="*/ 347756 h 2572796"/>
                  <a:gd name="connsiteX41" fmla="*/ 4985724 w 7283676"/>
                  <a:gd name="connsiteY41" fmla="*/ 304906 h 2572796"/>
                  <a:gd name="connsiteX42" fmla="*/ 5066256 w 7283676"/>
                  <a:gd name="connsiteY42" fmla="*/ 294416 h 2572796"/>
                  <a:gd name="connsiteX43" fmla="*/ 5110854 w 7283676"/>
                  <a:gd name="connsiteY43" fmla="*/ 244833 h 2572796"/>
                  <a:gd name="connsiteX44" fmla="*/ 5294856 w 7283676"/>
                  <a:gd name="connsiteY44" fmla="*/ 248696 h 2572796"/>
                  <a:gd name="connsiteX45" fmla="*/ 5359588 w 7283676"/>
                  <a:gd name="connsiteY45" fmla="*/ 287789 h 2572796"/>
                  <a:gd name="connsiteX46" fmla="*/ 5416776 w 7283676"/>
                  <a:gd name="connsiteY46" fmla="*/ 233456 h 2572796"/>
                  <a:gd name="connsiteX47" fmla="*/ 5607276 w 7283676"/>
                  <a:gd name="connsiteY47" fmla="*/ 237213 h 2572796"/>
                  <a:gd name="connsiteX48" fmla="*/ 5702487 w 7283676"/>
                  <a:gd name="connsiteY48" fmla="*/ 146765 h 2572796"/>
                  <a:gd name="connsiteX49" fmla="*/ 5858736 w 7283676"/>
                  <a:gd name="connsiteY49" fmla="*/ 157256 h 2572796"/>
                  <a:gd name="connsiteX50" fmla="*/ 5973036 w 7283676"/>
                  <a:gd name="connsiteY50" fmla="*/ 180116 h 2572796"/>
                  <a:gd name="connsiteX51" fmla="*/ 6064476 w 7283676"/>
                  <a:gd name="connsiteY51" fmla="*/ 157256 h 2572796"/>
                  <a:gd name="connsiteX52" fmla="*/ 6165702 w 7283676"/>
                  <a:gd name="connsiteY52" fmla="*/ 66702 h 2572796"/>
                  <a:gd name="connsiteX53" fmla="*/ 6277836 w 7283676"/>
                  <a:gd name="connsiteY53" fmla="*/ 20096 h 2572796"/>
                  <a:gd name="connsiteX54" fmla="*/ 6468336 w 7283676"/>
                  <a:gd name="connsiteY54" fmla="*/ 27716 h 2572796"/>
                  <a:gd name="connsiteX55" fmla="*/ 6572807 w 7283676"/>
                  <a:gd name="connsiteY55" fmla="*/ 716 h 2572796"/>
                  <a:gd name="connsiteX56" fmla="*/ 6658836 w 7283676"/>
                  <a:gd name="connsiteY56" fmla="*/ 12476 h 2572796"/>
                  <a:gd name="connsiteX57" fmla="*/ 6696936 w 7283676"/>
                  <a:gd name="connsiteY57" fmla="*/ 35336 h 2572796"/>
                  <a:gd name="connsiteX58" fmla="*/ 6868908 w 7283676"/>
                  <a:gd name="connsiteY58" fmla="*/ 3864 h 2572796"/>
                  <a:gd name="connsiteX59" fmla="*/ 7008716 w 7283676"/>
                  <a:gd name="connsiteY59" fmla="*/ 0 h 2572796"/>
                  <a:gd name="connsiteX60" fmla="*/ 7146516 w 7283676"/>
                  <a:gd name="connsiteY60" fmla="*/ 20096 h 2572796"/>
                  <a:gd name="connsiteX61" fmla="*/ 7283676 w 7283676"/>
                  <a:gd name="connsiteY61" fmla="*/ 134396 h 2572796"/>
                  <a:gd name="connsiteX0" fmla="*/ 0 w 7283676"/>
                  <a:gd name="connsiteY0" fmla="*/ 2569004 h 2572796"/>
                  <a:gd name="connsiteX1" fmla="*/ 273276 w 7283676"/>
                  <a:gd name="connsiteY1" fmla="*/ 2572796 h 2572796"/>
                  <a:gd name="connsiteX2" fmla="*/ 348432 w 7283676"/>
                  <a:gd name="connsiteY2" fmla="*/ 2553799 h 2572796"/>
                  <a:gd name="connsiteX3" fmla="*/ 467547 w 7283676"/>
                  <a:gd name="connsiteY3" fmla="*/ 2552914 h 2572796"/>
                  <a:gd name="connsiteX4" fmla="*/ 662378 w 7283676"/>
                  <a:gd name="connsiteY4" fmla="*/ 2470865 h 2572796"/>
                  <a:gd name="connsiteX5" fmla="*/ 791436 w 7283676"/>
                  <a:gd name="connsiteY5" fmla="*/ 2328956 h 2572796"/>
                  <a:gd name="connsiteX6" fmla="*/ 882876 w 7283676"/>
                  <a:gd name="connsiteY6" fmla="*/ 2275616 h 2572796"/>
                  <a:gd name="connsiteX7" fmla="*/ 922379 w 7283676"/>
                  <a:gd name="connsiteY7" fmla="*/ 2211295 h 2572796"/>
                  <a:gd name="connsiteX8" fmla="*/ 1020036 w 7283676"/>
                  <a:gd name="connsiteY8" fmla="*/ 2138456 h 2572796"/>
                  <a:gd name="connsiteX9" fmla="*/ 1217595 w 7283676"/>
                  <a:gd name="connsiteY9" fmla="*/ 1994562 h 2572796"/>
                  <a:gd name="connsiteX10" fmla="*/ 1268714 w 7283676"/>
                  <a:gd name="connsiteY10" fmla="*/ 1955787 h 2572796"/>
                  <a:gd name="connsiteX11" fmla="*/ 1397905 w 7283676"/>
                  <a:gd name="connsiteY11" fmla="*/ 1932609 h 2572796"/>
                  <a:gd name="connsiteX12" fmla="*/ 1515336 w 7283676"/>
                  <a:gd name="connsiteY12" fmla="*/ 1848896 h 2572796"/>
                  <a:gd name="connsiteX13" fmla="*/ 1578944 w 7283676"/>
                  <a:gd name="connsiteY13" fmla="*/ 1840391 h 2572796"/>
                  <a:gd name="connsiteX14" fmla="*/ 1667736 w 7283676"/>
                  <a:gd name="connsiteY14" fmla="*/ 1772696 h 2572796"/>
                  <a:gd name="connsiteX15" fmla="*/ 1753722 w 7283676"/>
                  <a:gd name="connsiteY15" fmla="*/ 1711628 h 2572796"/>
                  <a:gd name="connsiteX16" fmla="*/ 1858236 w 7283676"/>
                  <a:gd name="connsiteY16" fmla="*/ 1605056 h 2572796"/>
                  <a:gd name="connsiteX17" fmla="*/ 1998044 w 7283676"/>
                  <a:gd name="connsiteY17" fmla="*/ 1416541 h 2572796"/>
                  <a:gd name="connsiteX18" fmla="*/ 2117642 w 7283676"/>
                  <a:gd name="connsiteY18" fmla="*/ 1345199 h 2572796"/>
                  <a:gd name="connsiteX19" fmla="*/ 2252793 w 7283676"/>
                  <a:gd name="connsiteY19" fmla="*/ 1276405 h 2572796"/>
                  <a:gd name="connsiteX20" fmla="*/ 2420353 w 7283676"/>
                  <a:gd name="connsiteY20" fmla="*/ 1282252 h 2572796"/>
                  <a:gd name="connsiteX21" fmla="*/ 2673576 w 7283676"/>
                  <a:gd name="connsiteY21" fmla="*/ 1220193 h 2572796"/>
                  <a:gd name="connsiteX22" fmla="*/ 2842900 w 7283676"/>
                  <a:gd name="connsiteY22" fmla="*/ 1134386 h 2572796"/>
                  <a:gd name="connsiteX23" fmla="*/ 2954393 w 7283676"/>
                  <a:gd name="connsiteY23" fmla="*/ 1018315 h 2572796"/>
                  <a:gd name="connsiteX24" fmla="*/ 3049122 w 7283676"/>
                  <a:gd name="connsiteY24" fmla="*/ 983972 h 2572796"/>
                  <a:gd name="connsiteX25" fmla="*/ 3098558 w 7283676"/>
                  <a:gd name="connsiteY25" fmla="*/ 922270 h 2572796"/>
                  <a:gd name="connsiteX26" fmla="*/ 3153076 w 7283676"/>
                  <a:gd name="connsiteY26" fmla="*/ 882041 h 2572796"/>
                  <a:gd name="connsiteX27" fmla="*/ 3275556 w 7283676"/>
                  <a:gd name="connsiteY27" fmla="*/ 848690 h 2572796"/>
                  <a:gd name="connsiteX28" fmla="*/ 3351756 w 7283676"/>
                  <a:gd name="connsiteY28" fmla="*/ 827816 h 2572796"/>
                  <a:gd name="connsiteX29" fmla="*/ 3580356 w 7283676"/>
                  <a:gd name="connsiteY29" fmla="*/ 736376 h 2572796"/>
                  <a:gd name="connsiteX30" fmla="*/ 3671796 w 7283676"/>
                  <a:gd name="connsiteY30" fmla="*/ 718159 h 2572796"/>
                  <a:gd name="connsiteX31" fmla="*/ 3751767 w 7283676"/>
                  <a:gd name="connsiteY31" fmla="*/ 625832 h 2572796"/>
                  <a:gd name="connsiteX32" fmla="*/ 3826678 w 7283676"/>
                  <a:gd name="connsiteY32" fmla="*/ 566281 h 2572796"/>
                  <a:gd name="connsiteX33" fmla="*/ 3887243 w 7283676"/>
                  <a:gd name="connsiteY33" fmla="*/ 514403 h 2572796"/>
                  <a:gd name="connsiteX34" fmla="*/ 4024886 w 7283676"/>
                  <a:gd name="connsiteY34" fmla="*/ 476304 h 2572796"/>
                  <a:gd name="connsiteX35" fmla="*/ 4284123 w 7283676"/>
                  <a:gd name="connsiteY35" fmla="*/ 448693 h 2572796"/>
                  <a:gd name="connsiteX36" fmla="*/ 4434358 w 7283676"/>
                  <a:gd name="connsiteY36" fmla="*/ 381000 h 2572796"/>
                  <a:gd name="connsiteX37" fmla="*/ 4651645 w 7283676"/>
                  <a:gd name="connsiteY37" fmla="*/ 411587 h 2572796"/>
                  <a:gd name="connsiteX38" fmla="*/ 4738596 w 7283676"/>
                  <a:gd name="connsiteY38" fmla="*/ 401096 h 2572796"/>
                  <a:gd name="connsiteX39" fmla="*/ 4802767 w 7283676"/>
                  <a:gd name="connsiteY39" fmla="*/ 361118 h 2572796"/>
                  <a:gd name="connsiteX40" fmla="*/ 4951956 w 7283676"/>
                  <a:gd name="connsiteY40" fmla="*/ 347756 h 2572796"/>
                  <a:gd name="connsiteX41" fmla="*/ 4985724 w 7283676"/>
                  <a:gd name="connsiteY41" fmla="*/ 304906 h 2572796"/>
                  <a:gd name="connsiteX42" fmla="*/ 5066256 w 7283676"/>
                  <a:gd name="connsiteY42" fmla="*/ 294416 h 2572796"/>
                  <a:gd name="connsiteX43" fmla="*/ 5110854 w 7283676"/>
                  <a:gd name="connsiteY43" fmla="*/ 244833 h 2572796"/>
                  <a:gd name="connsiteX44" fmla="*/ 5294856 w 7283676"/>
                  <a:gd name="connsiteY44" fmla="*/ 248696 h 2572796"/>
                  <a:gd name="connsiteX45" fmla="*/ 5359588 w 7283676"/>
                  <a:gd name="connsiteY45" fmla="*/ 287789 h 2572796"/>
                  <a:gd name="connsiteX46" fmla="*/ 5416776 w 7283676"/>
                  <a:gd name="connsiteY46" fmla="*/ 233456 h 2572796"/>
                  <a:gd name="connsiteX47" fmla="*/ 5607276 w 7283676"/>
                  <a:gd name="connsiteY47" fmla="*/ 237213 h 2572796"/>
                  <a:gd name="connsiteX48" fmla="*/ 5702487 w 7283676"/>
                  <a:gd name="connsiteY48" fmla="*/ 146765 h 2572796"/>
                  <a:gd name="connsiteX49" fmla="*/ 5858736 w 7283676"/>
                  <a:gd name="connsiteY49" fmla="*/ 157256 h 2572796"/>
                  <a:gd name="connsiteX50" fmla="*/ 5973036 w 7283676"/>
                  <a:gd name="connsiteY50" fmla="*/ 180116 h 2572796"/>
                  <a:gd name="connsiteX51" fmla="*/ 6064476 w 7283676"/>
                  <a:gd name="connsiteY51" fmla="*/ 157256 h 2572796"/>
                  <a:gd name="connsiteX52" fmla="*/ 6165702 w 7283676"/>
                  <a:gd name="connsiteY52" fmla="*/ 66702 h 2572796"/>
                  <a:gd name="connsiteX53" fmla="*/ 6277836 w 7283676"/>
                  <a:gd name="connsiteY53" fmla="*/ 20096 h 2572796"/>
                  <a:gd name="connsiteX54" fmla="*/ 6468336 w 7283676"/>
                  <a:gd name="connsiteY54" fmla="*/ 27716 h 2572796"/>
                  <a:gd name="connsiteX55" fmla="*/ 6572807 w 7283676"/>
                  <a:gd name="connsiteY55" fmla="*/ 716 h 2572796"/>
                  <a:gd name="connsiteX56" fmla="*/ 6658836 w 7283676"/>
                  <a:gd name="connsiteY56" fmla="*/ 12476 h 2572796"/>
                  <a:gd name="connsiteX57" fmla="*/ 6696936 w 7283676"/>
                  <a:gd name="connsiteY57" fmla="*/ 35336 h 2572796"/>
                  <a:gd name="connsiteX58" fmla="*/ 6868908 w 7283676"/>
                  <a:gd name="connsiteY58" fmla="*/ 3864 h 2572796"/>
                  <a:gd name="connsiteX59" fmla="*/ 6940958 w 7283676"/>
                  <a:gd name="connsiteY59" fmla="*/ 15071 h 2572796"/>
                  <a:gd name="connsiteX60" fmla="*/ 7008716 w 7283676"/>
                  <a:gd name="connsiteY60" fmla="*/ 0 h 2572796"/>
                  <a:gd name="connsiteX61" fmla="*/ 7146516 w 7283676"/>
                  <a:gd name="connsiteY61" fmla="*/ 20096 h 2572796"/>
                  <a:gd name="connsiteX62" fmla="*/ 7283676 w 7283676"/>
                  <a:gd name="connsiteY62" fmla="*/ 134396 h 2572796"/>
                  <a:gd name="connsiteX0" fmla="*/ 0 w 7283676"/>
                  <a:gd name="connsiteY0" fmla="*/ 2569004 h 2572796"/>
                  <a:gd name="connsiteX1" fmla="*/ 273276 w 7283676"/>
                  <a:gd name="connsiteY1" fmla="*/ 2572796 h 2572796"/>
                  <a:gd name="connsiteX2" fmla="*/ 348432 w 7283676"/>
                  <a:gd name="connsiteY2" fmla="*/ 2553799 h 2572796"/>
                  <a:gd name="connsiteX3" fmla="*/ 467547 w 7283676"/>
                  <a:gd name="connsiteY3" fmla="*/ 2552914 h 2572796"/>
                  <a:gd name="connsiteX4" fmla="*/ 662378 w 7283676"/>
                  <a:gd name="connsiteY4" fmla="*/ 2470865 h 2572796"/>
                  <a:gd name="connsiteX5" fmla="*/ 791436 w 7283676"/>
                  <a:gd name="connsiteY5" fmla="*/ 2328956 h 2572796"/>
                  <a:gd name="connsiteX6" fmla="*/ 882876 w 7283676"/>
                  <a:gd name="connsiteY6" fmla="*/ 2275616 h 2572796"/>
                  <a:gd name="connsiteX7" fmla="*/ 922379 w 7283676"/>
                  <a:gd name="connsiteY7" fmla="*/ 2211295 h 2572796"/>
                  <a:gd name="connsiteX8" fmla="*/ 1020036 w 7283676"/>
                  <a:gd name="connsiteY8" fmla="*/ 2138456 h 2572796"/>
                  <a:gd name="connsiteX9" fmla="*/ 1217595 w 7283676"/>
                  <a:gd name="connsiteY9" fmla="*/ 1994562 h 2572796"/>
                  <a:gd name="connsiteX10" fmla="*/ 1268714 w 7283676"/>
                  <a:gd name="connsiteY10" fmla="*/ 1955787 h 2572796"/>
                  <a:gd name="connsiteX11" fmla="*/ 1397905 w 7283676"/>
                  <a:gd name="connsiteY11" fmla="*/ 1932609 h 2572796"/>
                  <a:gd name="connsiteX12" fmla="*/ 1515336 w 7283676"/>
                  <a:gd name="connsiteY12" fmla="*/ 1848896 h 2572796"/>
                  <a:gd name="connsiteX13" fmla="*/ 1578944 w 7283676"/>
                  <a:gd name="connsiteY13" fmla="*/ 1840391 h 2572796"/>
                  <a:gd name="connsiteX14" fmla="*/ 1667736 w 7283676"/>
                  <a:gd name="connsiteY14" fmla="*/ 1772696 h 2572796"/>
                  <a:gd name="connsiteX15" fmla="*/ 1753722 w 7283676"/>
                  <a:gd name="connsiteY15" fmla="*/ 1711628 h 2572796"/>
                  <a:gd name="connsiteX16" fmla="*/ 1858236 w 7283676"/>
                  <a:gd name="connsiteY16" fmla="*/ 1605056 h 2572796"/>
                  <a:gd name="connsiteX17" fmla="*/ 1998044 w 7283676"/>
                  <a:gd name="connsiteY17" fmla="*/ 1416541 h 2572796"/>
                  <a:gd name="connsiteX18" fmla="*/ 2117642 w 7283676"/>
                  <a:gd name="connsiteY18" fmla="*/ 1345199 h 2572796"/>
                  <a:gd name="connsiteX19" fmla="*/ 2252793 w 7283676"/>
                  <a:gd name="connsiteY19" fmla="*/ 1276405 h 2572796"/>
                  <a:gd name="connsiteX20" fmla="*/ 2420353 w 7283676"/>
                  <a:gd name="connsiteY20" fmla="*/ 1282252 h 2572796"/>
                  <a:gd name="connsiteX21" fmla="*/ 2673576 w 7283676"/>
                  <a:gd name="connsiteY21" fmla="*/ 1220193 h 2572796"/>
                  <a:gd name="connsiteX22" fmla="*/ 2842900 w 7283676"/>
                  <a:gd name="connsiteY22" fmla="*/ 1134386 h 2572796"/>
                  <a:gd name="connsiteX23" fmla="*/ 2954393 w 7283676"/>
                  <a:gd name="connsiteY23" fmla="*/ 1018315 h 2572796"/>
                  <a:gd name="connsiteX24" fmla="*/ 3049122 w 7283676"/>
                  <a:gd name="connsiteY24" fmla="*/ 983972 h 2572796"/>
                  <a:gd name="connsiteX25" fmla="*/ 3098558 w 7283676"/>
                  <a:gd name="connsiteY25" fmla="*/ 922270 h 2572796"/>
                  <a:gd name="connsiteX26" fmla="*/ 3153076 w 7283676"/>
                  <a:gd name="connsiteY26" fmla="*/ 882041 h 2572796"/>
                  <a:gd name="connsiteX27" fmla="*/ 3275556 w 7283676"/>
                  <a:gd name="connsiteY27" fmla="*/ 848690 h 2572796"/>
                  <a:gd name="connsiteX28" fmla="*/ 3351756 w 7283676"/>
                  <a:gd name="connsiteY28" fmla="*/ 827816 h 2572796"/>
                  <a:gd name="connsiteX29" fmla="*/ 3580356 w 7283676"/>
                  <a:gd name="connsiteY29" fmla="*/ 736376 h 2572796"/>
                  <a:gd name="connsiteX30" fmla="*/ 3671796 w 7283676"/>
                  <a:gd name="connsiteY30" fmla="*/ 718159 h 2572796"/>
                  <a:gd name="connsiteX31" fmla="*/ 3751767 w 7283676"/>
                  <a:gd name="connsiteY31" fmla="*/ 625832 h 2572796"/>
                  <a:gd name="connsiteX32" fmla="*/ 3826678 w 7283676"/>
                  <a:gd name="connsiteY32" fmla="*/ 566281 h 2572796"/>
                  <a:gd name="connsiteX33" fmla="*/ 3887243 w 7283676"/>
                  <a:gd name="connsiteY33" fmla="*/ 514403 h 2572796"/>
                  <a:gd name="connsiteX34" fmla="*/ 4024886 w 7283676"/>
                  <a:gd name="connsiteY34" fmla="*/ 476304 h 2572796"/>
                  <a:gd name="connsiteX35" fmla="*/ 4284123 w 7283676"/>
                  <a:gd name="connsiteY35" fmla="*/ 448693 h 2572796"/>
                  <a:gd name="connsiteX36" fmla="*/ 4434358 w 7283676"/>
                  <a:gd name="connsiteY36" fmla="*/ 381000 h 2572796"/>
                  <a:gd name="connsiteX37" fmla="*/ 4651645 w 7283676"/>
                  <a:gd name="connsiteY37" fmla="*/ 411587 h 2572796"/>
                  <a:gd name="connsiteX38" fmla="*/ 4738596 w 7283676"/>
                  <a:gd name="connsiteY38" fmla="*/ 401096 h 2572796"/>
                  <a:gd name="connsiteX39" fmla="*/ 4802767 w 7283676"/>
                  <a:gd name="connsiteY39" fmla="*/ 361118 h 2572796"/>
                  <a:gd name="connsiteX40" fmla="*/ 4951956 w 7283676"/>
                  <a:gd name="connsiteY40" fmla="*/ 347756 h 2572796"/>
                  <a:gd name="connsiteX41" fmla="*/ 4985724 w 7283676"/>
                  <a:gd name="connsiteY41" fmla="*/ 304906 h 2572796"/>
                  <a:gd name="connsiteX42" fmla="*/ 5066256 w 7283676"/>
                  <a:gd name="connsiteY42" fmla="*/ 294416 h 2572796"/>
                  <a:gd name="connsiteX43" fmla="*/ 5110854 w 7283676"/>
                  <a:gd name="connsiteY43" fmla="*/ 244833 h 2572796"/>
                  <a:gd name="connsiteX44" fmla="*/ 5294856 w 7283676"/>
                  <a:gd name="connsiteY44" fmla="*/ 248696 h 2572796"/>
                  <a:gd name="connsiteX45" fmla="*/ 5359588 w 7283676"/>
                  <a:gd name="connsiteY45" fmla="*/ 287789 h 2572796"/>
                  <a:gd name="connsiteX46" fmla="*/ 5416776 w 7283676"/>
                  <a:gd name="connsiteY46" fmla="*/ 233456 h 2572796"/>
                  <a:gd name="connsiteX47" fmla="*/ 5607276 w 7283676"/>
                  <a:gd name="connsiteY47" fmla="*/ 237213 h 2572796"/>
                  <a:gd name="connsiteX48" fmla="*/ 5702487 w 7283676"/>
                  <a:gd name="connsiteY48" fmla="*/ 146765 h 2572796"/>
                  <a:gd name="connsiteX49" fmla="*/ 5858736 w 7283676"/>
                  <a:gd name="connsiteY49" fmla="*/ 157256 h 2572796"/>
                  <a:gd name="connsiteX50" fmla="*/ 5973036 w 7283676"/>
                  <a:gd name="connsiteY50" fmla="*/ 180116 h 2572796"/>
                  <a:gd name="connsiteX51" fmla="*/ 6064476 w 7283676"/>
                  <a:gd name="connsiteY51" fmla="*/ 157256 h 2572796"/>
                  <a:gd name="connsiteX52" fmla="*/ 6165702 w 7283676"/>
                  <a:gd name="connsiteY52" fmla="*/ 66702 h 2572796"/>
                  <a:gd name="connsiteX53" fmla="*/ 6277836 w 7283676"/>
                  <a:gd name="connsiteY53" fmla="*/ 20096 h 2572796"/>
                  <a:gd name="connsiteX54" fmla="*/ 6468336 w 7283676"/>
                  <a:gd name="connsiteY54" fmla="*/ 27716 h 2572796"/>
                  <a:gd name="connsiteX55" fmla="*/ 6572807 w 7283676"/>
                  <a:gd name="connsiteY55" fmla="*/ 716 h 2572796"/>
                  <a:gd name="connsiteX56" fmla="*/ 6658836 w 7283676"/>
                  <a:gd name="connsiteY56" fmla="*/ 12476 h 2572796"/>
                  <a:gd name="connsiteX57" fmla="*/ 6696936 w 7283676"/>
                  <a:gd name="connsiteY57" fmla="*/ 35336 h 2572796"/>
                  <a:gd name="connsiteX58" fmla="*/ 6868908 w 7283676"/>
                  <a:gd name="connsiteY58" fmla="*/ 3864 h 2572796"/>
                  <a:gd name="connsiteX59" fmla="*/ 6940958 w 7283676"/>
                  <a:gd name="connsiteY59" fmla="*/ 15071 h 2572796"/>
                  <a:gd name="connsiteX60" fmla="*/ 7008716 w 7283676"/>
                  <a:gd name="connsiteY60" fmla="*/ 0 h 2572796"/>
                  <a:gd name="connsiteX61" fmla="*/ 7044586 w 7283676"/>
                  <a:gd name="connsiteY61" fmla="*/ 17942 h 2572796"/>
                  <a:gd name="connsiteX62" fmla="*/ 7146516 w 7283676"/>
                  <a:gd name="connsiteY62" fmla="*/ 20096 h 2572796"/>
                  <a:gd name="connsiteX63" fmla="*/ 7283676 w 7283676"/>
                  <a:gd name="connsiteY63" fmla="*/ 134396 h 2572796"/>
                  <a:gd name="connsiteX0" fmla="*/ 0 w 7283676"/>
                  <a:gd name="connsiteY0" fmla="*/ 2569004 h 2572796"/>
                  <a:gd name="connsiteX1" fmla="*/ 273276 w 7283676"/>
                  <a:gd name="connsiteY1" fmla="*/ 2572796 h 2572796"/>
                  <a:gd name="connsiteX2" fmla="*/ 348432 w 7283676"/>
                  <a:gd name="connsiteY2" fmla="*/ 2553799 h 2572796"/>
                  <a:gd name="connsiteX3" fmla="*/ 467547 w 7283676"/>
                  <a:gd name="connsiteY3" fmla="*/ 2552914 h 2572796"/>
                  <a:gd name="connsiteX4" fmla="*/ 662378 w 7283676"/>
                  <a:gd name="connsiteY4" fmla="*/ 2470865 h 2572796"/>
                  <a:gd name="connsiteX5" fmla="*/ 791436 w 7283676"/>
                  <a:gd name="connsiteY5" fmla="*/ 2328956 h 2572796"/>
                  <a:gd name="connsiteX6" fmla="*/ 882876 w 7283676"/>
                  <a:gd name="connsiteY6" fmla="*/ 2275616 h 2572796"/>
                  <a:gd name="connsiteX7" fmla="*/ 922379 w 7283676"/>
                  <a:gd name="connsiteY7" fmla="*/ 2211295 h 2572796"/>
                  <a:gd name="connsiteX8" fmla="*/ 1020036 w 7283676"/>
                  <a:gd name="connsiteY8" fmla="*/ 2138456 h 2572796"/>
                  <a:gd name="connsiteX9" fmla="*/ 1217595 w 7283676"/>
                  <a:gd name="connsiteY9" fmla="*/ 1994562 h 2572796"/>
                  <a:gd name="connsiteX10" fmla="*/ 1268714 w 7283676"/>
                  <a:gd name="connsiteY10" fmla="*/ 1955787 h 2572796"/>
                  <a:gd name="connsiteX11" fmla="*/ 1397905 w 7283676"/>
                  <a:gd name="connsiteY11" fmla="*/ 1932609 h 2572796"/>
                  <a:gd name="connsiteX12" fmla="*/ 1515336 w 7283676"/>
                  <a:gd name="connsiteY12" fmla="*/ 1848896 h 2572796"/>
                  <a:gd name="connsiteX13" fmla="*/ 1578944 w 7283676"/>
                  <a:gd name="connsiteY13" fmla="*/ 1840391 h 2572796"/>
                  <a:gd name="connsiteX14" fmla="*/ 1667736 w 7283676"/>
                  <a:gd name="connsiteY14" fmla="*/ 1772696 h 2572796"/>
                  <a:gd name="connsiteX15" fmla="*/ 1753722 w 7283676"/>
                  <a:gd name="connsiteY15" fmla="*/ 1711628 h 2572796"/>
                  <a:gd name="connsiteX16" fmla="*/ 1858236 w 7283676"/>
                  <a:gd name="connsiteY16" fmla="*/ 1605056 h 2572796"/>
                  <a:gd name="connsiteX17" fmla="*/ 1998044 w 7283676"/>
                  <a:gd name="connsiteY17" fmla="*/ 1416541 h 2572796"/>
                  <a:gd name="connsiteX18" fmla="*/ 2117642 w 7283676"/>
                  <a:gd name="connsiteY18" fmla="*/ 1345199 h 2572796"/>
                  <a:gd name="connsiteX19" fmla="*/ 2252793 w 7283676"/>
                  <a:gd name="connsiteY19" fmla="*/ 1276405 h 2572796"/>
                  <a:gd name="connsiteX20" fmla="*/ 2420353 w 7283676"/>
                  <a:gd name="connsiteY20" fmla="*/ 1282252 h 2572796"/>
                  <a:gd name="connsiteX21" fmla="*/ 2673576 w 7283676"/>
                  <a:gd name="connsiteY21" fmla="*/ 1220193 h 2572796"/>
                  <a:gd name="connsiteX22" fmla="*/ 2842900 w 7283676"/>
                  <a:gd name="connsiteY22" fmla="*/ 1134386 h 2572796"/>
                  <a:gd name="connsiteX23" fmla="*/ 2954393 w 7283676"/>
                  <a:gd name="connsiteY23" fmla="*/ 1018315 h 2572796"/>
                  <a:gd name="connsiteX24" fmla="*/ 3049122 w 7283676"/>
                  <a:gd name="connsiteY24" fmla="*/ 983972 h 2572796"/>
                  <a:gd name="connsiteX25" fmla="*/ 3098558 w 7283676"/>
                  <a:gd name="connsiteY25" fmla="*/ 922270 h 2572796"/>
                  <a:gd name="connsiteX26" fmla="*/ 3153076 w 7283676"/>
                  <a:gd name="connsiteY26" fmla="*/ 882041 h 2572796"/>
                  <a:gd name="connsiteX27" fmla="*/ 3275556 w 7283676"/>
                  <a:gd name="connsiteY27" fmla="*/ 848690 h 2572796"/>
                  <a:gd name="connsiteX28" fmla="*/ 3351756 w 7283676"/>
                  <a:gd name="connsiteY28" fmla="*/ 827816 h 2572796"/>
                  <a:gd name="connsiteX29" fmla="*/ 3580356 w 7283676"/>
                  <a:gd name="connsiteY29" fmla="*/ 736376 h 2572796"/>
                  <a:gd name="connsiteX30" fmla="*/ 3671796 w 7283676"/>
                  <a:gd name="connsiteY30" fmla="*/ 718159 h 2572796"/>
                  <a:gd name="connsiteX31" fmla="*/ 3751767 w 7283676"/>
                  <a:gd name="connsiteY31" fmla="*/ 625832 h 2572796"/>
                  <a:gd name="connsiteX32" fmla="*/ 3826678 w 7283676"/>
                  <a:gd name="connsiteY32" fmla="*/ 566281 h 2572796"/>
                  <a:gd name="connsiteX33" fmla="*/ 3887243 w 7283676"/>
                  <a:gd name="connsiteY33" fmla="*/ 514403 h 2572796"/>
                  <a:gd name="connsiteX34" fmla="*/ 4024886 w 7283676"/>
                  <a:gd name="connsiteY34" fmla="*/ 476304 h 2572796"/>
                  <a:gd name="connsiteX35" fmla="*/ 4284123 w 7283676"/>
                  <a:gd name="connsiteY35" fmla="*/ 448693 h 2572796"/>
                  <a:gd name="connsiteX36" fmla="*/ 4434358 w 7283676"/>
                  <a:gd name="connsiteY36" fmla="*/ 381000 h 2572796"/>
                  <a:gd name="connsiteX37" fmla="*/ 4651645 w 7283676"/>
                  <a:gd name="connsiteY37" fmla="*/ 411587 h 2572796"/>
                  <a:gd name="connsiteX38" fmla="*/ 4738596 w 7283676"/>
                  <a:gd name="connsiteY38" fmla="*/ 401096 h 2572796"/>
                  <a:gd name="connsiteX39" fmla="*/ 4802767 w 7283676"/>
                  <a:gd name="connsiteY39" fmla="*/ 361118 h 2572796"/>
                  <a:gd name="connsiteX40" fmla="*/ 4951956 w 7283676"/>
                  <a:gd name="connsiteY40" fmla="*/ 347756 h 2572796"/>
                  <a:gd name="connsiteX41" fmla="*/ 4985724 w 7283676"/>
                  <a:gd name="connsiteY41" fmla="*/ 304906 h 2572796"/>
                  <a:gd name="connsiteX42" fmla="*/ 5066256 w 7283676"/>
                  <a:gd name="connsiteY42" fmla="*/ 294416 h 2572796"/>
                  <a:gd name="connsiteX43" fmla="*/ 5110854 w 7283676"/>
                  <a:gd name="connsiteY43" fmla="*/ 244833 h 2572796"/>
                  <a:gd name="connsiteX44" fmla="*/ 5294856 w 7283676"/>
                  <a:gd name="connsiteY44" fmla="*/ 248696 h 2572796"/>
                  <a:gd name="connsiteX45" fmla="*/ 5359588 w 7283676"/>
                  <a:gd name="connsiteY45" fmla="*/ 287789 h 2572796"/>
                  <a:gd name="connsiteX46" fmla="*/ 5416776 w 7283676"/>
                  <a:gd name="connsiteY46" fmla="*/ 233456 h 2572796"/>
                  <a:gd name="connsiteX47" fmla="*/ 5607276 w 7283676"/>
                  <a:gd name="connsiteY47" fmla="*/ 237213 h 2572796"/>
                  <a:gd name="connsiteX48" fmla="*/ 5702487 w 7283676"/>
                  <a:gd name="connsiteY48" fmla="*/ 146765 h 2572796"/>
                  <a:gd name="connsiteX49" fmla="*/ 5858736 w 7283676"/>
                  <a:gd name="connsiteY49" fmla="*/ 157256 h 2572796"/>
                  <a:gd name="connsiteX50" fmla="*/ 5973036 w 7283676"/>
                  <a:gd name="connsiteY50" fmla="*/ 180116 h 2572796"/>
                  <a:gd name="connsiteX51" fmla="*/ 6064476 w 7283676"/>
                  <a:gd name="connsiteY51" fmla="*/ 157256 h 2572796"/>
                  <a:gd name="connsiteX52" fmla="*/ 6165702 w 7283676"/>
                  <a:gd name="connsiteY52" fmla="*/ 66702 h 2572796"/>
                  <a:gd name="connsiteX53" fmla="*/ 6277836 w 7283676"/>
                  <a:gd name="connsiteY53" fmla="*/ 20096 h 2572796"/>
                  <a:gd name="connsiteX54" fmla="*/ 6468336 w 7283676"/>
                  <a:gd name="connsiteY54" fmla="*/ 27716 h 2572796"/>
                  <a:gd name="connsiteX55" fmla="*/ 6572807 w 7283676"/>
                  <a:gd name="connsiteY55" fmla="*/ 716 h 2572796"/>
                  <a:gd name="connsiteX56" fmla="*/ 6658836 w 7283676"/>
                  <a:gd name="connsiteY56" fmla="*/ 12476 h 2572796"/>
                  <a:gd name="connsiteX57" fmla="*/ 6696936 w 7283676"/>
                  <a:gd name="connsiteY57" fmla="*/ 35336 h 2572796"/>
                  <a:gd name="connsiteX58" fmla="*/ 6868908 w 7283676"/>
                  <a:gd name="connsiteY58" fmla="*/ 3864 h 2572796"/>
                  <a:gd name="connsiteX59" fmla="*/ 6940958 w 7283676"/>
                  <a:gd name="connsiteY59" fmla="*/ 15071 h 2572796"/>
                  <a:gd name="connsiteX60" fmla="*/ 7008716 w 7283676"/>
                  <a:gd name="connsiteY60" fmla="*/ 0 h 2572796"/>
                  <a:gd name="connsiteX61" fmla="*/ 7044586 w 7283676"/>
                  <a:gd name="connsiteY61" fmla="*/ 17942 h 2572796"/>
                  <a:gd name="connsiteX62" fmla="*/ 7141063 w 7283676"/>
                  <a:gd name="connsiteY62" fmla="*/ 31580 h 2572796"/>
                  <a:gd name="connsiteX63" fmla="*/ 7283676 w 7283676"/>
                  <a:gd name="connsiteY63" fmla="*/ 134396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3751767 w 7286404"/>
                  <a:gd name="connsiteY31" fmla="*/ 625832 h 2572796"/>
                  <a:gd name="connsiteX32" fmla="*/ 3826678 w 7286404"/>
                  <a:gd name="connsiteY32" fmla="*/ 566281 h 2572796"/>
                  <a:gd name="connsiteX33" fmla="*/ 3887243 w 7286404"/>
                  <a:gd name="connsiteY33" fmla="*/ 514403 h 2572796"/>
                  <a:gd name="connsiteX34" fmla="*/ 4024886 w 7286404"/>
                  <a:gd name="connsiteY34" fmla="*/ 476304 h 2572796"/>
                  <a:gd name="connsiteX35" fmla="*/ 4284123 w 7286404"/>
                  <a:gd name="connsiteY35" fmla="*/ 448693 h 2572796"/>
                  <a:gd name="connsiteX36" fmla="*/ 4434358 w 7286404"/>
                  <a:gd name="connsiteY36" fmla="*/ 381000 h 2572796"/>
                  <a:gd name="connsiteX37" fmla="*/ 4651645 w 7286404"/>
                  <a:gd name="connsiteY37" fmla="*/ 411587 h 2572796"/>
                  <a:gd name="connsiteX38" fmla="*/ 4738596 w 7286404"/>
                  <a:gd name="connsiteY38" fmla="*/ 401096 h 2572796"/>
                  <a:gd name="connsiteX39" fmla="*/ 4802767 w 7286404"/>
                  <a:gd name="connsiteY39" fmla="*/ 361118 h 2572796"/>
                  <a:gd name="connsiteX40" fmla="*/ 4951956 w 7286404"/>
                  <a:gd name="connsiteY40" fmla="*/ 347756 h 2572796"/>
                  <a:gd name="connsiteX41" fmla="*/ 4985724 w 7286404"/>
                  <a:gd name="connsiteY41" fmla="*/ 304906 h 2572796"/>
                  <a:gd name="connsiteX42" fmla="*/ 5066256 w 7286404"/>
                  <a:gd name="connsiteY42" fmla="*/ 294416 h 2572796"/>
                  <a:gd name="connsiteX43" fmla="*/ 5110854 w 7286404"/>
                  <a:gd name="connsiteY43" fmla="*/ 244833 h 2572796"/>
                  <a:gd name="connsiteX44" fmla="*/ 5294856 w 7286404"/>
                  <a:gd name="connsiteY44" fmla="*/ 248696 h 2572796"/>
                  <a:gd name="connsiteX45" fmla="*/ 5359588 w 7286404"/>
                  <a:gd name="connsiteY45" fmla="*/ 287789 h 2572796"/>
                  <a:gd name="connsiteX46" fmla="*/ 5416776 w 7286404"/>
                  <a:gd name="connsiteY46" fmla="*/ 233456 h 2572796"/>
                  <a:gd name="connsiteX47" fmla="*/ 5607276 w 7286404"/>
                  <a:gd name="connsiteY47" fmla="*/ 237213 h 2572796"/>
                  <a:gd name="connsiteX48" fmla="*/ 5702487 w 7286404"/>
                  <a:gd name="connsiteY48" fmla="*/ 146765 h 2572796"/>
                  <a:gd name="connsiteX49" fmla="*/ 5858736 w 7286404"/>
                  <a:gd name="connsiteY49" fmla="*/ 157256 h 2572796"/>
                  <a:gd name="connsiteX50" fmla="*/ 5973036 w 7286404"/>
                  <a:gd name="connsiteY50" fmla="*/ 180116 h 2572796"/>
                  <a:gd name="connsiteX51" fmla="*/ 6064476 w 7286404"/>
                  <a:gd name="connsiteY51" fmla="*/ 157256 h 2572796"/>
                  <a:gd name="connsiteX52" fmla="*/ 6165702 w 7286404"/>
                  <a:gd name="connsiteY52" fmla="*/ 66702 h 2572796"/>
                  <a:gd name="connsiteX53" fmla="*/ 6277836 w 7286404"/>
                  <a:gd name="connsiteY53" fmla="*/ 20096 h 2572796"/>
                  <a:gd name="connsiteX54" fmla="*/ 6468336 w 7286404"/>
                  <a:gd name="connsiteY54" fmla="*/ 27716 h 2572796"/>
                  <a:gd name="connsiteX55" fmla="*/ 6572807 w 7286404"/>
                  <a:gd name="connsiteY55" fmla="*/ 716 h 2572796"/>
                  <a:gd name="connsiteX56" fmla="*/ 6658836 w 7286404"/>
                  <a:gd name="connsiteY56" fmla="*/ 12476 h 2572796"/>
                  <a:gd name="connsiteX57" fmla="*/ 6696936 w 7286404"/>
                  <a:gd name="connsiteY57" fmla="*/ 35336 h 2572796"/>
                  <a:gd name="connsiteX58" fmla="*/ 6868908 w 7286404"/>
                  <a:gd name="connsiteY58" fmla="*/ 3864 h 2572796"/>
                  <a:gd name="connsiteX59" fmla="*/ 6940958 w 7286404"/>
                  <a:gd name="connsiteY59" fmla="*/ 15071 h 2572796"/>
                  <a:gd name="connsiteX60" fmla="*/ 7008716 w 7286404"/>
                  <a:gd name="connsiteY60" fmla="*/ 0 h 2572796"/>
                  <a:gd name="connsiteX61" fmla="*/ 7044586 w 7286404"/>
                  <a:gd name="connsiteY61" fmla="*/ 17942 h 2572796"/>
                  <a:gd name="connsiteX62" fmla="*/ 7141063 w 7286404"/>
                  <a:gd name="connsiteY62" fmla="*/ 31580 h 2572796"/>
                  <a:gd name="connsiteX63" fmla="*/ 7286404 w 7286404"/>
                  <a:gd name="connsiteY63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3751767 w 7286404"/>
                  <a:gd name="connsiteY31" fmla="*/ 625832 h 2572796"/>
                  <a:gd name="connsiteX32" fmla="*/ 3826678 w 7286404"/>
                  <a:gd name="connsiteY32" fmla="*/ 566281 h 2572796"/>
                  <a:gd name="connsiteX33" fmla="*/ 3887243 w 7286404"/>
                  <a:gd name="connsiteY33" fmla="*/ 514403 h 2572796"/>
                  <a:gd name="connsiteX34" fmla="*/ 4024886 w 7286404"/>
                  <a:gd name="connsiteY34" fmla="*/ 476304 h 2572796"/>
                  <a:gd name="connsiteX35" fmla="*/ 4284123 w 7286404"/>
                  <a:gd name="connsiteY35" fmla="*/ 448693 h 2572796"/>
                  <a:gd name="connsiteX36" fmla="*/ 4434358 w 7286404"/>
                  <a:gd name="connsiteY36" fmla="*/ 381000 h 2572796"/>
                  <a:gd name="connsiteX37" fmla="*/ 4651645 w 7286404"/>
                  <a:gd name="connsiteY37" fmla="*/ 411587 h 2572796"/>
                  <a:gd name="connsiteX38" fmla="*/ 4738596 w 7286404"/>
                  <a:gd name="connsiteY38" fmla="*/ 401096 h 2572796"/>
                  <a:gd name="connsiteX39" fmla="*/ 4802767 w 7286404"/>
                  <a:gd name="connsiteY39" fmla="*/ 361118 h 2572796"/>
                  <a:gd name="connsiteX40" fmla="*/ 4951956 w 7286404"/>
                  <a:gd name="connsiteY40" fmla="*/ 347756 h 2572796"/>
                  <a:gd name="connsiteX41" fmla="*/ 4985724 w 7286404"/>
                  <a:gd name="connsiteY41" fmla="*/ 304906 h 2572796"/>
                  <a:gd name="connsiteX42" fmla="*/ 5066256 w 7286404"/>
                  <a:gd name="connsiteY42" fmla="*/ 294416 h 2572796"/>
                  <a:gd name="connsiteX43" fmla="*/ 5110854 w 7286404"/>
                  <a:gd name="connsiteY43" fmla="*/ 244833 h 2572796"/>
                  <a:gd name="connsiteX44" fmla="*/ 5294856 w 7286404"/>
                  <a:gd name="connsiteY44" fmla="*/ 248696 h 2572796"/>
                  <a:gd name="connsiteX45" fmla="*/ 5359588 w 7286404"/>
                  <a:gd name="connsiteY45" fmla="*/ 287789 h 2572796"/>
                  <a:gd name="connsiteX46" fmla="*/ 5416776 w 7286404"/>
                  <a:gd name="connsiteY46" fmla="*/ 233456 h 2572796"/>
                  <a:gd name="connsiteX47" fmla="*/ 5607276 w 7286404"/>
                  <a:gd name="connsiteY47" fmla="*/ 237213 h 2572796"/>
                  <a:gd name="connsiteX48" fmla="*/ 5702487 w 7286404"/>
                  <a:gd name="connsiteY48" fmla="*/ 146765 h 2572796"/>
                  <a:gd name="connsiteX49" fmla="*/ 5858736 w 7286404"/>
                  <a:gd name="connsiteY49" fmla="*/ 157256 h 2572796"/>
                  <a:gd name="connsiteX50" fmla="*/ 5973036 w 7286404"/>
                  <a:gd name="connsiteY50" fmla="*/ 180116 h 2572796"/>
                  <a:gd name="connsiteX51" fmla="*/ 6064476 w 7286404"/>
                  <a:gd name="connsiteY51" fmla="*/ 157256 h 2572796"/>
                  <a:gd name="connsiteX52" fmla="*/ 6165702 w 7286404"/>
                  <a:gd name="connsiteY52" fmla="*/ 66702 h 2572796"/>
                  <a:gd name="connsiteX53" fmla="*/ 6277836 w 7286404"/>
                  <a:gd name="connsiteY53" fmla="*/ 20096 h 2572796"/>
                  <a:gd name="connsiteX54" fmla="*/ 6468336 w 7286404"/>
                  <a:gd name="connsiteY54" fmla="*/ 27716 h 2572796"/>
                  <a:gd name="connsiteX55" fmla="*/ 6572807 w 7286404"/>
                  <a:gd name="connsiteY55" fmla="*/ 716 h 2572796"/>
                  <a:gd name="connsiteX56" fmla="*/ 6658836 w 7286404"/>
                  <a:gd name="connsiteY56" fmla="*/ 12476 h 2572796"/>
                  <a:gd name="connsiteX57" fmla="*/ 6696936 w 7286404"/>
                  <a:gd name="connsiteY57" fmla="*/ 35336 h 2572796"/>
                  <a:gd name="connsiteX58" fmla="*/ 6868908 w 7286404"/>
                  <a:gd name="connsiteY58" fmla="*/ 3864 h 2572796"/>
                  <a:gd name="connsiteX59" fmla="*/ 6940958 w 7286404"/>
                  <a:gd name="connsiteY59" fmla="*/ 15071 h 2572796"/>
                  <a:gd name="connsiteX60" fmla="*/ 7008716 w 7286404"/>
                  <a:gd name="connsiteY60" fmla="*/ 0 h 2572796"/>
                  <a:gd name="connsiteX61" fmla="*/ 7044586 w 7286404"/>
                  <a:gd name="connsiteY61" fmla="*/ 17942 h 2572796"/>
                  <a:gd name="connsiteX62" fmla="*/ 7141063 w 7286404"/>
                  <a:gd name="connsiteY62" fmla="*/ 31580 h 2572796"/>
                  <a:gd name="connsiteX63" fmla="*/ 7238205 w 7286404"/>
                  <a:gd name="connsiteY63" fmla="*/ 86843 h 2572796"/>
                  <a:gd name="connsiteX64" fmla="*/ 7286404 w 7286404"/>
                  <a:gd name="connsiteY64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3826678 w 7286404"/>
                  <a:gd name="connsiteY31" fmla="*/ 566281 h 2572796"/>
                  <a:gd name="connsiteX32" fmla="*/ 3887243 w 7286404"/>
                  <a:gd name="connsiteY32" fmla="*/ 514403 h 2572796"/>
                  <a:gd name="connsiteX33" fmla="*/ 4024886 w 7286404"/>
                  <a:gd name="connsiteY33" fmla="*/ 476304 h 2572796"/>
                  <a:gd name="connsiteX34" fmla="*/ 4284123 w 7286404"/>
                  <a:gd name="connsiteY34" fmla="*/ 448693 h 2572796"/>
                  <a:gd name="connsiteX35" fmla="*/ 4434358 w 7286404"/>
                  <a:gd name="connsiteY35" fmla="*/ 381000 h 2572796"/>
                  <a:gd name="connsiteX36" fmla="*/ 4651645 w 7286404"/>
                  <a:gd name="connsiteY36" fmla="*/ 411587 h 2572796"/>
                  <a:gd name="connsiteX37" fmla="*/ 4738596 w 7286404"/>
                  <a:gd name="connsiteY37" fmla="*/ 401096 h 2572796"/>
                  <a:gd name="connsiteX38" fmla="*/ 4802767 w 7286404"/>
                  <a:gd name="connsiteY38" fmla="*/ 361118 h 2572796"/>
                  <a:gd name="connsiteX39" fmla="*/ 4951956 w 7286404"/>
                  <a:gd name="connsiteY39" fmla="*/ 347756 h 2572796"/>
                  <a:gd name="connsiteX40" fmla="*/ 4985724 w 7286404"/>
                  <a:gd name="connsiteY40" fmla="*/ 304906 h 2572796"/>
                  <a:gd name="connsiteX41" fmla="*/ 5066256 w 7286404"/>
                  <a:gd name="connsiteY41" fmla="*/ 294416 h 2572796"/>
                  <a:gd name="connsiteX42" fmla="*/ 5110854 w 7286404"/>
                  <a:gd name="connsiteY42" fmla="*/ 244833 h 2572796"/>
                  <a:gd name="connsiteX43" fmla="*/ 5294856 w 7286404"/>
                  <a:gd name="connsiteY43" fmla="*/ 248696 h 2572796"/>
                  <a:gd name="connsiteX44" fmla="*/ 5359588 w 7286404"/>
                  <a:gd name="connsiteY44" fmla="*/ 287789 h 2572796"/>
                  <a:gd name="connsiteX45" fmla="*/ 5416776 w 7286404"/>
                  <a:gd name="connsiteY45" fmla="*/ 233456 h 2572796"/>
                  <a:gd name="connsiteX46" fmla="*/ 5607276 w 7286404"/>
                  <a:gd name="connsiteY46" fmla="*/ 237213 h 2572796"/>
                  <a:gd name="connsiteX47" fmla="*/ 5702487 w 7286404"/>
                  <a:gd name="connsiteY47" fmla="*/ 146765 h 2572796"/>
                  <a:gd name="connsiteX48" fmla="*/ 5858736 w 7286404"/>
                  <a:gd name="connsiteY48" fmla="*/ 157256 h 2572796"/>
                  <a:gd name="connsiteX49" fmla="*/ 5973036 w 7286404"/>
                  <a:gd name="connsiteY49" fmla="*/ 180116 h 2572796"/>
                  <a:gd name="connsiteX50" fmla="*/ 6064476 w 7286404"/>
                  <a:gd name="connsiteY50" fmla="*/ 157256 h 2572796"/>
                  <a:gd name="connsiteX51" fmla="*/ 6165702 w 7286404"/>
                  <a:gd name="connsiteY51" fmla="*/ 66702 h 2572796"/>
                  <a:gd name="connsiteX52" fmla="*/ 6277836 w 7286404"/>
                  <a:gd name="connsiteY52" fmla="*/ 20096 h 2572796"/>
                  <a:gd name="connsiteX53" fmla="*/ 6468336 w 7286404"/>
                  <a:gd name="connsiteY53" fmla="*/ 27716 h 2572796"/>
                  <a:gd name="connsiteX54" fmla="*/ 6572807 w 7286404"/>
                  <a:gd name="connsiteY54" fmla="*/ 716 h 2572796"/>
                  <a:gd name="connsiteX55" fmla="*/ 6658836 w 7286404"/>
                  <a:gd name="connsiteY55" fmla="*/ 12476 h 2572796"/>
                  <a:gd name="connsiteX56" fmla="*/ 6696936 w 7286404"/>
                  <a:gd name="connsiteY56" fmla="*/ 35336 h 2572796"/>
                  <a:gd name="connsiteX57" fmla="*/ 6868908 w 7286404"/>
                  <a:gd name="connsiteY57" fmla="*/ 3864 h 2572796"/>
                  <a:gd name="connsiteX58" fmla="*/ 6940958 w 7286404"/>
                  <a:gd name="connsiteY58" fmla="*/ 15071 h 2572796"/>
                  <a:gd name="connsiteX59" fmla="*/ 7008716 w 7286404"/>
                  <a:gd name="connsiteY59" fmla="*/ 0 h 2572796"/>
                  <a:gd name="connsiteX60" fmla="*/ 7044586 w 7286404"/>
                  <a:gd name="connsiteY60" fmla="*/ 17942 h 2572796"/>
                  <a:gd name="connsiteX61" fmla="*/ 7141063 w 7286404"/>
                  <a:gd name="connsiteY61" fmla="*/ 31580 h 2572796"/>
                  <a:gd name="connsiteX62" fmla="*/ 7238205 w 7286404"/>
                  <a:gd name="connsiteY62" fmla="*/ 86843 h 2572796"/>
                  <a:gd name="connsiteX63" fmla="*/ 7286404 w 7286404"/>
                  <a:gd name="connsiteY63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3887243 w 7286404"/>
                  <a:gd name="connsiteY31" fmla="*/ 514403 h 2572796"/>
                  <a:gd name="connsiteX32" fmla="*/ 4024886 w 7286404"/>
                  <a:gd name="connsiteY32" fmla="*/ 476304 h 2572796"/>
                  <a:gd name="connsiteX33" fmla="*/ 4284123 w 7286404"/>
                  <a:gd name="connsiteY33" fmla="*/ 448693 h 2572796"/>
                  <a:gd name="connsiteX34" fmla="*/ 4434358 w 7286404"/>
                  <a:gd name="connsiteY34" fmla="*/ 381000 h 2572796"/>
                  <a:gd name="connsiteX35" fmla="*/ 4651645 w 7286404"/>
                  <a:gd name="connsiteY35" fmla="*/ 411587 h 2572796"/>
                  <a:gd name="connsiteX36" fmla="*/ 4738596 w 7286404"/>
                  <a:gd name="connsiteY36" fmla="*/ 401096 h 2572796"/>
                  <a:gd name="connsiteX37" fmla="*/ 4802767 w 7286404"/>
                  <a:gd name="connsiteY37" fmla="*/ 361118 h 2572796"/>
                  <a:gd name="connsiteX38" fmla="*/ 4951956 w 7286404"/>
                  <a:gd name="connsiteY38" fmla="*/ 347756 h 2572796"/>
                  <a:gd name="connsiteX39" fmla="*/ 4985724 w 7286404"/>
                  <a:gd name="connsiteY39" fmla="*/ 304906 h 2572796"/>
                  <a:gd name="connsiteX40" fmla="*/ 5066256 w 7286404"/>
                  <a:gd name="connsiteY40" fmla="*/ 294416 h 2572796"/>
                  <a:gd name="connsiteX41" fmla="*/ 5110854 w 7286404"/>
                  <a:gd name="connsiteY41" fmla="*/ 244833 h 2572796"/>
                  <a:gd name="connsiteX42" fmla="*/ 5294856 w 7286404"/>
                  <a:gd name="connsiteY42" fmla="*/ 248696 h 2572796"/>
                  <a:gd name="connsiteX43" fmla="*/ 5359588 w 7286404"/>
                  <a:gd name="connsiteY43" fmla="*/ 287789 h 2572796"/>
                  <a:gd name="connsiteX44" fmla="*/ 5416776 w 7286404"/>
                  <a:gd name="connsiteY44" fmla="*/ 233456 h 2572796"/>
                  <a:gd name="connsiteX45" fmla="*/ 5607276 w 7286404"/>
                  <a:gd name="connsiteY45" fmla="*/ 237213 h 2572796"/>
                  <a:gd name="connsiteX46" fmla="*/ 5702487 w 7286404"/>
                  <a:gd name="connsiteY46" fmla="*/ 146765 h 2572796"/>
                  <a:gd name="connsiteX47" fmla="*/ 5858736 w 7286404"/>
                  <a:gd name="connsiteY47" fmla="*/ 157256 h 2572796"/>
                  <a:gd name="connsiteX48" fmla="*/ 5973036 w 7286404"/>
                  <a:gd name="connsiteY48" fmla="*/ 180116 h 2572796"/>
                  <a:gd name="connsiteX49" fmla="*/ 6064476 w 7286404"/>
                  <a:gd name="connsiteY49" fmla="*/ 157256 h 2572796"/>
                  <a:gd name="connsiteX50" fmla="*/ 6165702 w 7286404"/>
                  <a:gd name="connsiteY50" fmla="*/ 66702 h 2572796"/>
                  <a:gd name="connsiteX51" fmla="*/ 6277836 w 7286404"/>
                  <a:gd name="connsiteY51" fmla="*/ 20096 h 2572796"/>
                  <a:gd name="connsiteX52" fmla="*/ 6468336 w 7286404"/>
                  <a:gd name="connsiteY52" fmla="*/ 27716 h 2572796"/>
                  <a:gd name="connsiteX53" fmla="*/ 6572807 w 7286404"/>
                  <a:gd name="connsiteY53" fmla="*/ 716 h 2572796"/>
                  <a:gd name="connsiteX54" fmla="*/ 6658836 w 7286404"/>
                  <a:gd name="connsiteY54" fmla="*/ 12476 h 2572796"/>
                  <a:gd name="connsiteX55" fmla="*/ 6696936 w 7286404"/>
                  <a:gd name="connsiteY55" fmla="*/ 35336 h 2572796"/>
                  <a:gd name="connsiteX56" fmla="*/ 6868908 w 7286404"/>
                  <a:gd name="connsiteY56" fmla="*/ 3864 h 2572796"/>
                  <a:gd name="connsiteX57" fmla="*/ 6940958 w 7286404"/>
                  <a:gd name="connsiteY57" fmla="*/ 15071 h 2572796"/>
                  <a:gd name="connsiteX58" fmla="*/ 7008716 w 7286404"/>
                  <a:gd name="connsiteY58" fmla="*/ 0 h 2572796"/>
                  <a:gd name="connsiteX59" fmla="*/ 7044586 w 7286404"/>
                  <a:gd name="connsiteY59" fmla="*/ 17942 h 2572796"/>
                  <a:gd name="connsiteX60" fmla="*/ 7141063 w 7286404"/>
                  <a:gd name="connsiteY60" fmla="*/ 31580 h 2572796"/>
                  <a:gd name="connsiteX61" fmla="*/ 7238205 w 7286404"/>
                  <a:gd name="connsiteY61" fmla="*/ 86843 h 2572796"/>
                  <a:gd name="connsiteX62" fmla="*/ 7286404 w 7286404"/>
                  <a:gd name="connsiteY62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5858736 w 7286404"/>
                  <a:gd name="connsiteY46" fmla="*/ 157256 h 2572796"/>
                  <a:gd name="connsiteX47" fmla="*/ 5973036 w 7286404"/>
                  <a:gd name="connsiteY47" fmla="*/ 180116 h 2572796"/>
                  <a:gd name="connsiteX48" fmla="*/ 6064476 w 7286404"/>
                  <a:gd name="connsiteY48" fmla="*/ 157256 h 2572796"/>
                  <a:gd name="connsiteX49" fmla="*/ 6165702 w 7286404"/>
                  <a:gd name="connsiteY49" fmla="*/ 66702 h 2572796"/>
                  <a:gd name="connsiteX50" fmla="*/ 6277836 w 7286404"/>
                  <a:gd name="connsiteY50" fmla="*/ 20096 h 2572796"/>
                  <a:gd name="connsiteX51" fmla="*/ 6468336 w 7286404"/>
                  <a:gd name="connsiteY51" fmla="*/ 27716 h 2572796"/>
                  <a:gd name="connsiteX52" fmla="*/ 6572807 w 7286404"/>
                  <a:gd name="connsiteY52" fmla="*/ 716 h 2572796"/>
                  <a:gd name="connsiteX53" fmla="*/ 6658836 w 7286404"/>
                  <a:gd name="connsiteY53" fmla="*/ 12476 h 2572796"/>
                  <a:gd name="connsiteX54" fmla="*/ 6696936 w 7286404"/>
                  <a:gd name="connsiteY54" fmla="*/ 35336 h 2572796"/>
                  <a:gd name="connsiteX55" fmla="*/ 6868908 w 7286404"/>
                  <a:gd name="connsiteY55" fmla="*/ 3864 h 2572796"/>
                  <a:gd name="connsiteX56" fmla="*/ 6940958 w 7286404"/>
                  <a:gd name="connsiteY56" fmla="*/ 15071 h 2572796"/>
                  <a:gd name="connsiteX57" fmla="*/ 7008716 w 7286404"/>
                  <a:gd name="connsiteY57" fmla="*/ 0 h 2572796"/>
                  <a:gd name="connsiteX58" fmla="*/ 7044586 w 7286404"/>
                  <a:gd name="connsiteY58" fmla="*/ 17942 h 2572796"/>
                  <a:gd name="connsiteX59" fmla="*/ 7141063 w 7286404"/>
                  <a:gd name="connsiteY59" fmla="*/ 31580 h 2572796"/>
                  <a:gd name="connsiteX60" fmla="*/ 7238205 w 7286404"/>
                  <a:gd name="connsiteY60" fmla="*/ 86843 h 2572796"/>
                  <a:gd name="connsiteX61" fmla="*/ 7286404 w 7286404"/>
                  <a:gd name="connsiteY61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5858736 w 7286404"/>
                  <a:gd name="connsiteY46" fmla="*/ 157256 h 2572796"/>
                  <a:gd name="connsiteX47" fmla="*/ 5973036 w 7286404"/>
                  <a:gd name="connsiteY47" fmla="*/ 180116 h 2572796"/>
                  <a:gd name="connsiteX48" fmla="*/ 6064476 w 7286404"/>
                  <a:gd name="connsiteY48" fmla="*/ 157256 h 2572796"/>
                  <a:gd name="connsiteX49" fmla="*/ 6165702 w 7286404"/>
                  <a:gd name="connsiteY49" fmla="*/ 66702 h 2572796"/>
                  <a:gd name="connsiteX50" fmla="*/ 6277836 w 7286404"/>
                  <a:gd name="connsiteY50" fmla="*/ 20096 h 2572796"/>
                  <a:gd name="connsiteX51" fmla="*/ 6572807 w 7286404"/>
                  <a:gd name="connsiteY51" fmla="*/ 716 h 2572796"/>
                  <a:gd name="connsiteX52" fmla="*/ 6658836 w 7286404"/>
                  <a:gd name="connsiteY52" fmla="*/ 12476 h 2572796"/>
                  <a:gd name="connsiteX53" fmla="*/ 6696936 w 7286404"/>
                  <a:gd name="connsiteY53" fmla="*/ 35336 h 2572796"/>
                  <a:gd name="connsiteX54" fmla="*/ 6868908 w 7286404"/>
                  <a:gd name="connsiteY54" fmla="*/ 3864 h 2572796"/>
                  <a:gd name="connsiteX55" fmla="*/ 6940958 w 7286404"/>
                  <a:gd name="connsiteY55" fmla="*/ 15071 h 2572796"/>
                  <a:gd name="connsiteX56" fmla="*/ 7008716 w 7286404"/>
                  <a:gd name="connsiteY56" fmla="*/ 0 h 2572796"/>
                  <a:gd name="connsiteX57" fmla="*/ 7044586 w 7286404"/>
                  <a:gd name="connsiteY57" fmla="*/ 17942 h 2572796"/>
                  <a:gd name="connsiteX58" fmla="*/ 7141063 w 7286404"/>
                  <a:gd name="connsiteY58" fmla="*/ 31580 h 2572796"/>
                  <a:gd name="connsiteX59" fmla="*/ 7238205 w 7286404"/>
                  <a:gd name="connsiteY59" fmla="*/ 86843 h 2572796"/>
                  <a:gd name="connsiteX60" fmla="*/ 7286404 w 7286404"/>
                  <a:gd name="connsiteY60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5858736 w 7286404"/>
                  <a:gd name="connsiteY46" fmla="*/ 157256 h 2572796"/>
                  <a:gd name="connsiteX47" fmla="*/ 5973036 w 7286404"/>
                  <a:gd name="connsiteY47" fmla="*/ 180116 h 2572796"/>
                  <a:gd name="connsiteX48" fmla="*/ 6064476 w 7286404"/>
                  <a:gd name="connsiteY48" fmla="*/ 157256 h 2572796"/>
                  <a:gd name="connsiteX49" fmla="*/ 6165702 w 7286404"/>
                  <a:gd name="connsiteY49" fmla="*/ 66702 h 2572796"/>
                  <a:gd name="connsiteX50" fmla="*/ 6572807 w 7286404"/>
                  <a:gd name="connsiteY50" fmla="*/ 716 h 2572796"/>
                  <a:gd name="connsiteX51" fmla="*/ 6658836 w 7286404"/>
                  <a:gd name="connsiteY51" fmla="*/ 12476 h 2572796"/>
                  <a:gd name="connsiteX52" fmla="*/ 6696936 w 7286404"/>
                  <a:gd name="connsiteY52" fmla="*/ 35336 h 2572796"/>
                  <a:gd name="connsiteX53" fmla="*/ 6868908 w 7286404"/>
                  <a:gd name="connsiteY53" fmla="*/ 3864 h 2572796"/>
                  <a:gd name="connsiteX54" fmla="*/ 6940958 w 7286404"/>
                  <a:gd name="connsiteY54" fmla="*/ 15071 h 2572796"/>
                  <a:gd name="connsiteX55" fmla="*/ 7008716 w 7286404"/>
                  <a:gd name="connsiteY55" fmla="*/ 0 h 2572796"/>
                  <a:gd name="connsiteX56" fmla="*/ 7044586 w 7286404"/>
                  <a:gd name="connsiteY56" fmla="*/ 17942 h 2572796"/>
                  <a:gd name="connsiteX57" fmla="*/ 7141063 w 7286404"/>
                  <a:gd name="connsiteY57" fmla="*/ 31580 h 2572796"/>
                  <a:gd name="connsiteX58" fmla="*/ 7238205 w 7286404"/>
                  <a:gd name="connsiteY58" fmla="*/ 86843 h 2572796"/>
                  <a:gd name="connsiteX59" fmla="*/ 7286404 w 7286404"/>
                  <a:gd name="connsiteY59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5858736 w 7286404"/>
                  <a:gd name="connsiteY46" fmla="*/ 157256 h 2572796"/>
                  <a:gd name="connsiteX47" fmla="*/ 5973036 w 7286404"/>
                  <a:gd name="connsiteY47" fmla="*/ 180116 h 2572796"/>
                  <a:gd name="connsiteX48" fmla="*/ 6064476 w 7286404"/>
                  <a:gd name="connsiteY48" fmla="*/ 157256 h 2572796"/>
                  <a:gd name="connsiteX49" fmla="*/ 6572807 w 7286404"/>
                  <a:gd name="connsiteY49" fmla="*/ 716 h 2572796"/>
                  <a:gd name="connsiteX50" fmla="*/ 6658836 w 7286404"/>
                  <a:gd name="connsiteY50" fmla="*/ 12476 h 2572796"/>
                  <a:gd name="connsiteX51" fmla="*/ 6696936 w 7286404"/>
                  <a:gd name="connsiteY51" fmla="*/ 35336 h 2572796"/>
                  <a:gd name="connsiteX52" fmla="*/ 6868908 w 7286404"/>
                  <a:gd name="connsiteY52" fmla="*/ 3864 h 2572796"/>
                  <a:gd name="connsiteX53" fmla="*/ 6940958 w 7286404"/>
                  <a:gd name="connsiteY53" fmla="*/ 15071 h 2572796"/>
                  <a:gd name="connsiteX54" fmla="*/ 7008716 w 7286404"/>
                  <a:gd name="connsiteY54" fmla="*/ 0 h 2572796"/>
                  <a:gd name="connsiteX55" fmla="*/ 7044586 w 7286404"/>
                  <a:gd name="connsiteY55" fmla="*/ 17942 h 2572796"/>
                  <a:gd name="connsiteX56" fmla="*/ 7141063 w 7286404"/>
                  <a:gd name="connsiteY56" fmla="*/ 31580 h 2572796"/>
                  <a:gd name="connsiteX57" fmla="*/ 7238205 w 7286404"/>
                  <a:gd name="connsiteY57" fmla="*/ 86843 h 2572796"/>
                  <a:gd name="connsiteX58" fmla="*/ 7286404 w 7286404"/>
                  <a:gd name="connsiteY58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5858736 w 7286404"/>
                  <a:gd name="connsiteY46" fmla="*/ 157256 h 2572796"/>
                  <a:gd name="connsiteX47" fmla="*/ 5973036 w 7286404"/>
                  <a:gd name="connsiteY47" fmla="*/ 180116 h 2572796"/>
                  <a:gd name="connsiteX48" fmla="*/ 6572807 w 7286404"/>
                  <a:gd name="connsiteY48" fmla="*/ 716 h 2572796"/>
                  <a:gd name="connsiteX49" fmla="*/ 6658836 w 7286404"/>
                  <a:gd name="connsiteY49" fmla="*/ 12476 h 2572796"/>
                  <a:gd name="connsiteX50" fmla="*/ 6696936 w 7286404"/>
                  <a:gd name="connsiteY50" fmla="*/ 35336 h 2572796"/>
                  <a:gd name="connsiteX51" fmla="*/ 6868908 w 7286404"/>
                  <a:gd name="connsiteY51" fmla="*/ 3864 h 2572796"/>
                  <a:gd name="connsiteX52" fmla="*/ 6940958 w 7286404"/>
                  <a:gd name="connsiteY52" fmla="*/ 15071 h 2572796"/>
                  <a:gd name="connsiteX53" fmla="*/ 7008716 w 7286404"/>
                  <a:gd name="connsiteY53" fmla="*/ 0 h 2572796"/>
                  <a:gd name="connsiteX54" fmla="*/ 7044586 w 7286404"/>
                  <a:gd name="connsiteY54" fmla="*/ 17942 h 2572796"/>
                  <a:gd name="connsiteX55" fmla="*/ 7141063 w 7286404"/>
                  <a:gd name="connsiteY55" fmla="*/ 31580 h 2572796"/>
                  <a:gd name="connsiteX56" fmla="*/ 7238205 w 7286404"/>
                  <a:gd name="connsiteY56" fmla="*/ 86843 h 2572796"/>
                  <a:gd name="connsiteX57" fmla="*/ 7286404 w 7286404"/>
                  <a:gd name="connsiteY57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5858736 w 7286404"/>
                  <a:gd name="connsiteY46" fmla="*/ 157256 h 2572796"/>
                  <a:gd name="connsiteX47" fmla="*/ 6572807 w 7286404"/>
                  <a:gd name="connsiteY47" fmla="*/ 716 h 2572796"/>
                  <a:gd name="connsiteX48" fmla="*/ 6658836 w 7286404"/>
                  <a:gd name="connsiteY48" fmla="*/ 12476 h 2572796"/>
                  <a:gd name="connsiteX49" fmla="*/ 6696936 w 7286404"/>
                  <a:gd name="connsiteY49" fmla="*/ 35336 h 2572796"/>
                  <a:gd name="connsiteX50" fmla="*/ 6868908 w 7286404"/>
                  <a:gd name="connsiteY50" fmla="*/ 3864 h 2572796"/>
                  <a:gd name="connsiteX51" fmla="*/ 6940958 w 7286404"/>
                  <a:gd name="connsiteY51" fmla="*/ 15071 h 2572796"/>
                  <a:gd name="connsiteX52" fmla="*/ 7008716 w 7286404"/>
                  <a:gd name="connsiteY52" fmla="*/ 0 h 2572796"/>
                  <a:gd name="connsiteX53" fmla="*/ 7044586 w 7286404"/>
                  <a:gd name="connsiteY53" fmla="*/ 17942 h 2572796"/>
                  <a:gd name="connsiteX54" fmla="*/ 7141063 w 7286404"/>
                  <a:gd name="connsiteY54" fmla="*/ 31580 h 2572796"/>
                  <a:gd name="connsiteX55" fmla="*/ 7238205 w 7286404"/>
                  <a:gd name="connsiteY55" fmla="*/ 86843 h 2572796"/>
                  <a:gd name="connsiteX56" fmla="*/ 7286404 w 7286404"/>
                  <a:gd name="connsiteY56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5702487 w 7286404"/>
                  <a:gd name="connsiteY45" fmla="*/ 146765 h 2572796"/>
                  <a:gd name="connsiteX46" fmla="*/ 6572807 w 7286404"/>
                  <a:gd name="connsiteY46" fmla="*/ 716 h 2572796"/>
                  <a:gd name="connsiteX47" fmla="*/ 6658836 w 7286404"/>
                  <a:gd name="connsiteY47" fmla="*/ 12476 h 2572796"/>
                  <a:gd name="connsiteX48" fmla="*/ 6696936 w 7286404"/>
                  <a:gd name="connsiteY48" fmla="*/ 35336 h 2572796"/>
                  <a:gd name="connsiteX49" fmla="*/ 6868908 w 7286404"/>
                  <a:gd name="connsiteY49" fmla="*/ 3864 h 2572796"/>
                  <a:gd name="connsiteX50" fmla="*/ 6940958 w 7286404"/>
                  <a:gd name="connsiteY50" fmla="*/ 15071 h 2572796"/>
                  <a:gd name="connsiteX51" fmla="*/ 7008716 w 7286404"/>
                  <a:gd name="connsiteY51" fmla="*/ 0 h 2572796"/>
                  <a:gd name="connsiteX52" fmla="*/ 7044586 w 7286404"/>
                  <a:gd name="connsiteY52" fmla="*/ 17942 h 2572796"/>
                  <a:gd name="connsiteX53" fmla="*/ 7141063 w 7286404"/>
                  <a:gd name="connsiteY53" fmla="*/ 31580 h 2572796"/>
                  <a:gd name="connsiteX54" fmla="*/ 7238205 w 7286404"/>
                  <a:gd name="connsiteY54" fmla="*/ 86843 h 2572796"/>
                  <a:gd name="connsiteX55" fmla="*/ 7286404 w 7286404"/>
                  <a:gd name="connsiteY55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5607276 w 7286404"/>
                  <a:gd name="connsiteY44" fmla="*/ 237213 h 2572796"/>
                  <a:gd name="connsiteX45" fmla="*/ 6572807 w 7286404"/>
                  <a:gd name="connsiteY45" fmla="*/ 716 h 2572796"/>
                  <a:gd name="connsiteX46" fmla="*/ 6658836 w 7286404"/>
                  <a:gd name="connsiteY46" fmla="*/ 12476 h 2572796"/>
                  <a:gd name="connsiteX47" fmla="*/ 6696936 w 7286404"/>
                  <a:gd name="connsiteY47" fmla="*/ 35336 h 2572796"/>
                  <a:gd name="connsiteX48" fmla="*/ 6868908 w 7286404"/>
                  <a:gd name="connsiteY48" fmla="*/ 3864 h 2572796"/>
                  <a:gd name="connsiteX49" fmla="*/ 6940958 w 7286404"/>
                  <a:gd name="connsiteY49" fmla="*/ 15071 h 2572796"/>
                  <a:gd name="connsiteX50" fmla="*/ 7008716 w 7286404"/>
                  <a:gd name="connsiteY50" fmla="*/ 0 h 2572796"/>
                  <a:gd name="connsiteX51" fmla="*/ 7044586 w 7286404"/>
                  <a:gd name="connsiteY51" fmla="*/ 17942 h 2572796"/>
                  <a:gd name="connsiteX52" fmla="*/ 7141063 w 7286404"/>
                  <a:gd name="connsiteY52" fmla="*/ 31580 h 2572796"/>
                  <a:gd name="connsiteX53" fmla="*/ 7238205 w 7286404"/>
                  <a:gd name="connsiteY53" fmla="*/ 86843 h 2572796"/>
                  <a:gd name="connsiteX54" fmla="*/ 7286404 w 7286404"/>
                  <a:gd name="connsiteY54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5416776 w 7286404"/>
                  <a:gd name="connsiteY43" fmla="*/ 233456 h 2572796"/>
                  <a:gd name="connsiteX44" fmla="*/ 6572807 w 7286404"/>
                  <a:gd name="connsiteY44" fmla="*/ 716 h 2572796"/>
                  <a:gd name="connsiteX45" fmla="*/ 6658836 w 7286404"/>
                  <a:gd name="connsiteY45" fmla="*/ 12476 h 2572796"/>
                  <a:gd name="connsiteX46" fmla="*/ 6696936 w 7286404"/>
                  <a:gd name="connsiteY46" fmla="*/ 35336 h 2572796"/>
                  <a:gd name="connsiteX47" fmla="*/ 6868908 w 7286404"/>
                  <a:gd name="connsiteY47" fmla="*/ 3864 h 2572796"/>
                  <a:gd name="connsiteX48" fmla="*/ 6940958 w 7286404"/>
                  <a:gd name="connsiteY48" fmla="*/ 15071 h 2572796"/>
                  <a:gd name="connsiteX49" fmla="*/ 7008716 w 7286404"/>
                  <a:gd name="connsiteY49" fmla="*/ 0 h 2572796"/>
                  <a:gd name="connsiteX50" fmla="*/ 7044586 w 7286404"/>
                  <a:gd name="connsiteY50" fmla="*/ 17942 h 2572796"/>
                  <a:gd name="connsiteX51" fmla="*/ 7141063 w 7286404"/>
                  <a:gd name="connsiteY51" fmla="*/ 31580 h 2572796"/>
                  <a:gd name="connsiteX52" fmla="*/ 7238205 w 7286404"/>
                  <a:gd name="connsiteY52" fmla="*/ 86843 h 2572796"/>
                  <a:gd name="connsiteX53" fmla="*/ 7286404 w 7286404"/>
                  <a:gd name="connsiteY53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5359588 w 7286404"/>
                  <a:gd name="connsiteY42" fmla="*/ 287789 h 2572796"/>
                  <a:gd name="connsiteX43" fmla="*/ 6572807 w 7286404"/>
                  <a:gd name="connsiteY43" fmla="*/ 716 h 2572796"/>
                  <a:gd name="connsiteX44" fmla="*/ 6658836 w 7286404"/>
                  <a:gd name="connsiteY44" fmla="*/ 12476 h 2572796"/>
                  <a:gd name="connsiteX45" fmla="*/ 6696936 w 7286404"/>
                  <a:gd name="connsiteY45" fmla="*/ 35336 h 2572796"/>
                  <a:gd name="connsiteX46" fmla="*/ 6868908 w 7286404"/>
                  <a:gd name="connsiteY46" fmla="*/ 3864 h 2572796"/>
                  <a:gd name="connsiteX47" fmla="*/ 6940958 w 7286404"/>
                  <a:gd name="connsiteY47" fmla="*/ 15071 h 2572796"/>
                  <a:gd name="connsiteX48" fmla="*/ 7008716 w 7286404"/>
                  <a:gd name="connsiteY48" fmla="*/ 0 h 2572796"/>
                  <a:gd name="connsiteX49" fmla="*/ 7044586 w 7286404"/>
                  <a:gd name="connsiteY49" fmla="*/ 17942 h 2572796"/>
                  <a:gd name="connsiteX50" fmla="*/ 7141063 w 7286404"/>
                  <a:gd name="connsiteY50" fmla="*/ 31580 h 2572796"/>
                  <a:gd name="connsiteX51" fmla="*/ 7238205 w 7286404"/>
                  <a:gd name="connsiteY51" fmla="*/ 86843 h 2572796"/>
                  <a:gd name="connsiteX52" fmla="*/ 7286404 w 7286404"/>
                  <a:gd name="connsiteY52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5294856 w 7286404"/>
                  <a:gd name="connsiteY41" fmla="*/ 248696 h 2572796"/>
                  <a:gd name="connsiteX42" fmla="*/ 6572807 w 7286404"/>
                  <a:gd name="connsiteY42" fmla="*/ 716 h 2572796"/>
                  <a:gd name="connsiteX43" fmla="*/ 6658836 w 7286404"/>
                  <a:gd name="connsiteY43" fmla="*/ 12476 h 2572796"/>
                  <a:gd name="connsiteX44" fmla="*/ 6696936 w 7286404"/>
                  <a:gd name="connsiteY44" fmla="*/ 35336 h 2572796"/>
                  <a:gd name="connsiteX45" fmla="*/ 6868908 w 7286404"/>
                  <a:gd name="connsiteY45" fmla="*/ 3864 h 2572796"/>
                  <a:gd name="connsiteX46" fmla="*/ 6940958 w 7286404"/>
                  <a:gd name="connsiteY46" fmla="*/ 15071 h 2572796"/>
                  <a:gd name="connsiteX47" fmla="*/ 7008716 w 7286404"/>
                  <a:gd name="connsiteY47" fmla="*/ 0 h 2572796"/>
                  <a:gd name="connsiteX48" fmla="*/ 7044586 w 7286404"/>
                  <a:gd name="connsiteY48" fmla="*/ 17942 h 2572796"/>
                  <a:gd name="connsiteX49" fmla="*/ 7141063 w 7286404"/>
                  <a:gd name="connsiteY49" fmla="*/ 31580 h 2572796"/>
                  <a:gd name="connsiteX50" fmla="*/ 7238205 w 7286404"/>
                  <a:gd name="connsiteY50" fmla="*/ 86843 h 2572796"/>
                  <a:gd name="connsiteX51" fmla="*/ 7286404 w 7286404"/>
                  <a:gd name="connsiteY51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5110854 w 7286404"/>
                  <a:gd name="connsiteY40" fmla="*/ 244833 h 2572796"/>
                  <a:gd name="connsiteX41" fmla="*/ 6572807 w 7286404"/>
                  <a:gd name="connsiteY41" fmla="*/ 716 h 2572796"/>
                  <a:gd name="connsiteX42" fmla="*/ 6658836 w 7286404"/>
                  <a:gd name="connsiteY42" fmla="*/ 12476 h 2572796"/>
                  <a:gd name="connsiteX43" fmla="*/ 6696936 w 7286404"/>
                  <a:gd name="connsiteY43" fmla="*/ 35336 h 2572796"/>
                  <a:gd name="connsiteX44" fmla="*/ 6868908 w 7286404"/>
                  <a:gd name="connsiteY44" fmla="*/ 3864 h 2572796"/>
                  <a:gd name="connsiteX45" fmla="*/ 6940958 w 7286404"/>
                  <a:gd name="connsiteY45" fmla="*/ 15071 h 2572796"/>
                  <a:gd name="connsiteX46" fmla="*/ 7008716 w 7286404"/>
                  <a:gd name="connsiteY46" fmla="*/ 0 h 2572796"/>
                  <a:gd name="connsiteX47" fmla="*/ 7044586 w 7286404"/>
                  <a:gd name="connsiteY47" fmla="*/ 17942 h 2572796"/>
                  <a:gd name="connsiteX48" fmla="*/ 7141063 w 7286404"/>
                  <a:gd name="connsiteY48" fmla="*/ 31580 h 2572796"/>
                  <a:gd name="connsiteX49" fmla="*/ 7238205 w 7286404"/>
                  <a:gd name="connsiteY49" fmla="*/ 86843 h 2572796"/>
                  <a:gd name="connsiteX50" fmla="*/ 7286404 w 7286404"/>
                  <a:gd name="connsiteY50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5066256 w 7286404"/>
                  <a:gd name="connsiteY39" fmla="*/ 294416 h 2572796"/>
                  <a:gd name="connsiteX40" fmla="*/ 6572807 w 7286404"/>
                  <a:gd name="connsiteY40" fmla="*/ 716 h 2572796"/>
                  <a:gd name="connsiteX41" fmla="*/ 6658836 w 7286404"/>
                  <a:gd name="connsiteY41" fmla="*/ 12476 h 2572796"/>
                  <a:gd name="connsiteX42" fmla="*/ 6696936 w 7286404"/>
                  <a:gd name="connsiteY42" fmla="*/ 35336 h 2572796"/>
                  <a:gd name="connsiteX43" fmla="*/ 6868908 w 7286404"/>
                  <a:gd name="connsiteY43" fmla="*/ 3864 h 2572796"/>
                  <a:gd name="connsiteX44" fmla="*/ 6940958 w 7286404"/>
                  <a:gd name="connsiteY44" fmla="*/ 15071 h 2572796"/>
                  <a:gd name="connsiteX45" fmla="*/ 7008716 w 7286404"/>
                  <a:gd name="connsiteY45" fmla="*/ 0 h 2572796"/>
                  <a:gd name="connsiteX46" fmla="*/ 7044586 w 7286404"/>
                  <a:gd name="connsiteY46" fmla="*/ 17942 h 2572796"/>
                  <a:gd name="connsiteX47" fmla="*/ 7141063 w 7286404"/>
                  <a:gd name="connsiteY47" fmla="*/ 31580 h 2572796"/>
                  <a:gd name="connsiteX48" fmla="*/ 7238205 w 7286404"/>
                  <a:gd name="connsiteY48" fmla="*/ 86843 h 2572796"/>
                  <a:gd name="connsiteX49" fmla="*/ 7286404 w 7286404"/>
                  <a:gd name="connsiteY49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4985724 w 7286404"/>
                  <a:gd name="connsiteY38" fmla="*/ 304906 h 2572796"/>
                  <a:gd name="connsiteX39" fmla="*/ 6572807 w 7286404"/>
                  <a:gd name="connsiteY39" fmla="*/ 716 h 2572796"/>
                  <a:gd name="connsiteX40" fmla="*/ 6658836 w 7286404"/>
                  <a:gd name="connsiteY40" fmla="*/ 12476 h 2572796"/>
                  <a:gd name="connsiteX41" fmla="*/ 6696936 w 7286404"/>
                  <a:gd name="connsiteY41" fmla="*/ 35336 h 2572796"/>
                  <a:gd name="connsiteX42" fmla="*/ 6868908 w 7286404"/>
                  <a:gd name="connsiteY42" fmla="*/ 3864 h 2572796"/>
                  <a:gd name="connsiteX43" fmla="*/ 6940958 w 7286404"/>
                  <a:gd name="connsiteY43" fmla="*/ 15071 h 2572796"/>
                  <a:gd name="connsiteX44" fmla="*/ 7008716 w 7286404"/>
                  <a:gd name="connsiteY44" fmla="*/ 0 h 2572796"/>
                  <a:gd name="connsiteX45" fmla="*/ 7044586 w 7286404"/>
                  <a:gd name="connsiteY45" fmla="*/ 17942 h 2572796"/>
                  <a:gd name="connsiteX46" fmla="*/ 7141063 w 7286404"/>
                  <a:gd name="connsiteY46" fmla="*/ 31580 h 2572796"/>
                  <a:gd name="connsiteX47" fmla="*/ 7238205 w 7286404"/>
                  <a:gd name="connsiteY47" fmla="*/ 86843 h 2572796"/>
                  <a:gd name="connsiteX48" fmla="*/ 7286404 w 7286404"/>
                  <a:gd name="connsiteY48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4951956 w 7286404"/>
                  <a:gd name="connsiteY37" fmla="*/ 347756 h 2572796"/>
                  <a:gd name="connsiteX38" fmla="*/ 6572807 w 7286404"/>
                  <a:gd name="connsiteY38" fmla="*/ 716 h 2572796"/>
                  <a:gd name="connsiteX39" fmla="*/ 6658836 w 7286404"/>
                  <a:gd name="connsiteY39" fmla="*/ 12476 h 2572796"/>
                  <a:gd name="connsiteX40" fmla="*/ 6696936 w 7286404"/>
                  <a:gd name="connsiteY40" fmla="*/ 35336 h 2572796"/>
                  <a:gd name="connsiteX41" fmla="*/ 6868908 w 7286404"/>
                  <a:gd name="connsiteY41" fmla="*/ 3864 h 2572796"/>
                  <a:gd name="connsiteX42" fmla="*/ 6940958 w 7286404"/>
                  <a:gd name="connsiteY42" fmla="*/ 15071 h 2572796"/>
                  <a:gd name="connsiteX43" fmla="*/ 7008716 w 7286404"/>
                  <a:gd name="connsiteY43" fmla="*/ 0 h 2572796"/>
                  <a:gd name="connsiteX44" fmla="*/ 7044586 w 7286404"/>
                  <a:gd name="connsiteY44" fmla="*/ 17942 h 2572796"/>
                  <a:gd name="connsiteX45" fmla="*/ 7141063 w 7286404"/>
                  <a:gd name="connsiteY45" fmla="*/ 31580 h 2572796"/>
                  <a:gd name="connsiteX46" fmla="*/ 7238205 w 7286404"/>
                  <a:gd name="connsiteY46" fmla="*/ 86843 h 2572796"/>
                  <a:gd name="connsiteX47" fmla="*/ 7286404 w 7286404"/>
                  <a:gd name="connsiteY47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4802767 w 7286404"/>
                  <a:gd name="connsiteY36" fmla="*/ 361118 h 2572796"/>
                  <a:gd name="connsiteX37" fmla="*/ 6572807 w 7286404"/>
                  <a:gd name="connsiteY37" fmla="*/ 716 h 2572796"/>
                  <a:gd name="connsiteX38" fmla="*/ 6658836 w 7286404"/>
                  <a:gd name="connsiteY38" fmla="*/ 12476 h 2572796"/>
                  <a:gd name="connsiteX39" fmla="*/ 6696936 w 7286404"/>
                  <a:gd name="connsiteY39" fmla="*/ 35336 h 2572796"/>
                  <a:gd name="connsiteX40" fmla="*/ 6868908 w 7286404"/>
                  <a:gd name="connsiteY40" fmla="*/ 3864 h 2572796"/>
                  <a:gd name="connsiteX41" fmla="*/ 6940958 w 7286404"/>
                  <a:gd name="connsiteY41" fmla="*/ 15071 h 2572796"/>
                  <a:gd name="connsiteX42" fmla="*/ 7008716 w 7286404"/>
                  <a:gd name="connsiteY42" fmla="*/ 0 h 2572796"/>
                  <a:gd name="connsiteX43" fmla="*/ 7044586 w 7286404"/>
                  <a:gd name="connsiteY43" fmla="*/ 17942 h 2572796"/>
                  <a:gd name="connsiteX44" fmla="*/ 7141063 w 7286404"/>
                  <a:gd name="connsiteY44" fmla="*/ 31580 h 2572796"/>
                  <a:gd name="connsiteX45" fmla="*/ 7238205 w 7286404"/>
                  <a:gd name="connsiteY45" fmla="*/ 86843 h 2572796"/>
                  <a:gd name="connsiteX46" fmla="*/ 7286404 w 7286404"/>
                  <a:gd name="connsiteY46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4738596 w 7286404"/>
                  <a:gd name="connsiteY35" fmla="*/ 401096 h 2572796"/>
                  <a:gd name="connsiteX36" fmla="*/ 6572807 w 7286404"/>
                  <a:gd name="connsiteY36" fmla="*/ 716 h 2572796"/>
                  <a:gd name="connsiteX37" fmla="*/ 6658836 w 7286404"/>
                  <a:gd name="connsiteY37" fmla="*/ 12476 h 2572796"/>
                  <a:gd name="connsiteX38" fmla="*/ 6696936 w 7286404"/>
                  <a:gd name="connsiteY38" fmla="*/ 35336 h 2572796"/>
                  <a:gd name="connsiteX39" fmla="*/ 6868908 w 7286404"/>
                  <a:gd name="connsiteY39" fmla="*/ 3864 h 2572796"/>
                  <a:gd name="connsiteX40" fmla="*/ 6940958 w 7286404"/>
                  <a:gd name="connsiteY40" fmla="*/ 15071 h 2572796"/>
                  <a:gd name="connsiteX41" fmla="*/ 7008716 w 7286404"/>
                  <a:gd name="connsiteY41" fmla="*/ 0 h 2572796"/>
                  <a:gd name="connsiteX42" fmla="*/ 7044586 w 7286404"/>
                  <a:gd name="connsiteY42" fmla="*/ 17942 h 2572796"/>
                  <a:gd name="connsiteX43" fmla="*/ 7141063 w 7286404"/>
                  <a:gd name="connsiteY43" fmla="*/ 31580 h 2572796"/>
                  <a:gd name="connsiteX44" fmla="*/ 7238205 w 7286404"/>
                  <a:gd name="connsiteY44" fmla="*/ 86843 h 2572796"/>
                  <a:gd name="connsiteX45" fmla="*/ 7286404 w 7286404"/>
                  <a:gd name="connsiteY45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4651645 w 7286404"/>
                  <a:gd name="connsiteY34" fmla="*/ 411587 h 2572796"/>
                  <a:gd name="connsiteX35" fmla="*/ 6572807 w 7286404"/>
                  <a:gd name="connsiteY35" fmla="*/ 716 h 2572796"/>
                  <a:gd name="connsiteX36" fmla="*/ 6658836 w 7286404"/>
                  <a:gd name="connsiteY36" fmla="*/ 12476 h 2572796"/>
                  <a:gd name="connsiteX37" fmla="*/ 6696936 w 7286404"/>
                  <a:gd name="connsiteY37" fmla="*/ 35336 h 2572796"/>
                  <a:gd name="connsiteX38" fmla="*/ 6868908 w 7286404"/>
                  <a:gd name="connsiteY38" fmla="*/ 3864 h 2572796"/>
                  <a:gd name="connsiteX39" fmla="*/ 6940958 w 7286404"/>
                  <a:gd name="connsiteY39" fmla="*/ 15071 h 2572796"/>
                  <a:gd name="connsiteX40" fmla="*/ 7008716 w 7286404"/>
                  <a:gd name="connsiteY40" fmla="*/ 0 h 2572796"/>
                  <a:gd name="connsiteX41" fmla="*/ 7044586 w 7286404"/>
                  <a:gd name="connsiteY41" fmla="*/ 17942 h 2572796"/>
                  <a:gd name="connsiteX42" fmla="*/ 7141063 w 7286404"/>
                  <a:gd name="connsiteY42" fmla="*/ 31580 h 2572796"/>
                  <a:gd name="connsiteX43" fmla="*/ 7238205 w 7286404"/>
                  <a:gd name="connsiteY43" fmla="*/ 86843 h 2572796"/>
                  <a:gd name="connsiteX44" fmla="*/ 7286404 w 7286404"/>
                  <a:gd name="connsiteY44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6572807 w 7286404"/>
                  <a:gd name="connsiteY34" fmla="*/ 716 h 2572796"/>
                  <a:gd name="connsiteX35" fmla="*/ 6658836 w 7286404"/>
                  <a:gd name="connsiteY35" fmla="*/ 12476 h 2572796"/>
                  <a:gd name="connsiteX36" fmla="*/ 6696936 w 7286404"/>
                  <a:gd name="connsiteY36" fmla="*/ 35336 h 2572796"/>
                  <a:gd name="connsiteX37" fmla="*/ 6868908 w 7286404"/>
                  <a:gd name="connsiteY37" fmla="*/ 3864 h 2572796"/>
                  <a:gd name="connsiteX38" fmla="*/ 6940958 w 7286404"/>
                  <a:gd name="connsiteY38" fmla="*/ 15071 h 2572796"/>
                  <a:gd name="connsiteX39" fmla="*/ 7008716 w 7286404"/>
                  <a:gd name="connsiteY39" fmla="*/ 0 h 2572796"/>
                  <a:gd name="connsiteX40" fmla="*/ 7044586 w 7286404"/>
                  <a:gd name="connsiteY40" fmla="*/ 17942 h 2572796"/>
                  <a:gd name="connsiteX41" fmla="*/ 7141063 w 7286404"/>
                  <a:gd name="connsiteY41" fmla="*/ 31580 h 2572796"/>
                  <a:gd name="connsiteX42" fmla="*/ 7238205 w 7286404"/>
                  <a:gd name="connsiteY42" fmla="*/ 86843 h 2572796"/>
                  <a:gd name="connsiteX43" fmla="*/ 7286404 w 7286404"/>
                  <a:gd name="connsiteY43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6658836 w 7286404"/>
                  <a:gd name="connsiteY34" fmla="*/ 12476 h 2572796"/>
                  <a:gd name="connsiteX35" fmla="*/ 6696936 w 7286404"/>
                  <a:gd name="connsiteY35" fmla="*/ 35336 h 2572796"/>
                  <a:gd name="connsiteX36" fmla="*/ 6868908 w 7286404"/>
                  <a:gd name="connsiteY36" fmla="*/ 3864 h 2572796"/>
                  <a:gd name="connsiteX37" fmla="*/ 6940958 w 7286404"/>
                  <a:gd name="connsiteY37" fmla="*/ 15071 h 2572796"/>
                  <a:gd name="connsiteX38" fmla="*/ 7008716 w 7286404"/>
                  <a:gd name="connsiteY38" fmla="*/ 0 h 2572796"/>
                  <a:gd name="connsiteX39" fmla="*/ 7044586 w 7286404"/>
                  <a:gd name="connsiteY39" fmla="*/ 17942 h 2572796"/>
                  <a:gd name="connsiteX40" fmla="*/ 7141063 w 7286404"/>
                  <a:gd name="connsiteY40" fmla="*/ 31580 h 2572796"/>
                  <a:gd name="connsiteX41" fmla="*/ 7238205 w 7286404"/>
                  <a:gd name="connsiteY41" fmla="*/ 86843 h 2572796"/>
                  <a:gd name="connsiteX42" fmla="*/ 7286404 w 7286404"/>
                  <a:gd name="connsiteY42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6651620 w 7286404"/>
                  <a:gd name="connsiteY34" fmla="*/ 66518 h 2572796"/>
                  <a:gd name="connsiteX35" fmla="*/ 6696936 w 7286404"/>
                  <a:gd name="connsiteY35" fmla="*/ 35336 h 2572796"/>
                  <a:gd name="connsiteX36" fmla="*/ 6868908 w 7286404"/>
                  <a:gd name="connsiteY36" fmla="*/ 3864 h 2572796"/>
                  <a:gd name="connsiteX37" fmla="*/ 6940958 w 7286404"/>
                  <a:gd name="connsiteY37" fmla="*/ 15071 h 2572796"/>
                  <a:gd name="connsiteX38" fmla="*/ 7008716 w 7286404"/>
                  <a:gd name="connsiteY38" fmla="*/ 0 h 2572796"/>
                  <a:gd name="connsiteX39" fmla="*/ 7044586 w 7286404"/>
                  <a:gd name="connsiteY39" fmla="*/ 17942 h 2572796"/>
                  <a:gd name="connsiteX40" fmla="*/ 7141063 w 7286404"/>
                  <a:gd name="connsiteY40" fmla="*/ 31580 h 2572796"/>
                  <a:gd name="connsiteX41" fmla="*/ 7238205 w 7286404"/>
                  <a:gd name="connsiteY41" fmla="*/ 86843 h 2572796"/>
                  <a:gd name="connsiteX42" fmla="*/ 7286404 w 7286404"/>
                  <a:gd name="connsiteY42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6651620 w 7286404"/>
                  <a:gd name="connsiteY34" fmla="*/ 66518 h 2572796"/>
                  <a:gd name="connsiteX35" fmla="*/ 6868908 w 7286404"/>
                  <a:gd name="connsiteY35" fmla="*/ 3864 h 2572796"/>
                  <a:gd name="connsiteX36" fmla="*/ 6940958 w 7286404"/>
                  <a:gd name="connsiteY36" fmla="*/ 15071 h 2572796"/>
                  <a:gd name="connsiteX37" fmla="*/ 7008716 w 7286404"/>
                  <a:gd name="connsiteY37" fmla="*/ 0 h 2572796"/>
                  <a:gd name="connsiteX38" fmla="*/ 7044586 w 7286404"/>
                  <a:gd name="connsiteY38" fmla="*/ 17942 h 2572796"/>
                  <a:gd name="connsiteX39" fmla="*/ 7141063 w 7286404"/>
                  <a:gd name="connsiteY39" fmla="*/ 31580 h 2572796"/>
                  <a:gd name="connsiteX40" fmla="*/ 7238205 w 7286404"/>
                  <a:gd name="connsiteY40" fmla="*/ 86843 h 2572796"/>
                  <a:gd name="connsiteX41" fmla="*/ 7286404 w 7286404"/>
                  <a:gd name="connsiteY41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6868908 w 7286404"/>
                  <a:gd name="connsiteY34" fmla="*/ 3864 h 2572796"/>
                  <a:gd name="connsiteX35" fmla="*/ 6940958 w 7286404"/>
                  <a:gd name="connsiteY35" fmla="*/ 15071 h 2572796"/>
                  <a:gd name="connsiteX36" fmla="*/ 7008716 w 7286404"/>
                  <a:gd name="connsiteY36" fmla="*/ 0 h 2572796"/>
                  <a:gd name="connsiteX37" fmla="*/ 7044586 w 7286404"/>
                  <a:gd name="connsiteY37" fmla="*/ 17942 h 2572796"/>
                  <a:gd name="connsiteX38" fmla="*/ 7141063 w 7286404"/>
                  <a:gd name="connsiteY38" fmla="*/ 31580 h 2572796"/>
                  <a:gd name="connsiteX39" fmla="*/ 7238205 w 7286404"/>
                  <a:gd name="connsiteY39" fmla="*/ 86843 h 2572796"/>
                  <a:gd name="connsiteX40" fmla="*/ 7286404 w 7286404"/>
                  <a:gd name="connsiteY40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6940958 w 7286404"/>
                  <a:gd name="connsiteY34" fmla="*/ 15071 h 2572796"/>
                  <a:gd name="connsiteX35" fmla="*/ 7008716 w 7286404"/>
                  <a:gd name="connsiteY35" fmla="*/ 0 h 2572796"/>
                  <a:gd name="connsiteX36" fmla="*/ 7044586 w 7286404"/>
                  <a:gd name="connsiteY36" fmla="*/ 17942 h 2572796"/>
                  <a:gd name="connsiteX37" fmla="*/ 7141063 w 7286404"/>
                  <a:gd name="connsiteY37" fmla="*/ 31580 h 2572796"/>
                  <a:gd name="connsiteX38" fmla="*/ 7238205 w 7286404"/>
                  <a:gd name="connsiteY38" fmla="*/ 86843 h 2572796"/>
                  <a:gd name="connsiteX39" fmla="*/ 7286404 w 7286404"/>
                  <a:gd name="connsiteY39" fmla="*/ 97075 h 2572796"/>
                  <a:gd name="connsiteX0" fmla="*/ 0 w 7286404"/>
                  <a:gd name="connsiteY0" fmla="*/ 2569004 h 2572796"/>
                  <a:gd name="connsiteX1" fmla="*/ 273276 w 7286404"/>
                  <a:gd name="connsiteY1" fmla="*/ 2572796 h 2572796"/>
                  <a:gd name="connsiteX2" fmla="*/ 348432 w 7286404"/>
                  <a:gd name="connsiteY2" fmla="*/ 2553799 h 2572796"/>
                  <a:gd name="connsiteX3" fmla="*/ 467547 w 7286404"/>
                  <a:gd name="connsiteY3" fmla="*/ 2552914 h 2572796"/>
                  <a:gd name="connsiteX4" fmla="*/ 662378 w 7286404"/>
                  <a:gd name="connsiteY4" fmla="*/ 2470865 h 2572796"/>
                  <a:gd name="connsiteX5" fmla="*/ 791436 w 7286404"/>
                  <a:gd name="connsiteY5" fmla="*/ 2328956 h 2572796"/>
                  <a:gd name="connsiteX6" fmla="*/ 882876 w 7286404"/>
                  <a:gd name="connsiteY6" fmla="*/ 2275616 h 2572796"/>
                  <a:gd name="connsiteX7" fmla="*/ 922379 w 7286404"/>
                  <a:gd name="connsiteY7" fmla="*/ 2211295 h 2572796"/>
                  <a:gd name="connsiteX8" fmla="*/ 1020036 w 7286404"/>
                  <a:gd name="connsiteY8" fmla="*/ 2138456 h 2572796"/>
                  <a:gd name="connsiteX9" fmla="*/ 1217595 w 7286404"/>
                  <a:gd name="connsiteY9" fmla="*/ 1994562 h 2572796"/>
                  <a:gd name="connsiteX10" fmla="*/ 1268714 w 7286404"/>
                  <a:gd name="connsiteY10" fmla="*/ 1955787 h 2572796"/>
                  <a:gd name="connsiteX11" fmla="*/ 1397905 w 7286404"/>
                  <a:gd name="connsiteY11" fmla="*/ 1932609 h 2572796"/>
                  <a:gd name="connsiteX12" fmla="*/ 1515336 w 7286404"/>
                  <a:gd name="connsiteY12" fmla="*/ 1848896 h 2572796"/>
                  <a:gd name="connsiteX13" fmla="*/ 1578944 w 7286404"/>
                  <a:gd name="connsiteY13" fmla="*/ 1840391 h 2572796"/>
                  <a:gd name="connsiteX14" fmla="*/ 1667736 w 7286404"/>
                  <a:gd name="connsiteY14" fmla="*/ 1772696 h 2572796"/>
                  <a:gd name="connsiteX15" fmla="*/ 1753722 w 7286404"/>
                  <a:gd name="connsiteY15" fmla="*/ 1711628 h 2572796"/>
                  <a:gd name="connsiteX16" fmla="*/ 1858236 w 7286404"/>
                  <a:gd name="connsiteY16" fmla="*/ 1605056 h 2572796"/>
                  <a:gd name="connsiteX17" fmla="*/ 1998044 w 7286404"/>
                  <a:gd name="connsiteY17" fmla="*/ 1416541 h 2572796"/>
                  <a:gd name="connsiteX18" fmla="*/ 2117642 w 7286404"/>
                  <a:gd name="connsiteY18" fmla="*/ 1345199 h 2572796"/>
                  <a:gd name="connsiteX19" fmla="*/ 2252793 w 7286404"/>
                  <a:gd name="connsiteY19" fmla="*/ 1276405 h 2572796"/>
                  <a:gd name="connsiteX20" fmla="*/ 2420353 w 7286404"/>
                  <a:gd name="connsiteY20" fmla="*/ 1282252 h 2572796"/>
                  <a:gd name="connsiteX21" fmla="*/ 2673576 w 7286404"/>
                  <a:gd name="connsiteY21" fmla="*/ 1220193 h 2572796"/>
                  <a:gd name="connsiteX22" fmla="*/ 2842900 w 7286404"/>
                  <a:gd name="connsiteY22" fmla="*/ 1134386 h 2572796"/>
                  <a:gd name="connsiteX23" fmla="*/ 2954393 w 7286404"/>
                  <a:gd name="connsiteY23" fmla="*/ 1018315 h 2572796"/>
                  <a:gd name="connsiteX24" fmla="*/ 3049122 w 7286404"/>
                  <a:gd name="connsiteY24" fmla="*/ 983972 h 2572796"/>
                  <a:gd name="connsiteX25" fmla="*/ 3098558 w 7286404"/>
                  <a:gd name="connsiteY25" fmla="*/ 922270 h 2572796"/>
                  <a:gd name="connsiteX26" fmla="*/ 3153076 w 7286404"/>
                  <a:gd name="connsiteY26" fmla="*/ 882041 h 2572796"/>
                  <a:gd name="connsiteX27" fmla="*/ 3275556 w 7286404"/>
                  <a:gd name="connsiteY27" fmla="*/ 848690 h 2572796"/>
                  <a:gd name="connsiteX28" fmla="*/ 3351756 w 7286404"/>
                  <a:gd name="connsiteY28" fmla="*/ 827816 h 2572796"/>
                  <a:gd name="connsiteX29" fmla="*/ 3580356 w 7286404"/>
                  <a:gd name="connsiteY29" fmla="*/ 736376 h 2572796"/>
                  <a:gd name="connsiteX30" fmla="*/ 3671796 w 7286404"/>
                  <a:gd name="connsiteY30" fmla="*/ 718159 h 2572796"/>
                  <a:gd name="connsiteX31" fmla="*/ 4024886 w 7286404"/>
                  <a:gd name="connsiteY31" fmla="*/ 476304 h 2572796"/>
                  <a:gd name="connsiteX32" fmla="*/ 4284123 w 7286404"/>
                  <a:gd name="connsiteY32" fmla="*/ 448693 h 2572796"/>
                  <a:gd name="connsiteX33" fmla="*/ 4434358 w 7286404"/>
                  <a:gd name="connsiteY33" fmla="*/ 381000 h 2572796"/>
                  <a:gd name="connsiteX34" fmla="*/ 7008716 w 7286404"/>
                  <a:gd name="connsiteY34" fmla="*/ 0 h 2572796"/>
                  <a:gd name="connsiteX35" fmla="*/ 7044586 w 7286404"/>
                  <a:gd name="connsiteY35" fmla="*/ 17942 h 2572796"/>
                  <a:gd name="connsiteX36" fmla="*/ 7141063 w 7286404"/>
                  <a:gd name="connsiteY36" fmla="*/ 31580 h 2572796"/>
                  <a:gd name="connsiteX37" fmla="*/ 7238205 w 7286404"/>
                  <a:gd name="connsiteY37" fmla="*/ 86843 h 2572796"/>
                  <a:gd name="connsiteX38" fmla="*/ 7286404 w 7286404"/>
                  <a:gd name="connsiteY38" fmla="*/ 97075 h 2572796"/>
                  <a:gd name="connsiteX0" fmla="*/ 0 w 7286404"/>
                  <a:gd name="connsiteY0" fmla="*/ 2551061 h 2554853"/>
                  <a:gd name="connsiteX1" fmla="*/ 273276 w 7286404"/>
                  <a:gd name="connsiteY1" fmla="*/ 2554853 h 2554853"/>
                  <a:gd name="connsiteX2" fmla="*/ 348432 w 7286404"/>
                  <a:gd name="connsiteY2" fmla="*/ 2535856 h 2554853"/>
                  <a:gd name="connsiteX3" fmla="*/ 467547 w 7286404"/>
                  <a:gd name="connsiteY3" fmla="*/ 2534971 h 2554853"/>
                  <a:gd name="connsiteX4" fmla="*/ 662378 w 7286404"/>
                  <a:gd name="connsiteY4" fmla="*/ 2452922 h 2554853"/>
                  <a:gd name="connsiteX5" fmla="*/ 791436 w 7286404"/>
                  <a:gd name="connsiteY5" fmla="*/ 2311013 h 2554853"/>
                  <a:gd name="connsiteX6" fmla="*/ 882876 w 7286404"/>
                  <a:gd name="connsiteY6" fmla="*/ 2257673 h 2554853"/>
                  <a:gd name="connsiteX7" fmla="*/ 922379 w 7286404"/>
                  <a:gd name="connsiteY7" fmla="*/ 2193352 h 2554853"/>
                  <a:gd name="connsiteX8" fmla="*/ 1020036 w 7286404"/>
                  <a:gd name="connsiteY8" fmla="*/ 2120513 h 2554853"/>
                  <a:gd name="connsiteX9" fmla="*/ 1217595 w 7286404"/>
                  <a:gd name="connsiteY9" fmla="*/ 1976619 h 2554853"/>
                  <a:gd name="connsiteX10" fmla="*/ 1268714 w 7286404"/>
                  <a:gd name="connsiteY10" fmla="*/ 1937844 h 2554853"/>
                  <a:gd name="connsiteX11" fmla="*/ 1397905 w 7286404"/>
                  <a:gd name="connsiteY11" fmla="*/ 1914666 h 2554853"/>
                  <a:gd name="connsiteX12" fmla="*/ 1515336 w 7286404"/>
                  <a:gd name="connsiteY12" fmla="*/ 1830953 h 2554853"/>
                  <a:gd name="connsiteX13" fmla="*/ 1578944 w 7286404"/>
                  <a:gd name="connsiteY13" fmla="*/ 1822448 h 2554853"/>
                  <a:gd name="connsiteX14" fmla="*/ 1667736 w 7286404"/>
                  <a:gd name="connsiteY14" fmla="*/ 1754753 h 2554853"/>
                  <a:gd name="connsiteX15" fmla="*/ 1753722 w 7286404"/>
                  <a:gd name="connsiteY15" fmla="*/ 1693685 h 2554853"/>
                  <a:gd name="connsiteX16" fmla="*/ 1858236 w 7286404"/>
                  <a:gd name="connsiteY16" fmla="*/ 1587113 h 2554853"/>
                  <a:gd name="connsiteX17" fmla="*/ 1998044 w 7286404"/>
                  <a:gd name="connsiteY17" fmla="*/ 1398598 h 2554853"/>
                  <a:gd name="connsiteX18" fmla="*/ 2117642 w 7286404"/>
                  <a:gd name="connsiteY18" fmla="*/ 1327256 h 2554853"/>
                  <a:gd name="connsiteX19" fmla="*/ 2252793 w 7286404"/>
                  <a:gd name="connsiteY19" fmla="*/ 1258462 h 2554853"/>
                  <a:gd name="connsiteX20" fmla="*/ 2420353 w 7286404"/>
                  <a:gd name="connsiteY20" fmla="*/ 1264309 h 2554853"/>
                  <a:gd name="connsiteX21" fmla="*/ 2673576 w 7286404"/>
                  <a:gd name="connsiteY21" fmla="*/ 1202250 h 2554853"/>
                  <a:gd name="connsiteX22" fmla="*/ 2842900 w 7286404"/>
                  <a:gd name="connsiteY22" fmla="*/ 1116443 h 2554853"/>
                  <a:gd name="connsiteX23" fmla="*/ 2954393 w 7286404"/>
                  <a:gd name="connsiteY23" fmla="*/ 1000372 h 2554853"/>
                  <a:gd name="connsiteX24" fmla="*/ 3049122 w 7286404"/>
                  <a:gd name="connsiteY24" fmla="*/ 966029 h 2554853"/>
                  <a:gd name="connsiteX25" fmla="*/ 3098558 w 7286404"/>
                  <a:gd name="connsiteY25" fmla="*/ 904327 h 2554853"/>
                  <a:gd name="connsiteX26" fmla="*/ 3153076 w 7286404"/>
                  <a:gd name="connsiteY26" fmla="*/ 864098 h 2554853"/>
                  <a:gd name="connsiteX27" fmla="*/ 3275556 w 7286404"/>
                  <a:gd name="connsiteY27" fmla="*/ 830747 h 2554853"/>
                  <a:gd name="connsiteX28" fmla="*/ 3351756 w 7286404"/>
                  <a:gd name="connsiteY28" fmla="*/ 809873 h 2554853"/>
                  <a:gd name="connsiteX29" fmla="*/ 3580356 w 7286404"/>
                  <a:gd name="connsiteY29" fmla="*/ 718433 h 2554853"/>
                  <a:gd name="connsiteX30" fmla="*/ 3671796 w 7286404"/>
                  <a:gd name="connsiteY30" fmla="*/ 700216 h 2554853"/>
                  <a:gd name="connsiteX31" fmla="*/ 4024886 w 7286404"/>
                  <a:gd name="connsiteY31" fmla="*/ 458361 h 2554853"/>
                  <a:gd name="connsiteX32" fmla="*/ 4284123 w 7286404"/>
                  <a:gd name="connsiteY32" fmla="*/ 430750 h 2554853"/>
                  <a:gd name="connsiteX33" fmla="*/ 4434358 w 7286404"/>
                  <a:gd name="connsiteY33" fmla="*/ 363057 h 2554853"/>
                  <a:gd name="connsiteX34" fmla="*/ 7044586 w 7286404"/>
                  <a:gd name="connsiteY34" fmla="*/ -1 h 2554853"/>
                  <a:gd name="connsiteX35" fmla="*/ 7141063 w 7286404"/>
                  <a:gd name="connsiteY35" fmla="*/ 13637 h 2554853"/>
                  <a:gd name="connsiteX36" fmla="*/ 7238205 w 7286404"/>
                  <a:gd name="connsiteY36" fmla="*/ 68900 h 2554853"/>
                  <a:gd name="connsiteX37" fmla="*/ 7286404 w 7286404"/>
                  <a:gd name="connsiteY37" fmla="*/ 79132 h 2554853"/>
                  <a:gd name="connsiteX0" fmla="*/ 0 w 7286404"/>
                  <a:gd name="connsiteY0" fmla="*/ 2537425 h 2541217"/>
                  <a:gd name="connsiteX1" fmla="*/ 273276 w 7286404"/>
                  <a:gd name="connsiteY1" fmla="*/ 2541217 h 2541217"/>
                  <a:gd name="connsiteX2" fmla="*/ 348432 w 7286404"/>
                  <a:gd name="connsiteY2" fmla="*/ 2522220 h 2541217"/>
                  <a:gd name="connsiteX3" fmla="*/ 467547 w 7286404"/>
                  <a:gd name="connsiteY3" fmla="*/ 2521335 h 2541217"/>
                  <a:gd name="connsiteX4" fmla="*/ 662378 w 7286404"/>
                  <a:gd name="connsiteY4" fmla="*/ 2439286 h 2541217"/>
                  <a:gd name="connsiteX5" fmla="*/ 791436 w 7286404"/>
                  <a:gd name="connsiteY5" fmla="*/ 2297377 h 2541217"/>
                  <a:gd name="connsiteX6" fmla="*/ 882876 w 7286404"/>
                  <a:gd name="connsiteY6" fmla="*/ 2244037 h 2541217"/>
                  <a:gd name="connsiteX7" fmla="*/ 922379 w 7286404"/>
                  <a:gd name="connsiteY7" fmla="*/ 2179716 h 2541217"/>
                  <a:gd name="connsiteX8" fmla="*/ 1020036 w 7286404"/>
                  <a:gd name="connsiteY8" fmla="*/ 2106877 h 2541217"/>
                  <a:gd name="connsiteX9" fmla="*/ 1217595 w 7286404"/>
                  <a:gd name="connsiteY9" fmla="*/ 1962983 h 2541217"/>
                  <a:gd name="connsiteX10" fmla="*/ 1268714 w 7286404"/>
                  <a:gd name="connsiteY10" fmla="*/ 1924208 h 2541217"/>
                  <a:gd name="connsiteX11" fmla="*/ 1397905 w 7286404"/>
                  <a:gd name="connsiteY11" fmla="*/ 1901030 h 2541217"/>
                  <a:gd name="connsiteX12" fmla="*/ 1515336 w 7286404"/>
                  <a:gd name="connsiteY12" fmla="*/ 1817317 h 2541217"/>
                  <a:gd name="connsiteX13" fmla="*/ 1578944 w 7286404"/>
                  <a:gd name="connsiteY13" fmla="*/ 1808812 h 2541217"/>
                  <a:gd name="connsiteX14" fmla="*/ 1667736 w 7286404"/>
                  <a:gd name="connsiteY14" fmla="*/ 1741117 h 2541217"/>
                  <a:gd name="connsiteX15" fmla="*/ 1753722 w 7286404"/>
                  <a:gd name="connsiteY15" fmla="*/ 1680049 h 2541217"/>
                  <a:gd name="connsiteX16" fmla="*/ 1858236 w 7286404"/>
                  <a:gd name="connsiteY16" fmla="*/ 1573477 h 2541217"/>
                  <a:gd name="connsiteX17" fmla="*/ 1998044 w 7286404"/>
                  <a:gd name="connsiteY17" fmla="*/ 1384962 h 2541217"/>
                  <a:gd name="connsiteX18" fmla="*/ 2117642 w 7286404"/>
                  <a:gd name="connsiteY18" fmla="*/ 1313620 h 2541217"/>
                  <a:gd name="connsiteX19" fmla="*/ 2252793 w 7286404"/>
                  <a:gd name="connsiteY19" fmla="*/ 1244826 h 2541217"/>
                  <a:gd name="connsiteX20" fmla="*/ 2420353 w 7286404"/>
                  <a:gd name="connsiteY20" fmla="*/ 1250673 h 2541217"/>
                  <a:gd name="connsiteX21" fmla="*/ 2673576 w 7286404"/>
                  <a:gd name="connsiteY21" fmla="*/ 1188614 h 2541217"/>
                  <a:gd name="connsiteX22" fmla="*/ 2842900 w 7286404"/>
                  <a:gd name="connsiteY22" fmla="*/ 1102807 h 2541217"/>
                  <a:gd name="connsiteX23" fmla="*/ 2954393 w 7286404"/>
                  <a:gd name="connsiteY23" fmla="*/ 986736 h 2541217"/>
                  <a:gd name="connsiteX24" fmla="*/ 3049122 w 7286404"/>
                  <a:gd name="connsiteY24" fmla="*/ 952393 h 2541217"/>
                  <a:gd name="connsiteX25" fmla="*/ 3098558 w 7286404"/>
                  <a:gd name="connsiteY25" fmla="*/ 890691 h 2541217"/>
                  <a:gd name="connsiteX26" fmla="*/ 3153076 w 7286404"/>
                  <a:gd name="connsiteY26" fmla="*/ 850462 h 2541217"/>
                  <a:gd name="connsiteX27" fmla="*/ 3275556 w 7286404"/>
                  <a:gd name="connsiteY27" fmla="*/ 817111 h 2541217"/>
                  <a:gd name="connsiteX28" fmla="*/ 3351756 w 7286404"/>
                  <a:gd name="connsiteY28" fmla="*/ 796237 h 2541217"/>
                  <a:gd name="connsiteX29" fmla="*/ 3580356 w 7286404"/>
                  <a:gd name="connsiteY29" fmla="*/ 704797 h 2541217"/>
                  <a:gd name="connsiteX30" fmla="*/ 3671796 w 7286404"/>
                  <a:gd name="connsiteY30" fmla="*/ 686580 h 2541217"/>
                  <a:gd name="connsiteX31" fmla="*/ 4024886 w 7286404"/>
                  <a:gd name="connsiteY31" fmla="*/ 444725 h 2541217"/>
                  <a:gd name="connsiteX32" fmla="*/ 4284123 w 7286404"/>
                  <a:gd name="connsiteY32" fmla="*/ 417114 h 2541217"/>
                  <a:gd name="connsiteX33" fmla="*/ 4434358 w 7286404"/>
                  <a:gd name="connsiteY33" fmla="*/ 349421 h 2541217"/>
                  <a:gd name="connsiteX34" fmla="*/ 7141063 w 7286404"/>
                  <a:gd name="connsiteY34" fmla="*/ 1 h 2541217"/>
                  <a:gd name="connsiteX35" fmla="*/ 7238205 w 7286404"/>
                  <a:gd name="connsiteY35" fmla="*/ 55264 h 2541217"/>
                  <a:gd name="connsiteX36" fmla="*/ 7286404 w 7286404"/>
                  <a:gd name="connsiteY36" fmla="*/ 65496 h 2541217"/>
                  <a:gd name="connsiteX0" fmla="*/ 0 w 7286404"/>
                  <a:gd name="connsiteY0" fmla="*/ 2482160 h 2485952"/>
                  <a:gd name="connsiteX1" fmla="*/ 273276 w 7286404"/>
                  <a:gd name="connsiteY1" fmla="*/ 2485952 h 2485952"/>
                  <a:gd name="connsiteX2" fmla="*/ 348432 w 7286404"/>
                  <a:gd name="connsiteY2" fmla="*/ 2466955 h 2485952"/>
                  <a:gd name="connsiteX3" fmla="*/ 467547 w 7286404"/>
                  <a:gd name="connsiteY3" fmla="*/ 2466070 h 2485952"/>
                  <a:gd name="connsiteX4" fmla="*/ 662378 w 7286404"/>
                  <a:gd name="connsiteY4" fmla="*/ 2384021 h 2485952"/>
                  <a:gd name="connsiteX5" fmla="*/ 791436 w 7286404"/>
                  <a:gd name="connsiteY5" fmla="*/ 2242112 h 2485952"/>
                  <a:gd name="connsiteX6" fmla="*/ 882876 w 7286404"/>
                  <a:gd name="connsiteY6" fmla="*/ 2188772 h 2485952"/>
                  <a:gd name="connsiteX7" fmla="*/ 922379 w 7286404"/>
                  <a:gd name="connsiteY7" fmla="*/ 2124451 h 2485952"/>
                  <a:gd name="connsiteX8" fmla="*/ 1020036 w 7286404"/>
                  <a:gd name="connsiteY8" fmla="*/ 2051612 h 2485952"/>
                  <a:gd name="connsiteX9" fmla="*/ 1217595 w 7286404"/>
                  <a:gd name="connsiteY9" fmla="*/ 1907718 h 2485952"/>
                  <a:gd name="connsiteX10" fmla="*/ 1268714 w 7286404"/>
                  <a:gd name="connsiteY10" fmla="*/ 1868943 h 2485952"/>
                  <a:gd name="connsiteX11" fmla="*/ 1397905 w 7286404"/>
                  <a:gd name="connsiteY11" fmla="*/ 1845765 h 2485952"/>
                  <a:gd name="connsiteX12" fmla="*/ 1515336 w 7286404"/>
                  <a:gd name="connsiteY12" fmla="*/ 1762052 h 2485952"/>
                  <a:gd name="connsiteX13" fmla="*/ 1578944 w 7286404"/>
                  <a:gd name="connsiteY13" fmla="*/ 1753547 h 2485952"/>
                  <a:gd name="connsiteX14" fmla="*/ 1667736 w 7286404"/>
                  <a:gd name="connsiteY14" fmla="*/ 1685852 h 2485952"/>
                  <a:gd name="connsiteX15" fmla="*/ 1753722 w 7286404"/>
                  <a:gd name="connsiteY15" fmla="*/ 1624784 h 2485952"/>
                  <a:gd name="connsiteX16" fmla="*/ 1858236 w 7286404"/>
                  <a:gd name="connsiteY16" fmla="*/ 1518212 h 2485952"/>
                  <a:gd name="connsiteX17" fmla="*/ 1998044 w 7286404"/>
                  <a:gd name="connsiteY17" fmla="*/ 1329697 h 2485952"/>
                  <a:gd name="connsiteX18" fmla="*/ 2117642 w 7286404"/>
                  <a:gd name="connsiteY18" fmla="*/ 1258355 h 2485952"/>
                  <a:gd name="connsiteX19" fmla="*/ 2252793 w 7286404"/>
                  <a:gd name="connsiteY19" fmla="*/ 1189561 h 2485952"/>
                  <a:gd name="connsiteX20" fmla="*/ 2420353 w 7286404"/>
                  <a:gd name="connsiteY20" fmla="*/ 1195408 h 2485952"/>
                  <a:gd name="connsiteX21" fmla="*/ 2673576 w 7286404"/>
                  <a:gd name="connsiteY21" fmla="*/ 1133349 h 2485952"/>
                  <a:gd name="connsiteX22" fmla="*/ 2842900 w 7286404"/>
                  <a:gd name="connsiteY22" fmla="*/ 1047542 h 2485952"/>
                  <a:gd name="connsiteX23" fmla="*/ 2954393 w 7286404"/>
                  <a:gd name="connsiteY23" fmla="*/ 931471 h 2485952"/>
                  <a:gd name="connsiteX24" fmla="*/ 3049122 w 7286404"/>
                  <a:gd name="connsiteY24" fmla="*/ 897128 h 2485952"/>
                  <a:gd name="connsiteX25" fmla="*/ 3098558 w 7286404"/>
                  <a:gd name="connsiteY25" fmla="*/ 835426 h 2485952"/>
                  <a:gd name="connsiteX26" fmla="*/ 3153076 w 7286404"/>
                  <a:gd name="connsiteY26" fmla="*/ 795197 h 2485952"/>
                  <a:gd name="connsiteX27" fmla="*/ 3275556 w 7286404"/>
                  <a:gd name="connsiteY27" fmla="*/ 761846 h 2485952"/>
                  <a:gd name="connsiteX28" fmla="*/ 3351756 w 7286404"/>
                  <a:gd name="connsiteY28" fmla="*/ 740972 h 2485952"/>
                  <a:gd name="connsiteX29" fmla="*/ 3580356 w 7286404"/>
                  <a:gd name="connsiteY29" fmla="*/ 649532 h 2485952"/>
                  <a:gd name="connsiteX30" fmla="*/ 3671796 w 7286404"/>
                  <a:gd name="connsiteY30" fmla="*/ 631315 h 2485952"/>
                  <a:gd name="connsiteX31" fmla="*/ 4024886 w 7286404"/>
                  <a:gd name="connsiteY31" fmla="*/ 389460 h 2485952"/>
                  <a:gd name="connsiteX32" fmla="*/ 4284123 w 7286404"/>
                  <a:gd name="connsiteY32" fmla="*/ 361849 h 2485952"/>
                  <a:gd name="connsiteX33" fmla="*/ 4434358 w 7286404"/>
                  <a:gd name="connsiteY33" fmla="*/ 294156 h 2485952"/>
                  <a:gd name="connsiteX34" fmla="*/ 7238205 w 7286404"/>
                  <a:gd name="connsiteY34" fmla="*/ -1 h 2485952"/>
                  <a:gd name="connsiteX35" fmla="*/ 7286404 w 7286404"/>
                  <a:gd name="connsiteY35" fmla="*/ 10231 h 2485952"/>
                  <a:gd name="connsiteX0" fmla="*/ 0 w 7286404"/>
                  <a:gd name="connsiteY0" fmla="*/ 2471928 h 2475720"/>
                  <a:gd name="connsiteX1" fmla="*/ 273276 w 7286404"/>
                  <a:gd name="connsiteY1" fmla="*/ 2475720 h 2475720"/>
                  <a:gd name="connsiteX2" fmla="*/ 348432 w 7286404"/>
                  <a:gd name="connsiteY2" fmla="*/ 2456723 h 2475720"/>
                  <a:gd name="connsiteX3" fmla="*/ 467547 w 7286404"/>
                  <a:gd name="connsiteY3" fmla="*/ 2455838 h 2475720"/>
                  <a:gd name="connsiteX4" fmla="*/ 662378 w 7286404"/>
                  <a:gd name="connsiteY4" fmla="*/ 2373789 h 2475720"/>
                  <a:gd name="connsiteX5" fmla="*/ 791436 w 7286404"/>
                  <a:gd name="connsiteY5" fmla="*/ 2231880 h 2475720"/>
                  <a:gd name="connsiteX6" fmla="*/ 882876 w 7286404"/>
                  <a:gd name="connsiteY6" fmla="*/ 2178540 h 2475720"/>
                  <a:gd name="connsiteX7" fmla="*/ 922379 w 7286404"/>
                  <a:gd name="connsiteY7" fmla="*/ 2114219 h 2475720"/>
                  <a:gd name="connsiteX8" fmla="*/ 1020036 w 7286404"/>
                  <a:gd name="connsiteY8" fmla="*/ 2041380 h 2475720"/>
                  <a:gd name="connsiteX9" fmla="*/ 1217595 w 7286404"/>
                  <a:gd name="connsiteY9" fmla="*/ 1897486 h 2475720"/>
                  <a:gd name="connsiteX10" fmla="*/ 1268714 w 7286404"/>
                  <a:gd name="connsiteY10" fmla="*/ 1858711 h 2475720"/>
                  <a:gd name="connsiteX11" fmla="*/ 1397905 w 7286404"/>
                  <a:gd name="connsiteY11" fmla="*/ 1835533 h 2475720"/>
                  <a:gd name="connsiteX12" fmla="*/ 1515336 w 7286404"/>
                  <a:gd name="connsiteY12" fmla="*/ 1751820 h 2475720"/>
                  <a:gd name="connsiteX13" fmla="*/ 1578944 w 7286404"/>
                  <a:gd name="connsiteY13" fmla="*/ 1743315 h 2475720"/>
                  <a:gd name="connsiteX14" fmla="*/ 1667736 w 7286404"/>
                  <a:gd name="connsiteY14" fmla="*/ 1675620 h 2475720"/>
                  <a:gd name="connsiteX15" fmla="*/ 1753722 w 7286404"/>
                  <a:gd name="connsiteY15" fmla="*/ 1614552 h 2475720"/>
                  <a:gd name="connsiteX16" fmla="*/ 1858236 w 7286404"/>
                  <a:gd name="connsiteY16" fmla="*/ 1507980 h 2475720"/>
                  <a:gd name="connsiteX17" fmla="*/ 1998044 w 7286404"/>
                  <a:gd name="connsiteY17" fmla="*/ 1319465 h 2475720"/>
                  <a:gd name="connsiteX18" fmla="*/ 2117642 w 7286404"/>
                  <a:gd name="connsiteY18" fmla="*/ 1248123 h 2475720"/>
                  <a:gd name="connsiteX19" fmla="*/ 2252793 w 7286404"/>
                  <a:gd name="connsiteY19" fmla="*/ 1179329 h 2475720"/>
                  <a:gd name="connsiteX20" fmla="*/ 2420353 w 7286404"/>
                  <a:gd name="connsiteY20" fmla="*/ 1185176 h 2475720"/>
                  <a:gd name="connsiteX21" fmla="*/ 2673576 w 7286404"/>
                  <a:gd name="connsiteY21" fmla="*/ 1123117 h 2475720"/>
                  <a:gd name="connsiteX22" fmla="*/ 2842900 w 7286404"/>
                  <a:gd name="connsiteY22" fmla="*/ 1037310 h 2475720"/>
                  <a:gd name="connsiteX23" fmla="*/ 2954393 w 7286404"/>
                  <a:gd name="connsiteY23" fmla="*/ 921239 h 2475720"/>
                  <a:gd name="connsiteX24" fmla="*/ 3049122 w 7286404"/>
                  <a:gd name="connsiteY24" fmla="*/ 886896 h 2475720"/>
                  <a:gd name="connsiteX25" fmla="*/ 3098558 w 7286404"/>
                  <a:gd name="connsiteY25" fmla="*/ 825194 h 2475720"/>
                  <a:gd name="connsiteX26" fmla="*/ 3153076 w 7286404"/>
                  <a:gd name="connsiteY26" fmla="*/ 784965 h 2475720"/>
                  <a:gd name="connsiteX27" fmla="*/ 3275556 w 7286404"/>
                  <a:gd name="connsiteY27" fmla="*/ 751614 h 2475720"/>
                  <a:gd name="connsiteX28" fmla="*/ 3351756 w 7286404"/>
                  <a:gd name="connsiteY28" fmla="*/ 730740 h 2475720"/>
                  <a:gd name="connsiteX29" fmla="*/ 3580356 w 7286404"/>
                  <a:gd name="connsiteY29" fmla="*/ 639300 h 2475720"/>
                  <a:gd name="connsiteX30" fmla="*/ 3671796 w 7286404"/>
                  <a:gd name="connsiteY30" fmla="*/ 621083 h 2475720"/>
                  <a:gd name="connsiteX31" fmla="*/ 4024886 w 7286404"/>
                  <a:gd name="connsiteY31" fmla="*/ 379228 h 2475720"/>
                  <a:gd name="connsiteX32" fmla="*/ 4284123 w 7286404"/>
                  <a:gd name="connsiteY32" fmla="*/ 351617 h 2475720"/>
                  <a:gd name="connsiteX33" fmla="*/ 4434358 w 7286404"/>
                  <a:gd name="connsiteY33" fmla="*/ 283924 h 2475720"/>
                  <a:gd name="connsiteX34" fmla="*/ 7286404 w 7286404"/>
                  <a:gd name="connsiteY34" fmla="*/ -1 h 2475720"/>
                  <a:gd name="connsiteX0" fmla="*/ 0 w 4434358"/>
                  <a:gd name="connsiteY0" fmla="*/ 2188004 h 2191796"/>
                  <a:gd name="connsiteX1" fmla="*/ 273276 w 4434358"/>
                  <a:gd name="connsiteY1" fmla="*/ 2191796 h 2191796"/>
                  <a:gd name="connsiteX2" fmla="*/ 348432 w 4434358"/>
                  <a:gd name="connsiteY2" fmla="*/ 2172799 h 2191796"/>
                  <a:gd name="connsiteX3" fmla="*/ 467547 w 4434358"/>
                  <a:gd name="connsiteY3" fmla="*/ 2171914 h 2191796"/>
                  <a:gd name="connsiteX4" fmla="*/ 662378 w 4434358"/>
                  <a:gd name="connsiteY4" fmla="*/ 2089865 h 2191796"/>
                  <a:gd name="connsiteX5" fmla="*/ 791436 w 4434358"/>
                  <a:gd name="connsiteY5" fmla="*/ 1947956 h 2191796"/>
                  <a:gd name="connsiteX6" fmla="*/ 882876 w 4434358"/>
                  <a:gd name="connsiteY6" fmla="*/ 1894616 h 2191796"/>
                  <a:gd name="connsiteX7" fmla="*/ 922379 w 4434358"/>
                  <a:gd name="connsiteY7" fmla="*/ 1830295 h 2191796"/>
                  <a:gd name="connsiteX8" fmla="*/ 1020036 w 4434358"/>
                  <a:gd name="connsiteY8" fmla="*/ 1757456 h 2191796"/>
                  <a:gd name="connsiteX9" fmla="*/ 1217595 w 4434358"/>
                  <a:gd name="connsiteY9" fmla="*/ 1613562 h 2191796"/>
                  <a:gd name="connsiteX10" fmla="*/ 1268714 w 4434358"/>
                  <a:gd name="connsiteY10" fmla="*/ 1574787 h 2191796"/>
                  <a:gd name="connsiteX11" fmla="*/ 1397905 w 4434358"/>
                  <a:gd name="connsiteY11" fmla="*/ 1551609 h 2191796"/>
                  <a:gd name="connsiteX12" fmla="*/ 1515336 w 4434358"/>
                  <a:gd name="connsiteY12" fmla="*/ 1467896 h 2191796"/>
                  <a:gd name="connsiteX13" fmla="*/ 1578944 w 4434358"/>
                  <a:gd name="connsiteY13" fmla="*/ 1459391 h 2191796"/>
                  <a:gd name="connsiteX14" fmla="*/ 1667736 w 4434358"/>
                  <a:gd name="connsiteY14" fmla="*/ 1391696 h 2191796"/>
                  <a:gd name="connsiteX15" fmla="*/ 1753722 w 4434358"/>
                  <a:gd name="connsiteY15" fmla="*/ 1330628 h 2191796"/>
                  <a:gd name="connsiteX16" fmla="*/ 1858236 w 4434358"/>
                  <a:gd name="connsiteY16" fmla="*/ 1224056 h 2191796"/>
                  <a:gd name="connsiteX17" fmla="*/ 1998044 w 4434358"/>
                  <a:gd name="connsiteY17" fmla="*/ 1035541 h 2191796"/>
                  <a:gd name="connsiteX18" fmla="*/ 2117642 w 4434358"/>
                  <a:gd name="connsiteY18" fmla="*/ 964199 h 2191796"/>
                  <a:gd name="connsiteX19" fmla="*/ 2252793 w 4434358"/>
                  <a:gd name="connsiteY19" fmla="*/ 895405 h 2191796"/>
                  <a:gd name="connsiteX20" fmla="*/ 2420353 w 4434358"/>
                  <a:gd name="connsiteY20" fmla="*/ 901252 h 2191796"/>
                  <a:gd name="connsiteX21" fmla="*/ 2673576 w 4434358"/>
                  <a:gd name="connsiteY21" fmla="*/ 839193 h 2191796"/>
                  <a:gd name="connsiteX22" fmla="*/ 2842900 w 4434358"/>
                  <a:gd name="connsiteY22" fmla="*/ 753386 h 2191796"/>
                  <a:gd name="connsiteX23" fmla="*/ 2954393 w 4434358"/>
                  <a:gd name="connsiteY23" fmla="*/ 637315 h 2191796"/>
                  <a:gd name="connsiteX24" fmla="*/ 3049122 w 4434358"/>
                  <a:gd name="connsiteY24" fmla="*/ 602972 h 2191796"/>
                  <a:gd name="connsiteX25" fmla="*/ 3098558 w 4434358"/>
                  <a:gd name="connsiteY25" fmla="*/ 541270 h 2191796"/>
                  <a:gd name="connsiteX26" fmla="*/ 3153076 w 4434358"/>
                  <a:gd name="connsiteY26" fmla="*/ 501041 h 2191796"/>
                  <a:gd name="connsiteX27" fmla="*/ 3275556 w 4434358"/>
                  <a:gd name="connsiteY27" fmla="*/ 467690 h 2191796"/>
                  <a:gd name="connsiteX28" fmla="*/ 3351756 w 4434358"/>
                  <a:gd name="connsiteY28" fmla="*/ 446816 h 2191796"/>
                  <a:gd name="connsiteX29" fmla="*/ 3580356 w 4434358"/>
                  <a:gd name="connsiteY29" fmla="*/ 355376 h 2191796"/>
                  <a:gd name="connsiteX30" fmla="*/ 3671796 w 4434358"/>
                  <a:gd name="connsiteY30" fmla="*/ 337159 h 2191796"/>
                  <a:gd name="connsiteX31" fmla="*/ 4024886 w 4434358"/>
                  <a:gd name="connsiteY31" fmla="*/ 95304 h 2191796"/>
                  <a:gd name="connsiteX32" fmla="*/ 4284123 w 4434358"/>
                  <a:gd name="connsiteY32" fmla="*/ 67693 h 2191796"/>
                  <a:gd name="connsiteX33" fmla="*/ 4434358 w 4434358"/>
                  <a:gd name="connsiteY33" fmla="*/ 0 h 2191796"/>
                  <a:gd name="connsiteX0" fmla="*/ 0 w 4434358"/>
                  <a:gd name="connsiteY0" fmla="*/ 2188004 h 2191796"/>
                  <a:gd name="connsiteX1" fmla="*/ 273276 w 4434358"/>
                  <a:gd name="connsiteY1" fmla="*/ 2191796 h 2191796"/>
                  <a:gd name="connsiteX2" fmla="*/ 348432 w 4434358"/>
                  <a:gd name="connsiteY2" fmla="*/ 2172799 h 2191796"/>
                  <a:gd name="connsiteX3" fmla="*/ 467547 w 4434358"/>
                  <a:gd name="connsiteY3" fmla="*/ 2171914 h 2191796"/>
                  <a:gd name="connsiteX4" fmla="*/ 662378 w 4434358"/>
                  <a:gd name="connsiteY4" fmla="*/ 2089865 h 2191796"/>
                  <a:gd name="connsiteX5" fmla="*/ 791436 w 4434358"/>
                  <a:gd name="connsiteY5" fmla="*/ 1947956 h 2191796"/>
                  <a:gd name="connsiteX6" fmla="*/ 882876 w 4434358"/>
                  <a:gd name="connsiteY6" fmla="*/ 1894616 h 2191796"/>
                  <a:gd name="connsiteX7" fmla="*/ 922379 w 4434358"/>
                  <a:gd name="connsiteY7" fmla="*/ 1830295 h 2191796"/>
                  <a:gd name="connsiteX8" fmla="*/ 1020036 w 4434358"/>
                  <a:gd name="connsiteY8" fmla="*/ 1757456 h 2191796"/>
                  <a:gd name="connsiteX9" fmla="*/ 1217595 w 4434358"/>
                  <a:gd name="connsiteY9" fmla="*/ 1613562 h 2191796"/>
                  <a:gd name="connsiteX10" fmla="*/ 1268714 w 4434358"/>
                  <a:gd name="connsiteY10" fmla="*/ 1574787 h 2191796"/>
                  <a:gd name="connsiteX11" fmla="*/ 1397905 w 4434358"/>
                  <a:gd name="connsiteY11" fmla="*/ 1551609 h 2191796"/>
                  <a:gd name="connsiteX12" fmla="*/ 1515336 w 4434358"/>
                  <a:gd name="connsiteY12" fmla="*/ 1467896 h 2191796"/>
                  <a:gd name="connsiteX13" fmla="*/ 1578944 w 4434358"/>
                  <a:gd name="connsiteY13" fmla="*/ 1459391 h 2191796"/>
                  <a:gd name="connsiteX14" fmla="*/ 1667736 w 4434358"/>
                  <a:gd name="connsiteY14" fmla="*/ 1391696 h 2191796"/>
                  <a:gd name="connsiteX15" fmla="*/ 1753722 w 4434358"/>
                  <a:gd name="connsiteY15" fmla="*/ 1330628 h 2191796"/>
                  <a:gd name="connsiteX16" fmla="*/ 1858236 w 4434358"/>
                  <a:gd name="connsiteY16" fmla="*/ 1224056 h 2191796"/>
                  <a:gd name="connsiteX17" fmla="*/ 1998044 w 4434358"/>
                  <a:gd name="connsiteY17" fmla="*/ 1035541 h 2191796"/>
                  <a:gd name="connsiteX18" fmla="*/ 2117642 w 4434358"/>
                  <a:gd name="connsiteY18" fmla="*/ 964199 h 2191796"/>
                  <a:gd name="connsiteX19" fmla="*/ 2252793 w 4434358"/>
                  <a:gd name="connsiteY19" fmla="*/ 895405 h 2191796"/>
                  <a:gd name="connsiteX20" fmla="*/ 2420353 w 4434358"/>
                  <a:gd name="connsiteY20" fmla="*/ 901252 h 2191796"/>
                  <a:gd name="connsiteX21" fmla="*/ 2673576 w 4434358"/>
                  <a:gd name="connsiteY21" fmla="*/ 839193 h 2191796"/>
                  <a:gd name="connsiteX22" fmla="*/ 2842900 w 4434358"/>
                  <a:gd name="connsiteY22" fmla="*/ 753386 h 2191796"/>
                  <a:gd name="connsiteX23" fmla="*/ 2954393 w 4434358"/>
                  <a:gd name="connsiteY23" fmla="*/ 637315 h 2191796"/>
                  <a:gd name="connsiteX24" fmla="*/ 3049122 w 4434358"/>
                  <a:gd name="connsiteY24" fmla="*/ 602972 h 2191796"/>
                  <a:gd name="connsiteX25" fmla="*/ 3098558 w 4434358"/>
                  <a:gd name="connsiteY25" fmla="*/ 541270 h 2191796"/>
                  <a:gd name="connsiteX26" fmla="*/ 3153076 w 4434358"/>
                  <a:gd name="connsiteY26" fmla="*/ 501041 h 2191796"/>
                  <a:gd name="connsiteX27" fmla="*/ 3275556 w 4434358"/>
                  <a:gd name="connsiteY27" fmla="*/ 467690 h 2191796"/>
                  <a:gd name="connsiteX28" fmla="*/ 3351756 w 4434358"/>
                  <a:gd name="connsiteY28" fmla="*/ 446816 h 2191796"/>
                  <a:gd name="connsiteX29" fmla="*/ 3580356 w 4434358"/>
                  <a:gd name="connsiteY29" fmla="*/ 355376 h 2191796"/>
                  <a:gd name="connsiteX30" fmla="*/ 3671796 w 4434358"/>
                  <a:gd name="connsiteY30" fmla="*/ 337159 h 2191796"/>
                  <a:gd name="connsiteX31" fmla="*/ 4024886 w 4434358"/>
                  <a:gd name="connsiteY31" fmla="*/ 95304 h 2191796"/>
                  <a:gd name="connsiteX32" fmla="*/ 4434358 w 4434358"/>
                  <a:gd name="connsiteY32" fmla="*/ 0 h 2191796"/>
                  <a:gd name="connsiteX0" fmla="*/ 0 w 4024885"/>
                  <a:gd name="connsiteY0" fmla="*/ 2092701 h 2096493"/>
                  <a:gd name="connsiteX1" fmla="*/ 273276 w 4024885"/>
                  <a:gd name="connsiteY1" fmla="*/ 2096493 h 2096493"/>
                  <a:gd name="connsiteX2" fmla="*/ 348432 w 4024885"/>
                  <a:gd name="connsiteY2" fmla="*/ 2077496 h 2096493"/>
                  <a:gd name="connsiteX3" fmla="*/ 467547 w 4024885"/>
                  <a:gd name="connsiteY3" fmla="*/ 2076611 h 2096493"/>
                  <a:gd name="connsiteX4" fmla="*/ 662378 w 4024885"/>
                  <a:gd name="connsiteY4" fmla="*/ 1994562 h 2096493"/>
                  <a:gd name="connsiteX5" fmla="*/ 791436 w 4024885"/>
                  <a:gd name="connsiteY5" fmla="*/ 1852653 h 2096493"/>
                  <a:gd name="connsiteX6" fmla="*/ 882876 w 4024885"/>
                  <a:gd name="connsiteY6" fmla="*/ 1799313 h 2096493"/>
                  <a:gd name="connsiteX7" fmla="*/ 922379 w 4024885"/>
                  <a:gd name="connsiteY7" fmla="*/ 1734992 h 2096493"/>
                  <a:gd name="connsiteX8" fmla="*/ 1020036 w 4024885"/>
                  <a:gd name="connsiteY8" fmla="*/ 1662153 h 2096493"/>
                  <a:gd name="connsiteX9" fmla="*/ 1217595 w 4024885"/>
                  <a:gd name="connsiteY9" fmla="*/ 1518259 h 2096493"/>
                  <a:gd name="connsiteX10" fmla="*/ 1268714 w 4024885"/>
                  <a:gd name="connsiteY10" fmla="*/ 1479484 h 2096493"/>
                  <a:gd name="connsiteX11" fmla="*/ 1397905 w 4024885"/>
                  <a:gd name="connsiteY11" fmla="*/ 1456306 h 2096493"/>
                  <a:gd name="connsiteX12" fmla="*/ 1515336 w 4024885"/>
                  <a:gd name="connsiteY12" fmla="*/ 1372593 h 2096493"/>
                  <a:gd name="connsiteX13" fmla="*/ 1578944 w 4024885"/>
                  <a:gd name="connsiteY13" fmla="*/ 1364088 h 2096493"/>
                  <a:gd name="connsiteX14" fmla="*/ 1667736 w 4024885"/>
                  <a:gd name="connsiteY14" fmla="*/ 1296393 h 2096493"/>
                  <a:gd name="connsiteX15" fmla="*/ 1753722 w 4024885"/>
                  <a:gd name="connsiteY15" fmla="*/ 1235325 h 2096493"/>
                  <a:gd name="connsiteX16" fmla="*/ 1858236 w 4024885"/>
                  <a:gd name="connsiteY16" fmla="*/ 1128753 h 2096493"/>
                  <a:gd name="connsiteX17" fmla="*/ 1998044 w 4024885"/>
                  <a:gd name="connsiteY17" fmla="*/ 940238 h 2096493"/>
                  <a:gd name="connsiteX18" fmla="*/ 2117642 w 4024885"/>
                  <a:gd name="connsiteY18" fmla="*/ 868896 h 2096493"/>
                  <a:gd name="connsiteX19" fmla="*/ 2252793 w 4024885"/>
                  <a:gd name="connsiteY19" fmla="*/ 800102 h 2096493"/>
                  <a:gd name="connsiteX20" fmla="*/ 2420353 w 4024885"/>
                  <a:gd name="connsiteY20" fmla="*/ 805949 h 2096493"/>
                  <a:gd name="connsiteX21" fmla="*/ 2673576 w 4024885"/>
                  <a:gd name="connsiteY21" fmla="*/ 743890 h 2096493"/>
                  <a:gd name="connsiteX22" fmla="*/ 2842900 w 4024885"/>
                  <a:gd name="connsiteY22" fmla="*/ 658083 h 2096493"/>
                  <a:gd name="connsiteX23" fmla="*/ 2954393 w 4024885"/>
                  <a:gd name="connsiteY23" fmla="*/ 542012 h 2096493"/>
                  <a:gd name="connsiteX24" fmla="*/ 3049122 w 4024885"/>
                  <a:gd name="connsiteY24" fmla="*/ 507669 h 2096493"/>
                  <a:gd name="connsiteX25" fmla="*/ 3098558 w 4024885"/>
                  <a:gd name="connsiteY25" fmla="*/ 445967 h 2096493"/>
                  <a:gd name="connsiteX26" fmla="*/ 3153076 w 4024885"/>
                  <a:gd name="connsiteY26" fmla="*/ 405738 h 2096493"/>
                  <a:gd name="connsiteX27" fmla="*/ 3275556 w 4024885"/>
                  <a:gd name="connsiteY27" fmla="*/ 372387 h 2096493"/>
                  <a:gd name="connsiteX28" fmla="*/ 3351756 w 4024885"/>
                  <a:gd name="connsiteY28" fmla="*/ 351513 h 2096493"/>
                  <a:gd name="connsiteX29" fmla="*/ 3580356 w 4024885"/>
                  <a:gd name="connsiteY29" fmla="*/ 260073 h 2096493"/>
                  <a:gd name="connsiteX30" fmla="*/ 3671796 w 4024885"/>
                  <a:gd name="connsiteY30" fmla="*/ 241856 h 2096493"/>
                  <a:gd name="connsiteX31" fmla="*/ 4024886 w 4024885"/>
                  <a:gd name="connsiteY31" fmla="*/ 1 h 2096493"/>
                  <a:gd name="connsiteX0" fmla="*/ 0 w 3671797"/>
                  <a:gd name="connsiteY0" fmla="*/ 1850846 h 1854638"/>
                  <a:gd name="connsiteX1" fmla="*/ 273276 w 3671797"/>
                  <a:gd name="connsiteY1" fmla="*/ 1854638 h 1854638"/>
                  <a:gd name="connsiteX2" fmla="*/ 348432 w 3671797"/>
                  <a:gd name="connsiteY2" fmla="*/ 1835641 h 1854638"/>
                  <a:gd name="connsiteX3" fmla="*/ 467547 w 3671797"/>
                  <a:gd name="connsiteY3" fmla="*/ 1834756 h 1854638"/>
                  <a:gd name="connsiteX4" fmla="*/ 662378 w 3671797"/>
                  <a:gd name="connsiteY4" fmla="*/ 1752707 h 1854638"/>
                  <a:gd name="connsiteX5" fmla="*/ 791436 w 3671797"/>
                  <a:gd name="connsiteY5" fmla="*/ 1610798 h 1854638"/>
                  <a:gd name="connsiteX6" fmla="*/ 882876 w 3671797"/>
                  <a:gd name="connsiteY6" fmla="*/ 1557458 h 1854638"/>
                  <a:gd name="connsiteX7" fmla="*/ 922379 w 3671797"/>
                  <a:gd name="connsiteY7" fmla="*/ 1493137 h 1854638"/>
                  <a:gd name="connsiteX8" fmla="*/ 1020036 w 3671797"/>
                  <a:gd name="connsiteY8" fmla="*/ 1420298 h 1854638"/>
                  <a:gd name="connsiteX9" fmla="*/ 1217595 w 3671797"/>
                  <a:gd name="connsiteY9" fmla="*/ 1276404 h 1854638"/>
                  <a:gd name="connsiteX10" fmla="*/ 1268714 w 3671797"/>
                  <a:gd name="connsiteY10" fmla="*/ 1237629 h 1854638"/>
                  <a:gd name="connsiteX11" fmla="*/ 1397905 w 3671797"/>
                  <a:gd name="connsiteY11" fmla="*/ 1214451 h 1854638"/>
                  <a:gd name="connsiteX12" fmla="*/ 1515336 w 3671797"/>
                  <a:gd name="connsiteY12" fmla="*/ 1130738 h 1854638"/>
                  <a:gd name="connsiteX13" fmla="*/ 1578944 w 3671797"/>
                  <a:gd name="connsiteY13" fmla="*/ 1122233 h 1854638"/>
                  <a:gd name="connsiteX14" fmla="*/ 1667736 w 3671797"/>
                  <a:gd name="connsiteY14" fmla="*/ 1054538 h 1854638"/>
                  <a:gd name="connsiteX15" fmla="*/ 1753722 w 3671797"/>
                  <a:gd name="connsiteY15" fmla="*/ 993470 h 1854638"/>
                  <a:gd name="connsiteX16" fmla="*/ 1858236 w 3671797"/>
                  <a:gd name="connsiteY16" fmla="*/ 886898 h 1854638"/>
                  <a:gd name="connsiteX17" fmla="*/ 1998044 w 3671797"/>
                  <a:gd name="connsiteY17" fmla="*/ 698383 h 1854638"/>
                  <a:gd name="connsiteX18" fmla="*/ 2117642 w 3671797"/>
                  <a:gd name="connsiteY18" fmla="*/ 627041 h 1854638"/>
                  <a:gd name="connsiteX19" fmla="*/ 2252793 w 3671797"/>
                  <a:gd name="connsiteY19" fmla="*/ 558247 h 1854638"/>
                  <a:gd name="connsiteX20" fmla="*/ 2420353 w 3671797"/>
                  <a:gd name="connsiteY20" fmla="*/ 564094 h 1854638"/>
                  <a:gd name="connsiteX21" fmla="*/ 2673576 w 3671797"/>
                  <a:gd name="connsiteY21" fmla="*/ 502035 h 1854638"/>
                  <a:gd name="connsiteX22" fmla="*/ 2842900 w 3671797"/>
                  <a:gd name="connsiteY22" fmla="*/ 416228 h 1854638"/>
                  <a:gd name="connsiteX23" fmla="*/ 2954393 w 3671797"/>
                  <a:gd name="connsiteY23" fmla="*/ 300157 h 1854638"/>
                  <a:gd name="connsiteX24" fmla="*/ 3049122 w 3671797"/>
                  <a:gd name="connsiteY24" fmla="*/ 265814 h 1854638"/>
                  <a:gd name="connsiteX25" fmla="*/ 3098558 w 3671797"/>
                  <a:gd name="connsiteY25" fmla="*/ 204112 h 1854638"/>
                  <a:gd name="connsiteX26" fmla="*/ 3153076 w 3671797"/>
                  <a:gd name="connsiteY26" fmla="*/ 163883 h 1854638"/>
                  <a:gd name="connsiteX27" fmla="*/ 3275556 w 3671797"/>
                  <a:gd name="connsiteY27" fmla="*/ 130532 h 1854638"/>
                  <a:gd name="connsiteX28" fmla="*/ 3351756 w 3671797"/>
                  <a:gd name="connsiteY28" fmla="*/ 109658 h 1854638"/>
                  <a:gd name="connsiteX29" fmla="*/ 3580356 w 3671797"/>
                  <a:gd name="connsiteY29" fmla="*/ 18218 h 1854638"/>
                  <a:gd name="connsiteX30" fmla="*/ 3671796 w 3671797"/>
                  <a:gd name="connsiteY30" fmla="*/ 1 h 1854638"/>
                  <a:gd name="connsiteX0" fmla="*/ 0 w 3653756"/>
                  <a:gd name="connsiteY0" fmla="*/ 1850846 h 1854638"/>
                  <a:gd name="connsiteX1" fmla="*/ 273276 w 3653756"/>
                  <a:gd name="connsiteY1" fmla="*/ 1854638 h 1854638"/>
                  <a:gd name="connsiteX2" fmla="*/ 348432 w 3653756"/>
                  <a:gd name="connsiteY2" fmla="*/ 1835641 h 1854638"/>
                  <a:gd name="connsiteX3" fmla="*/ 467547 w 3653756"/>
                  <a:gd name="connsiteY3" fmla="*/ 1834756 h 1854638"/>
                  <a:gd name="connsiteX4" fmla="*/ 662378 w 3653756"/>
                  <a:gd name="connsiteY4" fmla="*/ 1752707 h 1854638"/>
                  <a:gd name="connsiteX5" fmla="*/ 791436 w 3653756"/>
                  <a:gd name="connsiteY5" fmla="*/ 1610798 h 1854638"/>
                  <a:gd name="connsiteX6" fmla="*/ 882876 w 3653756"/>
                  <a:gd name="connsiteY6" fmla="*/ 1557458 h 1854638"/>
                  <a:gd name="connsiteX7" fmla="*/ 922379 w 3653756"/>
                  <a:gd name="connsiteY7" fmla="*/ 1493137 h 1854638"/>
                  <a:gd name="connsiteX8" fmla="*/ 1020036 w 3653756"/>
                  <a:gd name="connsiteY8" fmla="*/ 1420298 h 1854638"/>
                  <a:gd name="connsiteX9" fmla="*/ 1217595 w 3653756"/>
                  <a:gd name="connsiteY9" fmla="*/ 1276404 h 1854638"/>
                  <a:gd name="connsiteX10" fmla="*/ 1268714 w 3653756"/>
                  <a:gd name="connsiteY10" fmla="*/ 1237629 h 1854638"/>
                  <a:gd name="connsiteX11" fmla="*/ 1397905 w 3653756"/>
                  <a:gd name="connsiteY11" fmla="*/ 1214451 h 1854638"/>
                  <a:gd name="connsiteX12" fmla="*/ 1515336 w 3653756"/>
                  <a:gd name="connsiteY12" fmla="*/ 1130738 h 1854638"/>
                  <a:gd name="connsiteX13" fmla="*/ 1578944 w 3653756"/>
                  <a:gd name="connsiteY13" fmla="*/ 1122233 h 1854638"/>
                  <a:gd name="connsiteX14" fmla="*/ 1667736 w 3653756"/>
                  <a:gd name="connsiteY14" fmla="*/ 1054538 h 1854638"/>
                  <a:gd name="connsiteX15" fmla="*/ 1753722 w 3653756"/>
                  <a:gd name="connsiteY15" fmla="*/ 993470 h 1854638"/>
                  <a:gd name="connsiteX16" fmla="*/ 1858236 w 3653756"/>
                  <a:gd name="connsiteY16" fmla="*/ 886898 h 1854638"/>
                  <a:gd name="connsiteX17" fmla="*/ 1998044 w 3653756"/>
                  <a:gd name="connsiteY17" fmla="*/ 698383 h 1854638"/>
                  <a:gd name="connsiteX18" fmla="*/ 2117642 w 3653756"/>
                  <a:gd name="connsiteY18" fmla="*/ 627041 h 1854638"/>
                  <a:gd name="connsiteX19" fmla="*/ 2252793 w 3653756"/>
                  <a:gd name="connsiteY19" fmla="*/ 558247 h 1854638"/>
                  <a:gd name="connsiteX20" fmla="*/ 2420353 w 3653756"/>
                  <a:gd name="connsiteY20" fmla="*/ 564094 h 1854638"/>
                  <a:gd name="connsiteX21" fmla="*/ 2673576 w 3653756"/>
                  <a:gd name="connsiteY21" fmla="*/ 502035 h 1854638"/>
                  <a:gd name="connsiteX22" fmla="*/ 2842900 w 3653756"/>
                  <a:gd name="connsiteY22" fmla="*/ 416228 h 1854638"/>
                  <a:gd name="connsiteX23" fmla="*/ 2954393 w 3653756"/>
                  <a:gd name="connsiteY23" fmla="*/ 300157 h 1854638"/>
                  <a:gd name="connsiteX24" fmla="*/ 3049122 w 3653756"/>
                  <a:gd name="connsiteY24" fmla="*/ 265814 h 1854638"/>
                  <a:gd name="connsiteX25" fmla="*/ 3098558 w 3653756"/>
                  <a:gd name="connsiteY25" fmla="*/ 204112 h 1854638"/>
                  <a:gd name="connsiteX26" fmla="*/ 3153076 w 3653756"/>
                  <a:gd name="connsiteY26" fmla="*/ 163883 h 1854638"/>
                  <a:gd name="connsiteX27" fmla="*/ 3275556 w 3653756"/>
                  <a:gd name="connsiteY27" fmla="*/ 130532 h 1854638"/>
                  <a:gd name="connsiteX28" fmla="*/ 3351756 w 3653756"/>
                  <a:gd name="connsiteY28" fmla="*/ 109658 h 1854638"/>
                  <a:gd name="connsiteX29" fmla="*/ 3580356 w 3653756"/>
                  <a:gd name="connsiteY29" fmla="*/ 18218 h 1854638"/>
                  <a:gd name="connsiteX30" fmla="*/ 3653756 w 3653756"/>
                  <a:gd name="connsiteY30" fmla="*/ 0 h 185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653756" h="1854638">
                    <a:moveTo>
                      <a:pt x="0" y="1850846"/>
                    </a:moveTo>
                    <a:lnTo>
                      <a:pt x="273276" y="1854638"/>
                    </a:lnTo>
                    <a:lnTo>
                      <a:pt x="348432" y="1835641"/>
                    </a:lnTo>
                    <a:lnTo>
                      <a:pt x="467547" y="1834756"/>
                    </a:lnTo>
                    <a:lnTo>
                      <a:pt x="662378" y="1752707"/>
                    </a:lnTo>
                    <a:lnTo>
                      <a:pt x="791436" y="1610798"/>
                    </a:lnTo>
                    <a:lnTo>
                      <a:pt x="882876" y="1557458"/>
                    </a:lnTo>
                    <a:cubicBezTo>
                      <a:pt x="906952" y="1535061"/>
                      <a:pt x="898303" y="1515534"/>
                      <a:pt x="922379" y="1493137"/>
                    </a:cubicBezTo>
                    <a:lnTo>
                      <a:pt x="1020036" y="1420298"/>
                    </a:lnTo>
                    <a:lnTo>
                      <a:pt x="1217595" y="1276404"/>
                    </a:lnTo>
                    <a:cubicBezTo>
                      <a:pt x="1239180" y="1269220"/>
                      <a:pt x="1247129" y="1244813"/>
                      <a:pt x="1268714" y="1237629"/>
                    </a:cubicBezTo>
                    <a:lnTo>
                      <a:pt x="1397905" y="1214451"/>
                    </a:lnTo>
                    <a:lnTo>
                      <a:pt x="1515336" y="1130738"/>
                    </a:lnTo>
                    <a:lnTo>
                      <a:pt x="1578944" y="1122233"/>
                    </a:lnTo>
                    <a:lnTo>
                      <a:pt x="1667736" y="1054538"/>
                    </a:lnTo>
                    <a:lnTo>
                      <a:pt x="1753722" y="993470"/>
                    </a:lnTo>
                    <a:lnTo>
                      <a:pt x="1858236" y="886898"/>
                    </a:lnTo>
                    <a:lnTo>
                      <a:pt x="1998044" y="698383"/>
                    </a:lnTo>
                    <a:lnTo>
                      <a:pt x="2117642" y="627041"/>
                    </a:lnTo>
                    <a:lnTo>
                      <a:pt x="2252793" y="558247"/>
                    </a:lnTo>
                    <a:lnTo>
                      <a:pt x="2420353" y="564094"/>
                    </a:lnTo>
                    <a:lnTo>
                      <a:pt x="2673576" y="502035"/>
                    </a:lnTo>
                    <a:lnTo>
                      <a:pt x="2842900" y="416228"/>
                    </a:lnTo>
                    <a:lnTo>
                      <a:pt x="2954393" y="300157"/>
                    </a:lnTo>
                    <a:lnTo>
                      <a:pt x="3049122" y="265814"/>
                    </a:lnTo>
                    <a:cubicBezTo>
                      <a:pt x="3066510" y="250988"/>
                      <a:pt x="3081170" y="218938"/>
                      <a:pt x="3098558" y="204112"/>
                    </a:cubicBezTo>
                    <a:lnTo>
                      <a:pt x="3153076" y="163883"/>
                    </a:lnTo>
                    <a:lnTo>
                      <a:pt x="3275556" y="130532"/>
                    </a:lnTo>
                    <a:lnTo>
                      <a:pt x="3351756" y="109658"/>
                    </a:lnTo>
                    <a:lnTo>
                      <a:pt x="3580356" y="18218"/>
                    </a:lnTo>
                    <a:lnTo>
                      <a:pt x="3653756" y="0"/>
                    </a:lnTo>
                  </a:path>
                </a:pathLst>
              </a:custGeom>
              <a:ln w="28575">
                <a:solidFill>
                  <a:schemeClr val="accent3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1000">
                  <a:solidFill>
                    <a:srgbClr val="001965"/>
                  </a:solidFill>
                </a:endParaRPr>
              </a:p>
            </p:txBody>
          </p:sp>
          <p:sp>
            <p:nvSpPr>
              <p:cNvPr id="208" name="Freeform 207"/>
              <p:cNvSpPr/>
              <p:nvPr/>
            </p:nvSpPr>
            <p:spPr>
              <a:xfrm>
                <a:off x="812476" y="2154619"/>
                <a:ext cx="3188418" cy="1771873"/>
              </a:xfrm>
              <a:custGeom>
                <a:avLst/>
                <a:gdLst>
                  <a:gd name="connsiteX0" fmla="*/ 0 w 7277100"/>
                  <a:gd name="connsiteY0" fmla="*/ 2537460 h 2537460"/>
                  <a:gd name="connsiteX1" fmla="*/ 243840 w 7277100"/>
                  <a:gd name="connsiteY1" fmla="*/ 2529840 h 2537460"/>
                  <a:gd name="connsiteX2" fmla="*/ 304800 w 7277100"/>
                  <a:gd name="connsiteY2" fmla="*/ 2499360 h 2537460"/>
                  <a:gd name="connsiteX3" fmla="*/ 403860 w 7277100"/>
                  <a:gd name="connsiteY3" fmla="*/ 2491740 h 2537460"/>
                  <a:gd name="connsiteX4" fmla="*/ 548640 w 7277100"/>
                  <a:gd name="connsiteY4" fmla="*/ 2407920 h 2537460"/>
                  <a:gd name="connsiteX5" fmla="*/ 662940 w 7277100"/>
                  <a:gd name="connsiteY5" fmla="*/ 2278380 h 2537460"/>
                  <a:gd name="connsiteX6" fmla="*/ 754380 w 7277100"/>
                  <a:gd name="connsiteY6" fmla="*/ 2255520 h 2537460"/>
                  <a:gd name="connsiteX7" fmla="*/ 883920 w 7277100"/>
                  <a:gd name="connsiteY7" fmla="*/ 2087880 h 2537460"/>
                  <a:gd name="connsiteX8" fmla="*/ 967740 w 7277100"/>
                  <a:gd name="connsiteY8" fmla="*/ 2026920 h 2537460"/>
                  <a:gd name="connsiteX9" fmla="*/ 1028700 w 7277100"/>
                  <a:gd name="connsiteY9" fmla="*/ 1889760 h 2537460"/>
                  <a:gd name="connsiteX10" fmla="*/ 1089660 w 7277100"/>
                  <a:gd name="connsiteY10" fmla="*/ 1783080 h 2537460"/>
                  <a:gd name="connsiteX11" fmla="*/ 1203960 w 7277100"/>
                  <a:gd name="connsiteY11" fmla="*/ 1508760 h 2537460"/>
                  <a:gd name="connsiteX12" fmla="*/ 1280160 w 7277100"/>
                  <a:gd name="connsiteY12" fmla="*/ 1379220 h 2537460"/>
                  <a:gd name="connsiteX13" fmla="*/ 1394460 w 7277100"/>
                  <a:gd name="connsiteY13" fmla="*/ 1303020 h 2537460"/>
                  <a:gd name="connsiteX14" fmla="*/ 1455420 w 7277100"/>
                  <a:gd name="connsiteY14" fmla="*/ 1188720 h 2537460"/>
                  <a:gd name="connsiteX15" fmla="*/ 1524000 w 7277100"/>
                  <a:gd name="connsiteY15" fmla="*/ 1127760 h 2537460"/>
                  <a:gd name="connsiteX16" fmla="*/ 1584960 w 7277100"/>
                  <a:gd name="connsiteY16" fmla="*/ 1112520 h 2537460"/>
                  <a:gd name="connsiteX17" fmla="*/ 1630680 w 7277100"/>
                  <a:gd name="connsiteY17" fmla="*/ 1127760 h 2537460"/>
                  <a:gd name="connsiteX18" fmla="*/ 1691640 w 7277100"/>
                  <a:gd name="connsiteY18" fmla="*/ 1051560 h 2537460"/>
                  <a:gd name="connsiteX19" fmla="*/ 1737360 w 7277100"/>
                  <a:gd name="connsiteY19" fmla="*/ 1005840 h 2537460"/>
                  <a:gd name="connsiteX20" fmla="*/ 1882140 w 7277100"/>
                  <a:gd name="connsiteY20" fmla="*/ 1021080 h 2537460"/>
                  <a:gd name="connsiteX21" fmla="*/ 2004060 w 7277100"/>
                  <a:gd name="connsiteY21" fmla="*/ 1036320 h 2537460"/>
                  <a:gd name="connsiteX22" fmla="*/ 2133600 w 7277100"/>
                  <a:gd name="connsiteY22" fmla="*/ 1082040 h 2537460"/>
                  <a:gd name="connsiteX23" fmla="*/ 2202180 w 7277100"/>
                  <a:gd name="connsiteY23" fmla="*/ 1051560 h 2537460"/>
                  <a:gd name="connsiteX24" fmla="*/ 2377440 w 7277100"/>
                  <a:gd name="connsiteY24" fmla="*/ 1066800 h 2537460"/>
                  <a:gd name="connsiteX25" fmla="*/ 2446020 w 7277100"/>
                  <a:gd name="connsiteY25" fmla="*/ 1036320 h 2537460"/>
                  <a:gd name="connsiteX26" fmla="*/ 2499360 w 7277100"/>
                  <a:gd name="connsiteY26" fmla="*/ 937260 h 2537460"/>
                  <a:gd name="connsiteX27" fmla="*/ 2606040 w 7277100"/>
                  <a:gd name="connsiteY27" fmla="*/ 899160 h 2537460"/>
                  <a:gd name="connsiteX28" fmla="*/ 2667000 w 7277100"/>
                  <a:gd name="connsiteY28" fmla="*/ 822960 h 2537460"/>
                  <a:gd name="connsiteX29" fmla="*/ 2796540 w 7277100"/>
                  <a:gd name="connsiteY29" fmla="*/ 822960 h 2537460"/>
                  <a:gd name="connsiteX30" fmla="*/ 2910840 w 7277100"/>
                  <a:gd name="connsiteY30" fmla="*/ 830580 h 2537460"/>
                  <a:gd name="connsiteX31" fmla="*/ 3048000 w 7277100"/>
                  <a:gd name="connsiteY31" fmla="*/ 800100 h 2537460"/>
                  <a:gd name="connsiteX32" fmla="*/ 3101340 w 7277100"/>
                  <a:gd name="connsiteY32" fmla="*/ 723900 h 2537460"/>
                  <a:gd name="connsiteX33" fmla="*/ 3200400 w 7277100"/>
                  <a:gd name="connsiteY33" fmla="*/ 701040 h 2537460"/>
                  <a:gd name="connsiteX34" fmla="*/ 3276600 w 7277100"/>
                  <a:gd name="connsiteY34" fmla="*/ 640080 h 2537460"/>
                  <a:gd name="connsiteX35" fmla="*/ 3390900 w 7277100"/>
                  <a:gd name="connsiteY35" fmla="*/ 579120 h 2537460"/>
                  <a:gd name="connsiteX36" fmla="*/ 3459480 w 7277100"/>
                  <a:gd name="connsiteY36" fmla="*/ 525780 h 2537460"/>
                  <a:gd name="connsiteX37" fmla="*/ 3520440 w 7277100"/>
                  <a:gd name="connsiteY37" fmla="*/ 441960 h 2537460"/>
                  <a:gd name="connsiteX38" fmla="*/ 3566160 w 7277100"/>
                  <a:gd name="connsiteY38" fmla="*/ 419100 h 2537460"/>
                  <a:gd name="connsiteX39" fmla="*/ 3634740 w 7277100"/>
                  <a:gd name="connsiteY39" fmla="*/ 419100 h 2537460"/>
                  <a:gd name="connsiteX40" fmla="*/ 3718560 w 7277100"/>
                  <a:gd name="connsiteY40" fmla="*/ 464820 h 2537460"/>
                  <a:gd name="connsiteX41" fmla="*/ 3794760 w 7277100"/>
                  <a:gd name="connsiteY41" fmla="*/ 464820 h 2537460"/>
                  <a:gd name="connsiteX42" fmla="*/ 3832860 w 7277100"/>
                  <a:gd name="connsiteY42" fmla="*/ 502920 h 2537460"/>
                  <a:gd name="connsiteX43" fmla="*/ 3893820 w 7277100"/>
                  <a:gd name="connsiteY43" fmla="*/ 441960 h 2537460"/>
                  <a:gd name="connsiteX44" fmla="*/ 3992880 w 7277100"/>
                  <a:gd name="connsiteY44" fmla="*/ 434340 h 2537460"/>
                  <a:gd name="connsiteX45" fmla="*/ 4191000 w 7277100"/>
                  <a:gd name="connsiteY45" fmla="*/ 266700 h 2537460"/>
                  <a:gd name="connsiteX46" fmla="*/ 4328160 w 7277100"/>
                  <a:gd name="connsiteY46" fmla="*/ 259080 h 2537460"/>
                  <a:gd name="connsiteX47" fmla="*/ 4389120 w 7277100"/>
                  <a:gd name="connsiteY47" fmla="*/ 274320 h 2537460"/>
                  <a:gd name="connsiteX48" fmla="*/ 4488180 w 7277100"/>
                  <a:gd name="connsiteY48" fmla="*/ 198120 h 2537460"/>
                  <a:gd name="connsiteX49" fmla="*/ 4610100 w 7277100"/>
                  <a:gd name="connsiteY49" fmla="*/ 190500 h 2537460"/>
                  <a:gd name="connsiteX50" fmla="*/ 4671060 w 7277100"/>
                  <a:gd name="connsiteY50" fmla="*/ 243840 h 2537460"/>
                  <a:gd name="connsiteX51" fmla="*/ 4724400 w 7277100"/>
                  <a:gd name="connsiteY51" fmla="*/ 198120 h 2537460"/>
                  <a:gd name="connsiteX52" fmla="*/ 4777740 w 7277100"/>
                  <a:gd name="connsiteY52" fmla="*/ 198120 h 2537460"/>
                  <a:gd name="connsiteX53" fmla="*/ 4861560 w 7277100"/>
                  <a:gd name="connsiteY53" fmla="*/ 160020 h 2537460"/>
                  <a:gd name="connsiteX54" fmla="*/ 4930140 w 7277100"/>
                  <a:gd name="connsiteY54" fmla="*/ 160020 h 2537460"/>
                  <a:gd name="connsiteX55" fmla="*/ 5128260 w 7277100"/>
                  <a:gd name="connsiteY55" fmla="*/ 160020 h 2537460"/>
                  <a:gd name="connsiteX56" fmla="*/ 5288280 w 7277100"/>
                  <a:gd name="connsiteY56" fmla="*/ 220980 h 2537460"/>
                  <a:gd name="connsiteX57" fmla="*/ 5349240 w 7277100"/>
                  <a:gd name="connsiteY57" fmla="*/ 182880 h 2537460"/>
                  <a:gd name="connsiteX58" fmla="*/ 5478780 w 7277100"/>
                  <a:gd name="connsiteY58" fmla="*/ 182880 h 2537460"/>
                  <a:gd name="connsiteX59" fmla="*/ 5654040 w 7277100"/>
                  <a:gd name="connsiteY59" fmla="*/ 45720 h 2537460"/>
                  <a:gd name="connsiteX60" fmla="*/ 5760720 w 7277100"/>
                  <a:gd name="connsiteY60" fmla="*/ 106680 h 2537460"/>
                  <a:gd name="connsiteX61" fmla="*/ 5836920 w 7277100"/>
                  <a:gd name="connsiteY61" fmla="*/ 106680 h 2537460"/>
                  <a:gd name="connsiteX62" fmla="*/ 5920740 w 7277100"/>
                  <a:gd name="connsiteY62" fmla="*/ 129540 h 2537460"/>
                  <a:gd name="connsiteX63" fmla="*/ 5958840 w 7277100"/>
                  <a:gd name="connsiteY63" fmla="*/ 99060 h 2537460"/>
                  <a:gd name="connsiteX64" fmla="*/ 6088380 w 7277100"/>
                  <a:gd name="connsiteY64" fmla="*/ 99060 h 2537460"/>
                  <a:gd name="connsiteX65" fmla="*/ 6195060 w 7277100"/>
                  <a:gd name="connsiteY65" fmla="*/ 91440 h 2537460"/>
                  <a:gd name="connsiteX66" fmla="*/ 6309360 w 7277100"/>
                  <a:gd name="connsiteY66" fmla="*/ 15240 h 2537460"/>
                  <a:gd name="connsiteX67" fmla="*/ 6377940 w 7277100"/>
                  <a:gd name="connsiteY67" fmla="*/ 0 h 2537460"/>
                  <a:gd name="connsiteX68" fmla="*/ 6583680 w 7277100"/>
                  <a:gd name="connsiteY68" fmla="*/ 45720 h 2537460"/>
                  <a:gd name="connsiteX69" fmla="*/ 6652260 w 7277100"/>
                  <a:gd name="connsiteY69" fmla="*/ 68580 h 2537460"/>
                  <a:gd name="connsiteX70" fmla="*/ 6743700 w 7277100"/>
                  <a:gd name="connsiteY70" fmla="*/ 121920 h 2537460"/>
                  <a:gd name="connsiteX71" fmla="*/ 6873240 w 7277100"/>
                  <a:gd name="connsiteY71" fmla="*/ 106680 h 2537460"/>
                  <a:gd name="connsiteX72" fmla="*/ 7056120 w 7277100"/>
                  <a:gd name="connsiteY72" fmla="*/ 121920 h 2537460"/>
                  <a:gd name="connsiteX73" fmla="*/ 7277100 w 7277100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50504 w 7298904"/>
                  <a:gd name="connsiteY9" fmla="*/ 1889760 h 2537460"/>
                  <a:gd name="connsiteX10" fmla="*/ 1111464 w 7298904"/>
                  <a:gd name="connsiteY10" fmla="*/ 1783080 h 2537460"/>
                  <a:gd name="connsiteX11" fmla="*/ 1225764 w 7298904"/>
                  <a:gd name="connsiteY11" fmla="*/ 1508760 h 2537460"/>
                  <a:gd name="connsiteX12" fmla="*/ 1301964 w 7298904"/>
                  <a:gd name="connsiteY12" fmla="*/ 1379220 h 2537460"/>
                  <a:gd name="connsiteX13" fmla="*/ 1416264 w 7298904"/>
                  <a:gd name="connsiteY13" fmla="*/ 1303020 h 2537460"/>
                  <a:gd name="connsiteX14" fmla="*/ 1477224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83080 h 2537460"/>
                  <a:gd name="connsiteX11" fmla="*/ 1225764 w 7298904"/>
                  <a:gd name="connsiteY11" fmla="*/ 1508760 h 2537460"/>
                  <a:gd name="connsiteX12" fmla="*/ 1301964 w 7298904"/>
                  <a:gd name="connsiteY12" fmla="*/ 1379220 h 2537460"/>
                  <a:gd name="connsiteX13" fmla="*/ 1416264 w 7298904"/>
                  <a:gd name="connsiteY13" fmla="*/ 1303020 h 2537460"/>
                  <a:gd name="connsiteX14" fmla="*/ 1477224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25764 w 7298904"/>
                  <a:gd name="connsiteY11" fmla="*/ 1508760 h 2537460"/>
                  <a:gd name="connsiteX12" fmla="*/ 1301964 w 7298904"/>
                  <a:gd name="connsiteY12" fmla="*/ 1379220 h 2537460"/>
                  <a:gd name="connsiteX13" fmla="*/ 1416264 w 7298904"/>
                  <a:gd name="connsiteY13" fmla="*/ 1303020 h 2537460"/>
                  <a:gd name="connsiteX14" fmla="*/ 1477224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301964 w 7298904"/>
                  <a:gd name="connsiteY12" fmla="*/ 1379220 h 2537460"/>
                  <a:gd name="connsiteX13" fmla="*/ 1416264 w 7298904"/>
                  <a:gd name="connsiteY13" fmla="*/ 1303020 h 2537460"/>
                  <a:gd name="connsiteX14" fmla="*/ 1477224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16264 w 7298904"/>
                  <a:gd name="connsiteY13" fmla="*/ 1303020 h 2537460"/>
                  <a:gd name="connsiteX14" fmla="*/ 1477224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16264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66800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67824 w 7298904"/>
                  <a:gd name="connsiteY25" fmla="*/ 1036320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521164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27844 w 7298904"/>
                  <a:gd name="connsiteY27" fmla="*/ 899160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45804 w 7298904"/>
                  <a:gd name="connsiteY15" fmla="*/ 1127760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88804 w 7298904"/>
                  <a:gd name="connsiteY28" fmla="*/ 822960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69804 w 7298904"/>
                  <a:gd name="connsiteY31" fmla="*/ 800100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18930 w 7298904"/>
                  <a:gd name="connsiteY31" fmla="*/ 781018 h 2537460"/>
                  <a:gd name="connsiteX32" fmla="*/ 3123144 w 7298904"/>
                  <a:gd name="connsiteY32" fmla="*/ 723900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18930 w 7298904"/>
                  <a:gd name="connsiteY31" fmla="*/ 781018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40080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4 w 7298904"/>
                  <a:gd name="connsiteY35" fmla="*/ 579120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4 w 7298904"/>
                  <a:gd name="connsiteY36" fmla="*/ 525780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42244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54664 w 7298904"/>
                  <a:gd name="connsiteY42" fmla="*/ 502920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16564 w 7298904"/>
                  <a:gd name="connsiteY41" fmla="*/ 464820 h 2537460"/>
                  <a:gd name="connsiteX42" fmla="*/ 3865565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31100 w 7298904"/>
                  <a:gd name="connsiteY41" fmla="*/ 461003 h 2537460"/>
                  <a:gd name="connsiteX42" fmla="*/ 3865565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65565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212804 w 7298904"/>
                  <a:gd name="connsiteY45" fmla="*/ 26670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4684 w 7298904"/>
                  <a:gd name="connsiteY44" fmla="*/ 434340 h 2537460"/>
                  <a:gd name="connsiteX45" fmla="*/ 4187367 w 7298904"/>
                  <a:gd name="connsiteY45" fmla="*/ 25525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56544 w 7298904"/>
                  <a:gd name="connsiteY39" fmla="*/ 419100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34996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410924 w 7298904"/>
                  <a:gd name="connsiteY47" fmla="*/ 274320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509984 w 7298904"/>
                  <a:gd name="connsiteY48" fmla="*/ 198120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43840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799544 w 7298904"/>
                  <a:gd name="connsiteY52" fmla="*/ 198120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83364 w 7298904"/>
                  <a:gd name="connsiteY53" fmla="*/ 160020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50064 w 7298904"/>
                  <a:gd name="connsiteY55" fmla="*/ 160020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39163 w 7298904"/>
                  <a:gd name="connsiteY55" fmla="*/ 289777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310084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71044 w 7298904"/>
                  <a:gd name="connsiteY57" fmla="*/ 182880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45606 w 7298904"/>
                  <a:gd name="connsiteY57" fmla="*/ 175247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42544 w 7298904"/>
                  <a:gd name="connsiteY62" fmla="*/ 129540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6864 w 7298904"/>
                  <a:gd name="connsiteY65" fmla="*/ 91440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95044 w 7298904"/>
                  <a:gd name="connsiteY71" fmla="*/ 106680 h 2537460"/>
                  <a:gd name="connsiteX72" fmla="*/ 7077924 w 7298904"/>
                  <a:gd name="connsiteY72" fmla="*/ 121920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45606 w 7298904"/>
                  <a:gd name="connsiteY57" fmla="*/ 175247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34696 w 7298904"/>
                  <a:gd name="connsiteY60" fmla="*/ 69446 h 2537460"/>
                  <a:gd name="connsiteX61" fmla="*/ 5782524 w 7298904"/>
                  <a:gd name="connsiteY61" fmla="*/ 106680 h 2537460"/>
                  <a:gd name="connsiteX62" fmla="*/ 5858724 w 7298904"/>
                  <a:gd name="connsiteY62" fmla="*/ 106680 h 2537460"/>
                  <a:gd name="connsiteX63" fmla="*/ 5942544 w 7298904"/>
                  <a:gd name="connsiteY63" fmla="*/ 129540 h 2537460"/>
                  <a:gd name="connsiteX64" fmla="*/ 5980644 w 7298904"/>
                  <a:gd name="connsiteY64" fmla="*/ 99060 h 2537460"/>
                  <a:gd name="connsiteX65" fmla="*/ 6110184 w 7298904"/>
                  <a:gd name="connsiteY65" fmla="*/ 99060 h 2537460"/>
                  <a:gd name="connsiteX66" fmla="*/ 6216864 w 7298904"/>
                  <a:gd name="connsiteY66" fmla="*/ 91440 h 2537460"/>
                  <a:gd name="connsiteX67" fmla="*/ 6331164 w 7298904"/>
                  <a:gd name="connsiteY67" fmla="*/ 15240 h 2537460"/>
                  <a:gd name="connsiteX68" fmla="*/ 6399744 w 7298904"/>
                  <a:gd name="connsiteY68" fmla="*/ 0 h 2537460"/>
                  <a:gd name="connsiteX69" fmla="*/ 6605484 w 7298904"/>
                  <a:gd name="connsiteY69" fmla="*/ 45720 h 2537460"/>
                  <a:gd name="connsiteX70" fmla="*/ 6674064 w 7298904"/>
                  <a:gd name="connsiteY70" fmla="*/ 68580 h 2537460"/>
                  <a:gd name="connsiteX71" fmla="*/ 6765504 w 7298904"/>
                  <a:gd name="connsiteY71" fmla="*/ 121920 h 2537460"/>
                  <a:gd name="connsiteX72" fmla="*/ 6895044 w 7298904"/>
                  <a:gd name="connsiteY72" fmla="*/ 106680 h 2537460"/>
                  <a:gd name="connsiteX73" fmla="*/ 7077924 w 7298904"/>
                  <a:gd name="connsiteY73" fmla="*/ 121920 h 2537460"/>
                  <a:gd name="connsiteX74" fmla="*/ 7298904 w 7298904"/>
                  <a:gd name="connsiteY7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45606 w 7298904"/>
                  <a:gd name="connsiteY57" fmla="*/ 175247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34696 w 7298904"/>
                  <a:gd name="connsiteY60" fmla="*/ 69446 h 2537460"/>
                  <a:gd name="connsiteX61" fmla="*/ 5782524 w 7298904"/>
                  <a:gd name="connsiteY61" fmla="*/ 106680 h 2537460"/>
                  <a:gd name="connsiteX62" fmla="*/ 5858724 w 7298904"/>
                  <a:gd name="connsiteY62" fmla="*/ 106680 h 2537460"/>
                  <a:gd name="connsiteX63" fmla="*/ 5920741 w 7298904"/>
                  <a:gd name="connsiteY63" fmla="*/ 118091 h 2537460"/>
                  <a:gd name="connsiteX64" fmla="*/ 5980644 w 7298904"/>
                  <a:gd name="connsiteY64" fmla="*/ 99060 h 2537460"/>
                  <a:gd name="connsiteX65" fmla="*/ 6110184 w 7298904"/>
                  <a:gd name="connsiteY65" fmla="*/ 99060 h 2537460"/>
                  <a:gd name="connsiteX66" fmla="*/ 6216864 w 7298904"/>
                  <a:gd name="connsiteY66" fmla="*/ 91440 h 2537460"/>
                  <a:gd name="connsiteX67" fmla="*/ 6331164 w 7298904"/>
                  <a:gd name="connsiteY67" fmla="*/ 15240 h 2537460"/>
                  <a:gd name="connsiteX68" fmla="*/ 6399744 w 7298904"/>
                  <a:gd name="connsiteY68" fmla="*/ 0 h 2537460"/>
                  <a:gd name="connsiteX69" fmla="*/ 6605484 w 7298904"/>
                  <a:gd name="connsiteY69" fmla="*/ 45720 h 2537460"/>
                  <a:gd name="connsiteX70" fmla="*/ 6674064 w 7298904"/>
                  <a:gd name="connsiteY70" fmla="*/ 68580 h 2537460"/>
                  <a:gd name="connsiteX71" fmla="*/ 6765504 w 7298904"/>
                  <a:gd name="connsiteY71" fmla="*/ 121920 h 2537460"/>
                  <a:gd name="connsiteX72" fmla="*/ 6895044 w 7298904"/>
                  <a:gd name="connsiteY72" fmla="*/ 106680 h 2537460"/>
                  <a:gd name="connsiteX73" fmla="*/ 7077924 w 7298904"/>
                  <a:gd name="connsiteY73" fmla="*/ 121920 h 2537460"/>
                  <a:gd name="connsiteX74" fmla="*/ 7298904 w 7298904"/>
                  <a:gd name="connsiteY7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45606 w 7298904"/>
                  <a:gd name="connsiteY57" fmla="*/ 175247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34696 w 7298904"/>
                  <a:gd name="connsiteY60" fmla="*/ 69446 h 2537460"/>
                  <a:gd name="connsiteX61" fmla="*/ 5782524 w 7298904"/>
                  <a:gd name="connsiteY61" fmla="*/ 106680 h 2537460"/>
                  <a:gd name="connsiteX62" fmla="*/ 5858724 w 7298904"/>
                  <a:gd name="connsiteY62" fmla="*/ 106680 h 2537460"/>
                  <a:gd name="connsiteX63" fmla="*/ 5920741 w 7298904"/>
                  <a:gd name="connsiteY63" fmla="*/ 118091 h 2537460"/>
                  <a:gd name="connsiteX64" fmla="*/ 5980644 w 7298904"/>
                  <a:gd name="connsiteY64" fmla="*/ 99060 h 2537460"/>
                  <a:gd name="connsiteX65" fmla="*/ 6110184 w 7298904"/>
                  <a:gd name="connsiteY65" fmla="*/ 99060 h 2537460"/>
                  <a:gd name="connsiteX66" fmla="*/ 6213231 w 7298904"/>
                  <a:gd name="connsiteY66" fmla="*/ 83808 h 2537460"/>
                  <a:gd name="connsiteX67" fmla="*/ 6331164 w 7298904"/>
                  <a:gd name="connsiteY67" fmla="*/ 15240 h 2537460"/>
                  <a:gd name="connsiteX68" fmla="*/ 6399744 w 7298904"/>
                  <a:gd name="connsiteY68" fmla="*/ 0 h 2537460"/>
                  <a:gd name="connsiteX69" fmla="*/ 6605484 w 7298904"/>
                  <a:gd name="connsiteY69" fmla="*/ 45720 h 2537460"/>
                  <a:gd name="connsiteX70" fmla="*/ 6674064 w 7298904"/>
                  <a:gd name="connsiteY70" fmla="*/ 68580 h 2537460"/>
                  <a:gd name="connsiteX71" fmla="*/ 6765504 w 7298904"/>
                  <a:gd name="connsiteY71" fmla="*/ 121920 h 2537460"/>
                  <a:gd name="connsiteX72" fmla="*/ 6895044 w 7298904"/>
                  <a:gd name="connsiteY72" fmla="*/ 106680 h 2537460"/>
                  <a:gd name="connsiteX73" fmla="*/ 7077924 w 7298904"/>
                  <a:gd name="connsiteY73" fmla="*/ 121920 h 2537460"/>
                  <a:gd name="connsiteX74" fmla="*/ 7298904 w 7298904"/>
                  <a:gd name="connsiteY7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45606 w 7298904"/>
                  <a:gd name="connsiteY57" fmla="*/ 175247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34696 w 7298904"/>
                  <a:gd name="connsiteY60" fmla="*/ 69446 h 2537460"/>
                  <a:gd name="connsiteX61" fmla="*/ 5782524 w 7298904"/>
                  <a:gd name="connsiteY61" fmla="*/ 106680 h 2537460"/>
                  <a:gd name="connsiteX62" fmla="*/ 5858724 w 7298904"/>
                  <a:gd name="connsiteY62" fmla="*/ 106680 h 2537460"/>
                  <a:gd name="connsiteX63" fmla="*/ 5920741 w 7298904"/>
                  <a:gd name="connsiteY63" fmla="*/ 118091 h 2537460"/>
                  <a:gd name="connsiteX64" fmla="*/ 5980644 w 7298904"/>
                  <a:gd name="connsiteY64" fmla="*/ 99060 h 2537460"/>
                  <a:gd name="connsiteX65" fmla="*/ 6110184 w 7298904"/>
                  <a:gd name="connsiteY65" fmla="*/ 99060 h 2537460"/>
                  <a:gd name="connsiteX66" fmla="*/ 6213231 w 7298904"/>
                  <a:gd name="connsiteY66" fmla="*/ 83808 h 2537460"/>
                  <a:gd name="connsiteX67" fmla="*/ 6331164 w 7298904"/>
                  <a:gd name="connsiteY67" fmla="*/ 15240 h 2537460"/>
                  <a:gd name="connsiteX68" fmla="*/ 6399744 w 7298904"/>
                  <a:gd name="connsiteY68" fmla="*/ 0 h 2537460"/>
                  <a:gd name="connsiteX69" fmla="*/ 6605484 w 7298904"/>
                  <a:gd name="connsiteY69" fmla="*/ 45720 h 2537460"/>
                  <a:gd name="connsiteX70" fmla="*/ 6674064 w 7298904"/>
                  <a:gd name="connsiteY70" fmla="*/ 68580 h 2537460"/>
                  <a:gd name="connsiteX71" fmla="*/ 6765504 w 7298904"/>
                  <a:gd name="connsiteY71" fmla="*/ 121920 h 2537460"/>
                  <a:gd name="connsiteX72" fmla="*/ 6876875 w 7298904"/>
                  <a:gd name="connsiteY72" fmla="*/ 91414 h 2537460"/>
                  <a:gd name="connsiteX73" fmla="*/ 7077924 w 7298904"/>
                  <a:gd name="connsiteY73" fmla="*/ 121920 h 2537460"/>
                  <a:gd name="connsiteX74" fmla="*/ 7298904 w 7298904"/>
                  <a:gd name="connsiteY7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740364 w 7298904"/>
                  <a:gd name="connsiteY40" fmla="*/ 464820 h 2537460"/>
                  <a:gd name="connsiteX41" fmla="*/ 3809296 w 7298904"/>
                  <a:gd name="connsiteY41" fmla="*/ 464819 h 2537460"/>
                  <a:gd name="connsiteX42" fmla="*/ 3829226 w 7298904"/>
                  <a:gd name="connsiteY42" fmla="*/ 495287 h 2537460"/>
                  <a:gd name="connsiteX43" fmla="*/ 3915624 w 7298904"/>
                  <a:gd name="connsiteY43" fmla="*/ 441960 h 2537460"/>
                  <a:gd name="connsiteX44" fmla="*/ 4011050 w 7298904"/>
                  <a:gd name="connsiteY44" fmla="*/ 426707 h 2537460"/>
                  <a:gd name="connsiteX45" fmla="*/ 4187367 w 7298904"/>
                  <a:gd name="connsiteY45" fmla="*/ 255250 h 2537460"/>
                  <a:gd name="connsiteX46" fmla="*/ 4266384 w 7298904"/>
                  <a:gd name="connsiteY46" fmla="*/ 259080 h 2537460"/>
                  <a:gd name="connsiteX47" fmla="*/ 4392755 w 7298904"/>
                  <a:gd name="connsiteY47" fmla="*/ 262871 h 2537460"/>
                  <a:gd name="connsiteX48" fmla="*/ 4491815 w 7298904"/>
                  <a:gd name="connsiteY48" fmla="*/ 186671 h 2537460"/>
                  <a:gd name="connsiteX49" fmla="*/ 4631904 w 7298904"/>
                  <a:gd name="connsiteY49" fmla="*/ 190500 h 2537460"/>
                  <a:gd name="connsiteX50" fmla="*/ 4692864 w 7298904"/>
                  <a:gd name="connsiteY50" fmla="*/ 217125 h 2537460"/>
                  <a:gd name="connsiteX51" fmla="*/ 4746204 w 7298904"/>
                  <a:gd name="connsiteY51" fmla="*/ 198120 h 2537460"/>
                  <a:gd name="connsiteX52" fmla="*/ 4814080 w 7298904"/>
                  <a:gd name="connsiteY52" fmla="*/ 186671 h 2537460"/>
                  <a:gd name="connsiteX53" fmla="*/ 4872462 w 7298904"/>
                  <a:gd name="connsiteY53" fmla="*/ 144754 h 2537460"/>
                  <a:gd name="connsiteX54" fmla="*/ 4951944 w 7298904"/>
                  <a:gd name="connsiteY54" fmla="*/ 160020 h 2537460"/>
                  <a:gd name="connsiteX55" fmla="*/ 5106458 w 7298904"/>
                  <a:gd name="connsiteY55" fmla="*/ 152387 h 2537460"/>
                  <a:gd name="connsiteX56" fmla="*/ 5295549 w 7298904"/>
                  <a:gd name="connsiteY56" fmla="*/ 220980 h 2537460"/>
                  <a:gd name="connsiteX57" fmla="*/ 5345606 w 7298904"/>
                  <a:gd name="connsiteY57" fmla="*/ 175247 h 2537460"/>
                  <a:gd name="connsiteX58" fmla="*/ 5500584 w 7298904"/>
                  <a:gd name="connsiteY58" fmla="*/ 182880 h 2537460"/>
                  <a:gd name="connsiteX59" fmla="*/ 5675844 w 7298904"/>
                  <a:gd name="connsiteY59" fmla="*/ 45720 h 2537460"/>
                  <a:gd name="connsiteX60" fmla="*/ 5734696 w 7298904"/>
                  <a:gd name="connsiteY60" fmla="*/ 69446 h 2537460"/>
                  <a:gd name="connsiteX61" fmla="*/ 5782524 w 7298904"/>
                  <a:gd name="connsiteY61" fmla="*/ 106680 h 2537460"/>
                  <a:gd name="connsiteX62" fmla="*/ 5858724 w 7298904"/>
                  <a:gd name="connsiteY62" fmla="*/ 106680 h 2537460"/>
                  <a:gd name="connsiteX63" fmla="*/ 5920741 w 7298904"/>
                  <a:gd name="connsiteY63" fmla="*/ 118091 h 2537460"/>
                  <a:gd name="connsiteX64" fmla="*/ 5980644 w 7298904"/>
                  <a:gd name="connsiteY64" fmla="*/ 99060 h 2537460"/>
                  <a:gd name="connsiteX65" fmla="*/ 6110184 w 7298904"/>
                  <a:gd name="connsiteY65" fmla="*/ 99060 h 2537460"/>
                  <a:gd name="connsiteX66" fmla="*/ 6213231 w 7298904"/>
                  <a:gd name="connsiteY66" fmla="*/ 83808 h 2537460"/>
                  <a:gd name="connsiteX67" fmla="*/ 6331164 w 7298904"/>
                  <a:gd name="connsiteY67" fmla="*/ 15240 h 2537460"/>
                  <a:gd name="connsiteX68" fmla="*/ 6399744 w 7298904"/>
                  <a:gd name="connsiteY68" fmla="*/ 0 h 2537460"/>
                  <a:gd name="connsiteX69" fmla="*/ 6605484 w 7298904"/>
                  <a:gd name="connsiteY69" fmla="*/ 45720 h 2537460"/>
                  <a:gd name="connsiteX70" fmla="*/ 6674064 w 7298904"/>
                  <a:gd name="connsiteY70" fmla="*/ 68580 h 2537460"/>
                  <a:gd name="connsiteX71" fmla="*/ 6765504 w 7298904"/>
                  <a:gd name="connsiteY71" fmla="*/ 121920 h 2537460"/>
                  <a:gd name="connsiteX72" fmla="*/ 6876875 w 7298904"/>
                  <a:gd name="connsiteY72" fmla="*/ 91414 h 2537460"/>
                  <a:gd name="connsiteX73" fmla="*/ 7077924 w 7298904"/>
                  <a:gd name="connsiteY73" fmla="*/ 121920 h 2537460"/>
                  <a:gd name="connsiteX74" fmla="*/ 7133755 w 7298904"/>
                  <a:gd name="connsiteY74" fmla="*/ 103794 h 2537460"/>
                  <a:gd name="connsiteX75" fmla="*/ 7298904 w 7298904"/>
                  <a:gd name="connsiteY75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809296 w 7298904"/>
                  <a:gd name="connsiteY40" fmla="*/ 464819 h 2537460"/>
                  <a:gd name="connsiteX41" fmla="*/ 3829226 w 7298904"/>
                  <a:gd name="connsiteY41" fmla="*/ 495287 h 2537460"/>
                  <a:gd name="connsiteX42" fmla="*/ 3915624 w 7298904"/>
                  <a:gd name="connsiteY42" fmla="*/ 441960 h 2537460"/>
                  <a:gd name="connsiteX43" fmla="*/ 4011050 w 7298904"/>
                  <a:gd name="connsiteY43" fmla="*/ 426707 h 2537460"/>
                  <a:gd name="connsiteX44" fmla="*/ 4187367 w 7298904"/>
                  <a:gd name="connsiteY44" fmla="*/ 255250 h 2537460"/>
                  <a:gd name="connsiteX45" fmla="*/ 4266384 w 7298904"/>
                  <a:gd name="connsiteY45" fmla="*/ 259080 h 2537460"/>
                  <a:gd name="connsiteX46" fmla="*/ 4392755 w 7298904"/>
                  <a:gd name="connsiteY46" fmla="*/ 262871 h 2537460"/>
                  <a:gd name="connsiteX47" fmla="*/ 4491815 w 7298904"/>
                  <a:gd name="connsiteY47" fmla="*/ 186671 h 2537460"/>
                  <a:gd name="connsiteX48" fmla="*/ 4631904 w 7298904"/>
                  <a:gd name="connsiteY48" fmla="*/ 190500 h 2537460"/>
                  <a:gd name="connsiteX49" fmla="*/ 4692864 w 7298904"/>
                  <a:gd name="connsiteY49" fmla="*/ 217125 h 2537460"/>
                  <a:gd name="connsiteX50" fmla="*/ 4746204 w 7298904"/>
                  <a:gd name="connsiteY50" fmla="*/ 198120 h 2537460"/>
                  <a:gd name="connsiteX51" fmla="*/ 4814080 w 7298904"/>
                  <a:gd name="connsiteY51" fmla="*/ 186671 h 2537460"/>
                  <a:gd name="connsiteX52" fmla="*/ 4872462 w 7298904"/>
                  <a:gd name="connsiteY52" fmla="*/ 144754 h 2537460"/>
                  <a:gd name="connsiteX53" fmla="*/ 4951944 w 7298904"/>
                  <a:gd name="connsiteY53" fmla="*/ 160020 h 2537460"/>
                  <a:gd name="connsiteX54" fmla="*/ 5106458 w 7298904"/>
                  <a:gd name="connsiteY54" fmla="*/ 152387 h 2537460"/>
                  <a:gd name="connsiteX55" fmla="*/ 5295549 w 7298904"/>
                  <a:gd name="connsiteY55" fmla="*/ 220980 h 2537460"/>
                  <a:gd name="connsiteX56" fmla="*/ 5345606 w 7298904"/>
                  <a:gd name="connsiteY56" fmla="*/ 175247 h 2537460"/>
                  <a:gd name="connsiteX57" fmla="*/ 5500584 w 7298904"/>
                  <a:gd name="connsiteY57" fmla="*/ 182880 h 2537460"/>
                  <a:gd name="connsiteX58" fmla="*/ 5675844 w 7298904"/>
                  <a:gd name="connsiteY58" fmla="*/ 45720 h 2537460"/>
                  <a:gd name="connsiteX59" fmla="*/ 5734696 w 7298904"/>
                  <a:gd name="connsiteY59" fmla="*/ 69446 h 2537460"/>
                  <a:gd name="connsiteX60" fmla="*/ 5782524 w 7298904"/>
                  <a:gd name="connsiteY60" fmla="*/ 106680 h 2537460"/>
                  <a:gd name="connsiteX61" fmla="*/ 5858724 w 7298904"/>
                  <a:gd name="connsiteY61" fmla="*/ 106680 h 2537460"/>
                  <a:gd name="connsiteX62" fmla="*/ 5920741 w 7298904"/>
                  <a:gd name="connsiteY62" fmla="*/ 118091 h 2537460"/>
                  <a:gd name="connsiteX63" fmla="*/ 5980644 w 7298904"/>
                  <a:gd name="connsiteY63" fmla="*/ 99060 h 2537460"/>
                  <a:gd name="connsiteX64" fmla="*/ 6110184 w 7298904"/>
                  <a:gd name="connsiteY64" fmla="*/ 99060 h 2537460"/>
                  <a:gd name="connsiteX65" fmla="*/ 6213231 w 7298904"/>
                  <a:gd name="connsiteY65" fmla="*/ 83808 h 2537460"/>
                  <a:gd name="connsiteX66" fmla="*/ 6331164 w 7298904"/>
                  <a:gd name="connsiteY66" fmla="*/ 15240 h 2537460"/>
                  <a:gd name="connsiteX67" fmla="*/ 6399744 w 7298904"/>
                  <a:gd name="connsiteY67" fmla="*/ 0 h 2537460"/>
                  <a:gd name="connsiteX68" fmla="*/ 6605484 w 7298904"/>
                  <a:gd name="connsiteY68" fmla="*/ 45720 h 2537460"/>
                  <a:gd name="connsiteX69" fmla="*/ 6674064 w 7298904"/>
                  <a:gd name="connsiteY69" fmla="*/ 68580 h 2537460"/>
                  <a:gd name="connsiteX70" fmla="*/ 6765504 w 7298904"/>
                  <a:gd name="connsiteY70" fmla="*/ 121920 h 2537460"/>
                  <a:gd name="connsiteX71" fmla="*/ 6876875 w 7298904"/>
                  <a:gd name="connsiteY71" fmla="*/ 91414 h 2537460"/>
                  <a:gd name="connsiteX72" fmla="*/ 7077924 w 7298904"/>
                  <a:gd name="connsiteY72" fmla="*/ 121920 h 2537460"/>
                  <a:gd name="connsiteX73" fmla="*/ 7133755 w 7298904"/>
                  <a:gd name="connsiteY73" fmla="*/ 103794 h 2537460"/>
                  <a:gd name="connsiteX74" fmla="*/ 7298904 w 7298904"/>
                  <a:gd name="connsiteY7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829226 w 7298904"/>
                  <a:gd name="connsiteY40" fmla="*/ 495287 h 2537460"/>
                  <a:gd name="connsiteX41" fmla="*/ 3915624 w 7298904"/>
                  <a:gd name="connsiteY41" fmla="*/ 441960 h 2537460"/>
                  <a:gd name="connsiteX42" fmla="*/ 4011050 w 7298904"/>
                  <a:gd name="connsiteY42" fmla="*/ 426707 h 2537460"/>
                  <a:gd name="connsiteX43" fmla="*/ 4187367 w 7298904"/>
                  <a:gd name="connsiteY43" fmla="*/ 255250 h 2537460"/>
                  <a:gd name="connsiteX44" fmla="*/ 4266384 w 7298904"/>
                  <a:gd name="connsiteY44" fmla="*/ 259080 h 2537460"/>
                  <a:gd name="connsiteX45" fmla="*/ 4392755 w 7298904"/>
                  <a:gd name="connsiteY45" fmla="*/ 262871 h 2537460"/>
                  <a:gd name="connsiteX46" fmla="*/ 4491815 w 7298904"/>
                  <a:gd name="connsiteY46" fmla="*/ 186671 h 2537460"/>
                  <a:gd name="connsiteX47" fmla="*/ 4631904 w 7298904"/>
                  <a:gd name="connsiteY47" fmla="*/ 190500 h 2537460"/>
                  <a:gd name="connsiteX48" fmla="*/ 4692864 w 7298904"/>
                  <a:gd name="connsiteY48" fmla="*/ 217125 h 2537460"/>
                  <a:gd name="connsiteX49" fmla="*/ 4746204 w 7298904"/>
                  <a:gd name="connsiteY49" fmla="*/ 198120 h 2537460"/>
                  <a:gd name="connsiteX50" fmla="*/ 4814080 w 7298904"/>
                  <a:gd name="connsiteY50" fmla="*/ 186671 h 2537460"/>
                  <a:gd name="connsiteX51" fmla="*/ 4872462 w 7298904"/>
                  <a:gd name="connsiteY51" fmla="*/ 144754 h 2537460"/>
                  <a:gd name="connsiteX52" fmla="*/ 4951944 w 7298904"/>
                  <a:gd name="connsiteY52" fmla="*/ 160020 h 2537460"/>
                  <a:gd name="connsiteX53" fmla="*/ 5106458 w 7298904"/>
                  <a:gd name="connsiteY53" fmla="*/ 152387 h 2537460"/>
                  <a:gd name="connsiteX54" fmla="*/ 5295549 w 7298904"/>
                  <a:gd name="connsiteY54" fmla="*/ 220980 h 2537460"/>
                  <a:gd name="connsiteX55" fmla="*/ 5345606 w 7298904"/>
                  <a:gd name="connsiteY55" fmla="*/ 175247 h 2537460"/>
                  <a:gd name="connsiteX56" fmla="*/ 5500584 w 7298904"/>
                  <a:gd name="connsiteY56" fmla="*/ 182880 h 2537460"/>
                  <a:gd name="connsiteX57" fmla="*/ 5675844 w 7298904"/>
                  <a:gd name="connsiteY57" fmla="*/ 45720 h 2537460"/>
                  <a:gd name="connsiteX58" fmla="*/ 5734696 w 7298904"/>
                  <a:gd name="connsiteY58" fmla="*/ 69446 h 2537460"/>
                  <a:gd name="connsiteX59" fmla="*/ 5782524 w 7298904"/>
                  <a:gd name="connsiteY59" fmla="*/ 106680 h 2537460"/>
                  <a:gd name="connsiteX60" fmla="*/ 5858724 w 7298904"/>
                  <a:gd name="connsiteY60" fmla="*/ 106680 h 2537460"/>
                  <a:gd name="connsiteX61" fmla="*/ 5920741 w 7298904"/>
                  <a:gd name="connsiteY61" fmla="*/ 118091 h 2537460"/>
                  <a:gd name="connsiteX62" fmla="*/ 5980644 w 7298904"/>
                  <a:gd name="connsiteY62" fmla="*/ 99060 h 2537460"/>
                  <a:gd name="connsiteX63" fmla="*/ 6110184 w 7298904"/>
                  <a:gd name="connsiteY63" fmla="*/ 99060 h 2537460"/>
                  <a:gd name="connsiteX64" fmla="*/ 6213231 w 7298904"/>
                  <a:gd name="connsiteY64" fmla="*/ 83808 h 2537460"/>
                  <a:gd name="connsiteX65" fmla="*/ 6331164 w 7298904"/>
                  <a:gd name="connsiteY65" fmla="*/ 15240 h 2537460"/>
                  <a:gd name="connsiteX66" fmla="*/ 6399744 w 7298904"/>
                  <a:gd name="connsiteY66" fmla="*/ 0 h 2537460"/>
                  <a:gd name="connsiteX67" fmla="*/ 6605484 w 7298904"/>
                  <a:gd name="connsiteY67" fmla="*/ 45720 h 2537460"/>
                  <a:gd name="connsiteX68" fmla="*/ 6674064 w 7298904"/>
                  <a:gd name="connsiteY68" fmla="*/ 68580 h 2537460"/>
                  <a:gd name="connsiteX69" fmla="*/ 6765504 w 7298904"/>
                  <a:gd name="connsiteY69" fmla="*/ 121920 h 2537460"/>
                  <a:gd name="connsiteX70" fmla="*/ 6876875 w 7298904"/>
                  <a:gd name="connsiteY70" fmla="*/ 91414 h 2537460"/>
                  <a:gd name="connsiteX71" fmla="*/ 7077924 w 7298904"/>
                  <a:gd name="connsiteY71" fmla="*/ 121920 h 2537460"/>
                  <a:gd name="connsiteX72" fmla="*/ 7133755 w 7298904"/>
                  <a:gd name="connsiteY72" fmla="*/ 103794 h 2537460"/>
                  <a:gd name="connsiteX73" fmla="*/ 7298904 w 7298904"/>
                  <a:gd name="connsiteY7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3915624 w 7298904"/>
                  <a:gd name="connsiteY40" fmla="*/ 441960 h 2537460"/>
                  <a:gd name="connsiteX41" fmla="*/ 4011050 w 7298904"/>
                  <a:gd name="connsiteY41" fmla="*/ 426707 h 2537460"/>
                  <a:gd name="connsiteX42" fmla="*/ 4187367 w 7298904"/>
                  <a:gd name="connsiteY42" fmla="*/ 255250 h 2537460"/>
                  <a:gd name="connsiteX43" fmla="*/ 4266384 w 7298904"/>
                  <a:gd name="connsiteY43" fmla="*/ 259080 h 2537460"/>
                  <a:gd name="connsiteX44" fmla="*/ 4392755 w 7298904"/>
                  <a:gd name="connsiteY44" fmla="*/ 262871 h 2537460"/>
                  <a:gd name="connsiteX45" fmla="*/ 4491815 w 7298904"/>
                  <a:gd name="connsiteY45" fmla="*/ 186671 h 2537460"/>
                  <a:gd name="connsiteX46" fmla="*/ 4631904 w 7298904"/>
                  <a:gd name="connsiteY46" fmla="*/ 190500 h 2537460"/>
                  <a:gd name="connsiteX47" fmla="*/ 4692864 w 7298904"/>
                  <a:gd name="connsiteY47" fmla="*/ 217125 h 2537460"/>
                  <a:gd name="connsiteX48" fmla="*/ 4746204 w 7298904"/>
                  <a:gd name="connsiteY48" fmla="*/ 198120 h 2537460"/>
                  <a:gd name="connsiteX49" fmla="*/ 4814080 w 7298904"/>
                  <a:gd name="connsiteY49" fmla="*/ 186671 h 2537460"/>
                  <a:gd name="connsiteX50" fmla="*/ 4872462 w 7298904"/>
                  <a:gd name="connsiteY50" fmla="*/ 144754 h 2537460"/>
                  <a:gd name="connsiteX51" fmla="*/ 4951944 w 7298904"/>
                  <a:gd name="connsiteY51" fmla="*/ 160020 h 2537460"/>
                  <a:gd name="connsiteX52" fmla="*/ 5106458 w 7298904"/>
                  <a:gd name="connsiteY52" fmla="*/ 152387 h 2537460"/>
                  <a:gd name="connsiteX53" fmla="*/ 5295549 w 7298904"/>
                  <a:gd name="connsiteY53" fmla="*/ 220980 h 2537460"/>
                  <a:gd name="connsiteX54" fmla="*/ 5345606 w 7298904"/>
                  <a:gd name="connsiteY54" fmla="*/ 175247 h 2537460"/>
                  <a:gd name="connsiteX55" fmla="*/ 5500584 w 7298904"/>
                  <a:gd name="connsiteY55" fmla="*/ 182880 h 2537460"/>
                  <a:gd name="connsiteX56" fmla="*/ 5675844 w 7298904"/>
                  <a:gd name="connsiteY56" fmla="*/ 45720 h 2537460"/>
                  <a:gd name="connsiteX57" fmla="*/ 5734696 w 7298904"/>
                  <a:gd name="connsiteY57" fmla="*/ 69446 h 2537460"/>
                  <a:gd name="connsiteX58" fmla="*/ 5782524 w 7298904"/>
                  <a:gd name="connsiteY58" fmla="*/ 106680 h 2537460"/>
                  <a:gd name="connsiteX59" fmla="*/ 5858724 w 7298904"/>
                  <a:gd name="connsiteY59" fmla="*/ 106680 h 2537460"/>
                  <a:gd name="connsiteX60" fmla="*/ 5920741 w 7298904"/>
                  <a:gd name="connsiteY60" fmla="*/ 118091 h 2537460"/>
                  <a:gd name="connsiteX61" fmla="*/ 5980644 w 7298904"/>
                  <a:gd name="connsiteY61" fmla="*/ 99060 h 2537460"/>
                  <a:gd name="connsiteX62" fmla="*/ 6110184 w 7298904"/>
                  <a:gd name="connsiteY62" fmla="*/ 99060 h 2537460"/>
                  <a:gd name="connsiteX63" fmla="*/ 6213231 w 7298904"/>
                  <a:gd name="connsiteY63" fmla="*/ 83808 h 2537460"/>
                  <a:gd name="connsiteX64" fmla="*/ 6331164 w 7298904"/>
                  <a:gd name="connsiteY64" fmla="*/ 15240 h 2537460"/>
                  <a:gd name="connsiteX65" fmla="*/ 6399744 w 7298904"/>
                  <a:gd name="connsiteY65" fmla="*/ 0 h 2537460"/>
                  <a:gd name="connsiteX66" fmla="*/ 6605484 w 7298904"/>
                  <a:gd name="connsiteY66" fmla="*/ 45720 h 2537460"/>
                  <a:gd name="connsiteX67" fmla="*/ 6674064 w 7298904"/>
                  <a:gd name="connsiteY67" fmla="*/ 68580 h 2537460"/>
                  <a:gd name="connsiteX68" fmla="*/ 6765504 w 7298904"/>
                  <a:gd name="connsiteY68" fmla="*/ 121920 h 2537460"/>
                  <a:gd name="connsiteX69" fmla="*/ 6876875 w 7298904"/>
                  <a:gd name="connsiteY69" fmla="*/ 91414 h 2537460"/>
                  <a:gd name="connsiteX70" fmla="*/ 7077924 w 7298904"/>
                  <a:gd name="connsiteY70" fmla="*/ 121920 h 2537460"/>
                  <a:gd name="connsiteX71" fmla="*/ 7133755 w 7298904"/>
                  <a:gd name="connsiteY71" fmla="*/ 103794 h 2537460"/>
                  <a:gd name="connsiteX72" fmla="*/ 7298904 w 7298904"/>
                  <a:gd name="connsiteY72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011050 w 7298904"/>
                  <a:gd name="connsiteY40" fmla="*/ 426707 h 2537460"/>
                  <a:gd name="connsiteX41" fmla="*/ 4187367 w 7298904"/>
                  <a:gd name="connsiteY41" fmla="*/ 255250 h 2537460"/>
                  <a:gd name="connsiteX42" fmla="*/ 4266384 w 7298904"/>
                  <a:gd name="connsiteY42" fmla="*/ 259080 h 2537460"/>
                  <a:gd name="connsiteX43" fmla="*/ 4392755 w 7298904"/>
                  <a:gd name="connsiteY43" fmla="*/ 262871 h 2537460"/>
                  <a:gd name="connsiteX44" fmla="*/ 4491815 w 7298904"/>
                  <a:gd name="connsiteY44" fmla="*/ 186671 h 2537460"/>
                  <a:gd name="connsiteX45" fmla="*/ 4631904 w 7298904"/>
                  <a:gd name="connsiteY45" fmla="*/ 190500 h 2537460"/>
                  <a:gd name="connsiteX46" fmla="*/ 4692864 w 7298904"/>
                  <a:gd name="connsiteY46" fmla="*/ 217125 h 2537460"/>
                  <a:gd name="connsiteX47" fmla="*/ 4746204 w 7298904"/>
                  <a:gd name="connsiteY47" fmla="*/ 198120 h 2537460"/>
                  <a:gd name="connsiteX48" fmla="*/ 4814080 w 7298904"/>
                  <a:gd name="connsiteY48" fmla="*/ 186671 h 2537460"/>
                  <a:gd name="connsiteX49" fmla="*/ 4872462 w 7298904"/>
                  <a:gd name="connsiteY49" fmla="*/ 144754 h 2537460"/>
                  <a:gd name="connsiteX50" fmla="*/ 4951944 w 7298904"/>
                  <a:gd name="connsiteY50" fmla="*/ 160020 h 2537460"/>
                  <a:gd name="connsiteX51" fmla="*/ 5106458 w 7298904"/>
                  <a:gd name="connsiteY51" fmla="*/ 152387 h 2537460"/>
                  <a:gd name="connsiteX52" fmla="*/ 5295549 w 7298904"/>
                  <a:gd name="connsiteY52" fmla="*/ 220980 h 2537460"/>
                  <a:gd name="connsiteX53" fmla="*/ 5345606 w 7298904"/>
                  <a:gd name="connsiteY53" fmla="*/ 175247 h 2537460"/>
                  <a:gd name="connsiteX54" fmla="*/ 5500584 w 7298904"/>
                  <a:gd name="connsiteY54" fmla="*/ 182880 h 2537460"/>
                  <a:gd name="connsiteX55" fmla="*/ 5675844 w 7298904"/>
                  <a:gd name="connsiteY55" fmla="*/ 45720 h 2537460"/>
                  <a:gd name="connsiteX56" fmla="*/ 5734696 w 7298904"/>
                  <a:gd name="connsiteY56" fmla="*/ 69446 h 2537460"/>
                  <a:gd name="connsiteX57" fmla="*/ 5782524 w 7298904"/>
                  <a:gd name="connsiteY57" fmla="*/ 106680 h 2537460"/>
                  <a:gd name="connsiteX58" fmla="*/ 5858724 w 7298904"/>
                  <a:gd name="connsiteY58" fmla="*/ 106680 h 2537460"/>
                  <a:gd name="connsiteX59" fmla="*/ 5920741 w 7298904"/>
                  <a:gd name="connsiteY59" fmla="*/ 118091 h 2537460"/>
                  <a:gd name="connsiteX60" fmla="*/ 5980644 w 7298904"/>
                  <a:gd name="connsiteY60" fmla="*/ 99060 h 2537460"/>
                  <a:gd name="connsiteX61" fmla="*/ 6110184 w 7298904"/>
                  <a:gd name="connsiteY61" fmla="*/ 99060 h 2537460"/>
                  <a:gd name="connsiteX62" fmla="*/ 6213231 w 7298904"/>
                  <a:gd name="connsiteY62" fmla="*/ 83808 h 2537460"/>
                  <a:gd name="connsiteX63" fmla="*/ 6331164 w 7298904"/>
                  <a:gd name="connsiteY63" fmla="*/ 15240 h 2537460"/>
                  <a:gd name="connsiteX64" fmla="*/ 6399744 w 7298904"/>
                  <a:gd name="connsiteY64" fmla="*/ 0 h 2537460"/>
                  <a:gd name="connsiteX65" fmla="*/ 6605484 w 7298904"/>
                  <a:gd name="connsiteY65" fmla="*/ 45720 h 2537460"/>
                  <a:gd name="connsiteX66" fmla="*/ 6674064 w 7298904"/>
                  <a:gd name="connsiteY66" fmla="*/ 68580 h 2537460"/>
                  <a:gd name="connsiteX67" fmla="*/ 6765504 w 7298904"/>
                  <a:gd name="connsiteY67" fmla="*/ 121920 h 2537460"/>
                  <a:gd name="connsiteX68" fmla="*/ 6876875 w 7298904"/>
                  <a:gd name="connsiteY68" fmla="*/ 91414 h 2537460"/>
                  <a:gd name="connsiteX69" fmla="*/ 7077924 w 7298904"/>
                  <a:gd name="connsiteY69" fmla="*/ 121920 h 2537460"/>
                  <a:gd name="connsiteX70" fmla="*/ 7133755 w 7298904"/>
                  <a:gd name="connsiteY70" fmla="*/ 103794 h 2537460"/>
                  <a:gd name="connsiteX71" fmla="*/ 7298904 w 7298904"/>
                  <a:gd name="connsiteY71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187367 w 7298904"/>
                  <a:gd name="connsiteY40" fmla="*/ 255250 h 2537460"/>
                  <a:gd name="connsiteX41" fmla="*/ 4266384 w 7298904"/>
                  <a:gd name="connsiteY41" fmla="*/ 259080 h 2537460"/>
                  <a:gd name="connsiteX42" fmla="*/ 4392755 w 7298904"/>
                  <a:gd name="connsiteY42" fmla="*/ 262871 h 2537460"/>
                  <a:gd name="connsiteX43" fmla="*/ 4491815 w 7298904"/>
                  <a:gd name="connsiteY43" fmla="*/ 186671 h 2537460"/>
                  <a:gd name="connsiteX44" fmla="*/ 4631904 w 7298904"/>
                  <a:gd name="connsiteY44" fmla="*/ 190500 h 2537460"/>
                  <a:gd name="connsiteX45" fmla="*/ 4692864 w 7298904"/>
                  <a:gd name="connsiteY45" fmla="*/ 217125 h 2537460"/>
                  <a:gd name="connsiteX46" fmla="*/ 4746204 w 7298904"/>
                  <a:gd name="connsiteY46" fmla="*/ 198120 h 2537460"/>
                  <a:gd name="connsiteX47" fmla="*/ 4814080 w 7298904"/>
                  <a:gd name="connsiteY47" fmla="*/ 186671 h 2537460"/>
                  <a:gd name="connsiteX48" fmla="*/ 4872462 w 7298904"/>
                  <a:gd name="connsiteY48" fmla="*/ 144754 h 2537460"/>
                  <a:gd name="connsiteX49" fmla="*/ 4951944 w 7298904"/>
                  <a:gd name="connsiteY49" fmla="*/ 160020 h 2537460"/>
                  <a:gd name="connsiteX50" fmla="*/ 5106458 w 7298904"/>
                  <a:gd name="connsiteY50" fmla="*/ 152387 h 2537460"/>
                  <a:gd name="connsiteX51" fmla="*/ 5295549 w 7298904"/>
                  <a:gd name="connsiteY51" fmla="*/ 220980 h 2537460"/>
                  <a:gd name="connsiteX52" fmla="*/ 5345606 w 7298904"/>
                  <a:gd name="connsiteY52" fmla="*/ 175247 h 2537460"/>
                  <a:gd name="connsiteX53" fmla="*/ 5500584 w 7298904"/>
                  <a:gd name="connsiteY53" fmla="*/ 182880 h 2537460"/>
                  <a:gd name="connsiteX54" fmla="*/ 5675844 w 7298904"/>
                  <a:gd name="connsiteY54" fmla="*/ 45720 h 2537460"/>
                  <a:gd name="connsiteX55" fmla="*/ 5734696 w 7298904"/>
                  <a:gd name="connsiteY55" fmla="*/ 69446 h 2537460"/>
                  <a:gd name="connsiteX56" fmla="*/ 5782524 w 7298904"/>
                  <a:gd name="connsiteY56" fmla="*/ 106680 h 2537460"/>
                  <a:gd name="connsiteX57" fmla="*/ 5858724 w 7298904"/>
                  <a:gd name="connsiteY57" fmla="*/ 106680 h 2537460"/>
                  <a:gd name="connsiteX58" fmla="*/ 5920741 w 7298904"/>
                  <a:gd name="connsiteY58" fmla="*/ 118091 h 2537460"/>
                  <a:gd name="connsiteX59" fmla="*/ 5980644 w 7298904"/>
                  <a:gd name="connsiteY59" fmla="*/ 99060 h 2537460"/>
                  <a:gd name="connsiteX60" fmla="*/ 6110184 w 7298904"/>
                  <a:gd name="connsiteY60" fmla="*/ 99060 h 2537460"/>
                  <a:gd name="connsiteX61" fmla="*/ 6213231 w 7298904"/>
                  <a:gd name="connsiteY61" fmla="*/ 83808 h 2537460"/>
                  <a:gd name="connsiteX62" fmla="*/ 6331164 w 7298904"/>
                  <a:gd name="connsiteY62" fmla="*/ 15240 h 2537460"/>
                  <a:gd name="connsiteX63" fmla="*/ 6399744 w 7298904"/>
                  <a:gd name="connsiteY63" fmla="*/ 0 h 2537460"/>
                  <a:gd name="connsiteX64" fmla="*/ 6605484 w 7298904"/>
                  <a:gd name="connsiteY64" fmla="*/ 45720 h 2537460"/>
                  <a:gd name="connsiteX65" fmla="*/ 6674064 w 7298904"/>
                  <a:gd name="connsiteY65" fmla="*/ 68580 h 2537460"/>
                  <a:gd name="connsiteX66" fmla="*/ 6765504 w 7298904"/>
                  <a:gd name="connsiteY66" fmla="*/ 121920 h 2537460"/>
                  <a:gd name="connsiteX67" fmla="*/ 6876875 w 7298904"/>
                  <a:gd name="connsiteY67" fmla="*/ 91414 h 2537460"/>
                  <a:gd name="connsiteX68" fmla="*/ 7077924 w 7298904"/>
                  <a:gd name="connsiteY68" fmla="*/ 121920 h 2537460"/>
                  <a:gd name="connsiteX69" fmla="*/ 7133755 w 7298904"/>
                  <a:gd name="connsiteY69" fmla="*/ 103794 h 2537460"/>
                  <a:gd name="connsiteX70" fmla="*/ 7298904 w 7298904"/>
                  <a:gd name="connsiteY70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266384 w 7298904"/>
                  <a:gd name="connsiteY40" fmla="*/ 259080 h 2537460"/>
                  <a:gd name="connsiteX41" fmla="*/ 4392755 w 7298904"/>
                  <a:gd name="connsiteY41" fmla="*/ 262871 h 2537460"/>
                  <a:gd name="connsiteX42" fmla="*/ 4491815 w 7298904"/>
                  <a:gd name="connsiteY42" fmla="*/ 186671 h 2537460"/>
                  <a:gd name="connsiteX43" fmla="*/ 4631904 w 7298904"/>
                  <a:gd name="connsiteY43" fmla="*/ 190500 h 2537460"/>
                  <a:gd name="connsiteX44" fmla="*/ 4692864 w 7298904"/>
                  <a:gd name="connsiteY44" fmla="*/ 217125 h 2537460"/>
                  <a:gd name="connsiteX45" fmla="*/ 4746204 w 7298904"/>
                  <a:gd name="connsiteY45" fmla="*/ 198120 h 2537460"/>
                  <a:gd name="connsiteX46" fmla="*/ 4814080 w 7298904"/>
                  <a:gd name="connsiteY46" fmla="*/ 186671 h 2537460"/>
                  <a:gd name="connsiteX47" fmla="*/ 4872462 w 7298904"/>
                  <a:gd name="connsiteY47" fmla="*/ 144754 h 2537460"/>
                  <a:gd name="connsiteX48" fmla="*/ 4951944 w 7298904"/>
                  <a:gd name="connsiteY48" fmla="*/ 160020 h 2537460"/>
                  <a:gd name="connsiteX49" fmla="*/ 5106458 w 7298904"/>
                  <a:gd name="connsiteY49" fmla="*/ 152387 h 2537460"/>
                  <a:gd name="connsiteX50" fmla="*/ 5295549 w 7298904"/>
                  <a:gd name="connsiteY50" fmla="*/ 220980 h 2537460"/>
                  <a:gd name="connsiteX51" fmla="*/ 5345606 w 7298904"/>
                  <a:gd name="connsiteY51" fmla="*/ 175247 h 2537460"/>
                  <a:gd name="connsiteX52" fmla="*/ 5500584 w 7298904"/>
                  <a:gd name="connsiteY52" fmla="*/ 182880 h 2537460"/>
                  <a:gd name="connsiteX53" fmla="*/ 5675844 w 7298904"/>
                  <a:gd name="connsiteY53" fmla="*/ 45720 h 2537460"/>
                  <a:gd name="connsiteX54" fmla="*/ 5734696 w 7298904"/>
                  <a:gd name="connsiteY54" fmla="*/ 69446 h 2537460"/>
                  <a:gd name="connsiteX55" fmla="*/ 5782524 w 7298904"/>
                  <a:gd name="connsiteY55" fmla="*/ 106680 h 2537460"/>
                  <a:gd name="connsiteX56" fmla="*/ 5858724 w 7298904"/>
                  <a:gd name="connsiteY56" fmla="*/ 106680 h 2537460"/>
                  <a:gd name="connsiteX57" fmla="*/ 5920741 w 7298904"/>
                  <a:gd name="connsiteY57" fmla="*/ 118091 h 2537460"/>
                  <a:gd name="connsiteX58" fmla="*/ 5980644 w 7298904"/>
                  <a:gd name="connsiteY58" fmla="*/ 99060 h 2537460"/>
                  <a:gd name="connsiteX59" fmla="*/ 6110184 w 7298904"/>
                  <a:gd name="connsiteY59" fmla="*/ 99060 h 2537460"/>
                  <a:gd name="connsiteX60" fmla="*/ 6213231 w 7298904"/>
                  <a:gd name="connsiteY60" fmla="*/ 83808 h 2537460"/>
                  <a:gd name="connsiteX61" fmla="*/ 6331164 w 7298904"/>
                  <a:gd name="connsiteY61" fmla="*/ 15240 h 2537460"/>
                  <a:gd name="connsiteX62" fmla="*/ 6399744 w 7298904"/>
                  <a:gd name="connsiteY62" fmla="*/ 0 h 2537460"/>
                  <a:gd name="connsiteX63" fmla="*/ 6605484 w 7298904"/>
                  <a:gd name="connsiteY63" fmla="*/ 45720 h 2537460"/>
                  <a:gd name="connsiteX64" fmla="*/ 6674064 w 7298904"/>
                  <a:gd name="connsiteY64" fmla="*/ 68580 h 2537460"/>
                  <a:gd name="connsiteX65" fmla="*/ 6765504 w 7298904"/>
                  <a:gd name="connsiteY65" fmla="*/ 121920 h 2537460"/>
                  <a:gd name="connsiteX66" fmla="*/ 6876875 w 7298904"/>
                  <a:gd name="connsiteY66" fmla="*/ 91414 h 2537460"/>
                  <a:gd name="connsiteX67" fmla="*/ 7077924 w 7298904"/>
                  <a:gd name="connsiteY67" fmla="*/ 121920 h 2537460"/>
                  <a:gd name="connsiteX68" fmla="*/ 7133755 w 7298904"/>
                  <a:gd name="connsiteY68" fmla="*/ 103794 h 2537460"/>
                  <a:gd name="connsiteX69" fmla="*/ 7298904 w 7298904"/>
                  <a:gd name="connsiteY69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392755 w 7298904"/>
                  <a:gd name="connsiteY40" fmla="*/ 262871 h 2537460"/>
                  <a:gd name="connsiteX41" fmla="*/ 4491815 w 7298904"/>
                  <a:gd name="connsiteY41" fmla="*/ 186671 h 2537460"/>
                  <a:gd name="connsiteX42" fmla="*/ 4631904 w 7298904"/>
                  <a:gd name="connsiteY42" fmla="*/ 190500 h 2537460"/>
                  <a:gd name="connsiteX43" fmla="*/ 4692864 w 7298904"/>
                  <a:gd name="connsiteY43" fmla="*/ 217125 h 2537460"/>
                  <a:gd name="connsiteX44" fmla="*/ 4746204 w 7298904"/>
                  <a:gd name="connsiteY44" fmla="*/ 198120 h 2537460"/>
                  <a:gd name="connsiteX45" fmla="*/ 4814080 w 7298904"/>
                  <a:gd name="connsiteY45" fmla="*/ 186671 h 2537460"/>
                  <a:gd name="connsiteX46" fmla="*/ 4872462 w 7298904"/>
                  <a:gd name="connsiteY46" fmla="*/ 144754 h 2537460"/>
                  <a:gd name="connsiteX47" fmla="*/ 4951944 w 7298904"/>
                  <a:gd name="connsiteY47" fmla="*/ 160020 h 2537460"/>
                  <a:gd name="connsiteX48" fmla="*/ 5106458 w 7298904"/>
                  <a:gd name="connsiteY48" fmla="*/ 152387 h 2537460"/>
                  <a:gd name="connsiteX49" fmla="*/ 5295549 w 7298904"/>
                  <a:gd name="connsiteY49" fmla="*/ 220980 h 2537460"/>
                  <a:gd name="connsiteX50" fmla="*/ 5345606 w 7298904"/>
                  <a:gd name="connsiteY50" fmla="*/ 175247 h 2537460"/>
                  <a:gd name="connsiteX51" fmla="*/ 5500584 w 7298904"/>
                  <a:gd name="connsiteY51" fmla="*/ 182880 h 2537460"/>
                  <a:gd name="connsiteX52" fmla="*/ 5675844 w 7298904"/>
                  <a:gd name="connsiteY52" fmla="*/ 45720 h 2537460"/>
                  <a:gd name="connsiteX53" fmla="*/ 5734696 w 7298904"/>
                  <a:gd name="connsiteY53" fmla="*/ 69446 h 2537460"/>
                  <a:gd name="connsiteX54" fmla="*/ 5782524 w 7298904"/>
                  <a:gd name="connsiteY54" fmla="*/ 106680 h 2537460"/>
                  <a:gd name="connsiteX55" fmla="*/ 5858724 w 7298904"/>
                  <a:gd name="connsiteY55" fmla="*/ 106680 h 2537460"/>
                  <a:gd name="connsiteX56" fmla="*/ 5920741 w 7298904"/>
                  <a:gd name="connsiteY56" fmla="*/ 118091 h 2537460"/>
                  <a:gd name="connsiteX57" fmla="*/ 5980644 w 7298904"/>
                  <a:gd name="connsiteY57" fmla="*/ 99060 h 2537460"/>
                  <a:gd name="connsiteX58" fmla="*/ 6110184 w 7298904"/>
                  <a:gd name="connsiteY58" fmla="*/ 99060 h 2537460"/>
                  <a:gd name="connsiteX59" fmla="*/ 6213231 w 7298904"/>
                  <a:gd name="connsiteY59" fmla="*/ 83808 h 2537460"/>
                  <a:gd name="connsiteX60" fmla="*/ 6331164 w 7298904"/>
                  <a:gd name="connsiteY60" fmla="*/ 15240 h 2537460"/>
                  <a:gd name="connsiteX61" fmla="*/ 6399744 w 7298904"/>
                  <a:gd name="connsiteY61" fmla="*/ 0 h 2537460"/>
                  <a:gd name="connsiteX62" fmla="*/ 6605484 w 7298904"/>
                  <a:gd name="connsiteY62" fmla="*/ 45720 h 2537460"/>
                  <a:gd name="connsiteX63" fmla="*/ 6674064 w 7298904"/>
                  <a:gd name="connsiteY63" fmla="*/ 68580 h 2537460"/>
                  <a:gd name="connsiteX64" fmla="*/ 6765504 w 7298904"/>
                  <a:gd name="connsiteY64" fmla="*/ 121920 h 2537460"/>
                  <a:gd name="connsiteX65" fmla="*/ 6876875 w 7298904"/>
                  <a:gd name="connsiteY65" fmla="*/ 91414 h 2537460"/>
                  <a:gd name="connsiteX66" fmla="*/ 7077924 w 7298904"/>
                  <a:gd name="connsiteY66" fmla="*/ 121920 h 2537460"/>
                  <a:gd name="connsiteX67" fmla="*/ 7133755 w 7298904"/>
                  <a:gd name="connsiteY67" fmla="*/ 103794 h 2537460"/>
                  <a:gd name="connsiteX68" fmla="*/ 7298904 w 7298904"/>
                  <a:gd name="connsiteY68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491815 w 7298904"/>
                  <a:gd name="connsiteY40" fmla="*/ 186671 h 2537460"/>
                  <a:gd name="connsiteX41" fmla="*/ 4631904 w 7298904"/>
                  <a:gd name="connsiteY41" fmla="*/ 190500 h 2537460"/>
                  <a:gd name="connsiteX42" fmla="*/ 4692864 w 7298904"/>
                  <a:gd name="connsiteY42" fmla="*/ 217125 h 2537460"/>
                  <a:gd name="connsiteX43" fmla="*/ 4746204 w 7298904"/>
                  <a:gd name="connsiteY43" fmla="*/ 198120 h 2537460"/>
                  <a:gd name="connsiteX44" fmla="*/ 4814080 w 7298904"/>
                  <a:gd name="connsiteY44" fmla="*/ 186671 h 2537460"/>
                  <a:gd name="connsiteX45" fmla="*/ 4872462 w 7298904"/>
                  <a:gd name="connsiteY45" fmla="*/ 144754 h 2537460"/>
                  <a:gd name="connsiteX46" fmla="*/ 4951944 w 7298904"/>
                  <a:gd name="connsiteY46" fmla="*/ 160020 h 2537460"/>
                  <a:gd name="connsiteX47" fmla="*/ 5106458 w 7298904"/>
                  <a:gd name="connsiteY47" fmla="*/ 152387 h 2537460"/>
                  <a:gd name="connsiteX48" fmla="*/ 5295549 w 7298904"/>
                  <a:gd name="connsiteY48" fmla="*/ 220980 h 2537460"/>
                  <a:gd name="connsiteX49" fmla="*/ 5345606 w 7298904"/>
                  <a:gd name="connsiteY49" fmla="*/ 175247 h 2537460"/>
                  <a:gd name="connsiteX50" fmla="*/ 5500584 w 7298904"/>
                  <a:gd name="connsiteY50" fmla="*/ 182880 h 2537460"/>
                  <a:gd name="connsiteX51" fmla="*/ 5675844 w 7298904"/>
                  <a:gd name="connsiteY51" fmla="*/ 45720 h 2537460"/>
                  <a:gd name="connsiteX52" fmla="*/ 5734696 w 7298904"/>
                  <a:gd name="connsiteY52" fmla="*/ 69446 h 2537460"/>
                  <a:gd name="connsiteX53" fmla="*/ 5782524 w 7298904"/>
                  <a:gd name="connsiteY53" fmla="*/ 106680 h 2537460"/>
                  <a:gd name="connsiteX54" fmla="*/ 5858724 w 7298904"/>
                  <a:gd name="connsiteY54" fmla="*/ 106680 h 2537460"/>
                  <a:gd name="connsiteX55" fmla="*/ 5920741 w 7298904"/>
                  <a:gd name="connsiteY55" fmla="*/ 118091 h 2537460"/>
                  <a:gd name="connsiteX56" fmla="*/ 5980644 w 7298904"/>
                  <a:gd name="connsiteY56" fmla="*/ 99060 h 2537460"/>
                  <a:gd name="connsiteX57" fmla="*/ 6110184 w 7298904"/>
                  <a:gd name="connsiteY57" fmla="*/ 99060 h 2537460"/>
                  <a:gd name="connsiteX58" fmla="*/ 6213231 w 7298904"/>
                  <a:gd name="connsiteY58" fmla="*/ 83808 h 2537460"/>
                  <a:gd name="connsiteX59" fmla="*/ 6331164 w 7298904"/>
                  <a:gd name="connsiteY59" fmla="*/ 15240 h 2537460"/>
                  <a:gd name="connsiteX60" fmla="*/ 6399744 w 7298904"/>
                  <a:gd name="connsiteY60" fmla="*/ 0 h 2537460"/>
                  <a:gd name="connsiteX61" fmla="*/ 6605484 w 7298904"/>
                  <a:gd name="connsiteY61" fmla="*/ 45720 h 2537460"/>
                  <a:gd name="connsiteX62" fmla="*/ 6674064 w 7298904"/>
                  <a:gd name="connsiteY62" fmla="*/ 68580 h 2537460"/>
                  <a:gd name="connsiteX63" fmla="*/ 6765504 w 7298904"/>
                  <a:gd name="connsiteY63" fmla="*/ 121920 h 2537460"/>
                  <a:gd name="connsiteX64" fmla="*/ 6876875 w 7298904"/>
                  <a:gd name="connsiteY64" fmla="*/ 91414 h 2537460"/>
                  <a:gd name="connsiteX65" fmla="*/ 7077924 w 7298904"/>
                  <a:gd name="connsiteY65" fmla="*/ 121920 h 2537460"/>
                  <a:gd name="connsiteX66" fmla="*/ 7133755 w 7298904"/>
                  <a:gd name="connsiteY66" fmla="*/ 103794 h 2537460"/>
                  <a:gd name="connsiteX67" fmla="*/ 7298904 w 7298904"/>
                  <a:gd name="connsiteY67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491815 w 7298904"/>
                  <a:gd name="connsiteY40" fmla="*/ 186671 h 2537460"/>
                  <a:gd name="connsiteX41" fmla="*/ 4692864 w 7298904"/>
                  <a:gd name="connsiteY41" fmla="*/ 217125 h 2537460"/>
                  <a:gd name="connsiteX42" fmla="*/ 4746204 w 7298904"/>
                  <a:gd name="connsiteY42" fmla="*/ 198120 h 2537460"/>
                  <a:gd name="connsiteX43" fmla="*/ 4814080 w 7298904"/>
                  <a:gd name="connsiteY43" fmla="*/ 186671 h 2537460"/>
                  <a:gd name="connsiteX44" fmla="*/ 4872462 w 7298904"/>
                  <a:gd name="connsiteY44" fmla="*/ 144754 h 2537460"/>
                  <a:gd name="connsiteX45" fmla="*/ 4951944 w 7298904"/>
                  <a:gd name="connsiteY45" fmla="*/ 160020 h 2537460"/>
                  <a:gd name="connsiteX46" fmla="*/ 5106458 w 7298904"/>
                  <a:gd name="connsiteY46" fmla="*/ 152387 h 2537460"/>
                  <a:gd name="connsiteX47" fmla="*/ 5295549 w 7298904"/>
                  <a:gd name="connsiteY47" fmla="*/ 220980 h 2537460"/>
                  <a:gd name="connsiteX48" fmla="*/ 5345606 w 7298904"/>
                  <a:gd name="connsiteY48" fmla="*/ 175247 h 2537460"/>
                  <a:gd name="connsiteX49" fmla="*/ 5500584 w 7298904"/>
                  <a:gd name="connsiteY49" fmla="*/ 182880 h 2537460"/>
                  <a:gd name="connsiteX50" fmla="*/ 5675844 w 7298904"/>
                  <a:gd name="connsiteY50" fmla="*/ 45720 h 2537460"/>
                  <a:gd name="connsiteX51" fmla="*/ 5734696 w 7298904"/>
                  <a:gd name="connsiteY51" fmla="*/ 69446 h 2537460"/>
                  <a:gd name="connsiteX52" fmla="*/ 5782524 w 7298904"/>
                  <a:gd name="connsiteY52" fmla="*/ 106680 h 2537460"/>
                  <a:gd name="connsiteX53" fmla="*/ 5858724 w 7298904"/>
                  <a:gd name="connsiteY53" fmla="*/ 106680 h 2537460"/>
                  <a:gd name="connsiteX54" fmla="*/ 5920741 w 7298904"/>
                  <a:gd name="connsiteY54" fmla="*/ 118091 h 2537460"/>
                  <a:gd name="connsiteX55" fmla="*/ 5980644 w 7298904"/>
                  <a:gd name="connsiteY55" fmla="*/ 99060 h 2537460"/>
                  <a:gd name="connsiteX56" fmla="*/ 6110184 w 7298904"/>
                  <a:gd name="connsiteY56" fmla="*/ 99060 h 2537460"/>
                  <a:gd name="connsiteX57" fmla="*/ 6213231 w 7298904"/>
                  <a:gd name="connsiteY57" fmla="*/ 83808 h 2537460"/>
                  <a:gd name="connsiteX58" fmla="*/ 6331164 w 7298904"/>
                  <a:gd name="connsiteY58" fmla="*/ 15240 h 2537460"/>
                  <a:gd name="connsiteX59" fmla="*/ 6399744 w 7298904"/>
                  <a:gd name="connsiteY59" fmla="*/ 0 h 2537460"/>
                  <a:gd name="connsiteX60" fmla="*/ 6605484 w 7298904"/>
                  <a:gd name="connsiteY60" fmla="*/ 45720 h 2537460"/>
                  <a:gd name="connsiteX61" fmla="*/ 6674064 w 7298904"/>
                  <a:gd name="connsiteY61" fmla="*/ 68580 h 2537460"/>
                  <a:gd name="connsiteX62" fmla="*/ 6765504 w 7298904"/>
                  <a:gd name="connsiteY62" fmla="*/ 121920 h 2537460"/>
                  <a:gd name="connsiteX63" fmla="*/ 6876875 w 7298904"/>
                  <a:gd name="connsiteY63" fmla="*/ 91414 h 2537460"/>
                  <a:gd name="connsiteX64" fmla="*/ 7077924 w 7298904"/>
                  <a:gd name="connsiteY64" fmla="*/ 121920 h 2537460"/>
                  <a:gd name="connsiteX65" fmla="*/ 7133755 w 7298904"/>
                  <a:gd name="connsiteY65" fmla="*/ 103794 h 2537460"/>
                  <a:gd name="connsiteX66" fmla="*/ 7298904 w 7298904"/>
                  <a:gd name="connsiteY66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491815 w 7298904"/>
                  <a:gd name="connsiteY40" fmla="*/ 186671 h 2537460"/>
                  <a:gd name="connsiteX41" fmla="*/ 4746204 w 7298904"/>
                  <a:gd name="connsiteY41" fmla="*/ 198120 h 2537460"/>
                  <a:gd name="connsiteX42" fmla="*/ 4814080 w 7298904"/>
                  <a:gd name="connsiteY42" fmla="*/ 186671 h 2537460"/>
                  <a:gd name="connsiteX43" fmla="*/ 4872462 w 7298904"/>
                  <a:gd name="connsiteY43" fmla="*/ 144754 h 2537460"/>
                  <a:gd name="connsiteX44" fmla="*/ 4951944 w 7298904"/>
                  <a:gd name="connsiteY44" fmla="*/ 160020 h 2537460"/>
                  <a:gd name="connsiteX45" fmla="*/ 5106458 w 7298904"/>
                  <a:gd name="connsiteY45" fmla="*/ 152387 h 2537460"/>
                  <a:gd name="connsiteX46" fmla="*/ 5295549 w 7298904"/>
                  <a:gd name="connsiteY46" fmla="*/ 220980 h 2537460"/>
                  <a:gd name="connsiteX47" fmla="*/ 5345606 w 7298904"/>
                  <a:gd name="connsiteY47" fmla="*/ 175247 h 2537460"/>
                  <a:gd name="connsiteX48" fmla="*/ 5500584 w 7298904"/>
                  <a:gd name="connsiteY48" fmla="*/ 182880 h 2537460"/>
                  <a:gd name="connsiteX49" fmla="*/ 5675844 w 7298904"/>
                  <a:gd name="connsiteY49" fmla="*/ 45720 h 2537460"/>
                  <a:gd name="connsiteX50" fmla="*/ 5734696 w 7298904"/>
                  <a:gd name="connsiteY50" fmla="*/ 69446 h 2537460"/>
                  <a:gd name="connsiteX51" fmla="*/ 5782524 w 7298904"/>
                  <a:gd name="connsiteY51" fmla="*/ 106680 h 2537460"/>
                  <a:gd name="connsiteX52" fmla="*/ 5858724 w 7298904"/>
                  <a:gd name="connsiteY52" fmla="*/ 106680 h 2537460"/>
                  <a:gd name="connsiteX53" fmla="*/ 5920741 w 7298904"/>
                  <a:gd name="connsiteY53" fmla="*/ 118091 h 2537460"/>
                  <a:gd name="connsiteX54" fmla="*/ 5980644 w 7298904"/>
                  <a:gd name="connsiteY54" fmla="*/ 99060 h 2537460"/>
                  <a:gd name="connsiteX55" fmla="*/ 6110184 w 7298904"/>
                  <a:gd name="connsiteY55" fmla="*/ 99060 h 2537460"/>
                  <a:gd name="connsiteX56" fmla="*/ 6213231 w 7298904"/>
                  <a:gd name="connsiteY56" fmla="*/ 83808 h 2537460"/>
                  <a:gd name="connsiteX57" fmla="*/ 6331164 w 7298904"/>
                  <a:gd name="connsiteY57" fmla="*/ 15240 h 2537460"/>
                  <a:gd name="connsiteX58" fmla="*/ 6399744 w 7298904"/>
                  <a:gd name="connsiteY58" fmla="*/ 0 h 2537460"/>
                  <a:gd name="connsiteX59" fmla="*/ 6605484 w 7298904"/>
                  <a:gd name="connsiteY59" fmla="*/ 45720 h 2537460"/>
                  <a:gd name="connsiteX60" fmla="*/ 6674064 w 7298904"/>
                  <a:gd name="connsiteY60" fmla="*/ 68580 h 2537460"/>
                  <a:gd name="connsiteX61" fmla="*/ 6765504 w 7298904"/>
                  <a:gd name="connsiteY61" fmla="*/ 121920 h 2537460"/>
                  <a:gd name="connsiteX62" fmla="*/ 6876875 w 7298904"/>
                  <a:gd name="connsiteY62" fmla="*/ 91414 h 2537460"/>
                  <a:gd name="connsiteX63" fmla="*/ 7077924 w 7298904"/>
                  <a:gd name="connsiteY63" fmla="*/ 121920 h 2537460"/>
                  <a:gd name="connsiteX64" fmla="*/ 7133755 w 7298904"/>
                  <a:gd name="connsiteY64" fmla="*/ 103794 h 2537460"/>
                  <a:gd name="connsiteX65" fmla="*/ 7298904 w 7298904"/>
                  <a:gd name="connsiteY65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746204 w 7298904"/>
                  <a:gd name="connsiteY40" fmla="*/ 198120 h 2537460"/>
                  <a:gd name="connsiteX41" fmla="*/ 4814080 w 7298904"/>
                  <a:gd name="connsiteY41" fmla="*/ 186671 h 2537460"/>
                  <a:gd name="connsiteX42" fmla="*/ 4872462 w 7298904"/>
                  <a:gd name="connsiteY42" fmla="*/ 144754 h 2537460"/>
                  <a:gd name="connsiteX43" fmla="*/ 4951944 w 7298904"/>
                  <a:gd name="connsiteY43" fmla="*/ 160020 h 2537460"/>
                  <a:gd name="connsiteX44" fmla="*/ 5106458 w 7298904"/>
                  <a:gd name="connsiteY44" fmla="*/ 152387 h 2537460"/>
                  <a:gd name="connsiteX45" fmla="*/ 5295549 w 7298904"/>
                  <a:gd name="connsiteY45" fmla="*/ 220980 h 2537460"/>
                  <a:gd name="connsiteX46" fmla="*/ 5345606 w 7298904"/>
                  <a:gd name="connsiteY46" fmla="*/ 175247 h 2537460"/>
                  <a:gd name="connsiteX47" fmla="*/ 5500584 w 7298904"/>
                  <a:gd name="connsiteY47" fmla="*/ 182880 h 2537460"/>
                  <a:gd name="connsiteX48" fmla="*/ 5675844 w 7298904"/>
                  <a:gd name="connsiteY48" fmla="*/ 45720 h 2537460"/>
                  <a:gd name="connsiteX49" fmla="*/ 5734696 w 7298904"/>
                  <a:gd name="connsiteY49" fmla="*/ 69446 h 2537460"/>
                  <a:gd name="connsiteX50" fmla="*/ 5782524 w 7298904"/>
                  <a:gd name="connsiteY50" fmla="*/ 106680 h 2537460"/>
                  <a:gd name="connsiteX51" fmla="*/ 5858724 w 7298904"/>
                  <a:gd name="connsiteY51" fmla="*/ 106680 h 2537460"/>
                  <a:gd name="connsiteX52" fmla="*/ 5920741 w 7298904"/>
                  <a:gd name="connsiteY52" fmla="*/ 118091 h 2537460"/>
                  <a:gd name="connsiteX53" fmla="*/ 5980644 w 7298904"/>
                  <a:gd name="connsiteY53" fmla="*/ 99060 h 2537460"/>
                  <a:gd name="connsiteX54" fmla="*/ 6110184 w 7298904"/>
                  <a:gd name="connsiteY54" fmla="*/ 99060 h 2537460"/>
                  <a:gd name="connsiteX55" fmla="*/ 6213231 w 7298904"/>
                  <a:gd name="connsiteY55" fmla="*/ 83808 h 2537460"/>
                  <a:gd name="connsiteX56" fmla="*/ 6331164 w 7298904"/>
                  <a:gd name="connsiteY56" fmla="*/ 15240 h 2537460"/>
                  <a:gd name="connsiteX57" fmla="*/ 6399744 w 7298904"/>
                  <a:gd name="connsiteY57" fmla="*/ 0 h 2537460"/>
                  <a:gd name="connsiteX58" fmla="*/ 6605484 w 7298904"/>
                  <a:gd name="connsiteY58" fmla="*/ 45720 h 2537460"/>
                  <a:gd name="connsiteX59" fmla="*/ 6674064 w 7298904"/>
                  <a:gd name="connsiteY59" fmla="*/ 68580 h 2537460"/>
                  <a:gd name="connsiteX60" fmla="*/ 6765504 w 7298904"/>
                  <a:gd name="connsiteY60" fmla="*/ 121920 h 2537460"/>
                  <a:gd name="connsiteX61" fmla="*/ 6876875 w 7298904"/>
                  <a:gd name="connsiteY61" fmla="*/ 91414 h 2537460"/>
                  <a:gd name="connsiteX62" fmla="*/ 7077924 w 7298904"/>
                  <a:gd name="connsiteY62" fmla="*/ 121920 h 2537460"/>
                  <a:gd name="connsiteX63" fmla="*/ 7133755 w 7298904"/>
                  <a:gd name="connsiteY63" fmla="*/ 103794 h 2537460"/>
                  <a:gd name="connsiteX64" fmla="*/ 7298904 w 7298904"/>
                  <a:gd name="connsiteY6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814080 w 7298904"/>
                  <a:gd name="connsiteY40" fmla="*/ 186671 h 2537460"/>
                  <a:gd name="connsiteX41" fmla="*/ 4872462 w 7298904"/>
                  <a:gd name="connsiteY41" fmla="*/ 144754 h 2537460"/>
                  <a:gd name="connsiteX42" fmla="*/ 4951944 w 7298904"/>
                  <a:gd name="connsiteY42" fmla="*/ 160020 h 2537460"/>
                  <a:gd name="connsiteX43" fmla="*/ 5106458 w 7298904"/>
                  <a:gd name="connsiteY43" fmla="*/ 152387 h 2537460"/>
                  <a:gd name="connsiteX44" fmla="*/ 5295549 w 7298904"/>
                  <a:gd name="connsiteY44" fmla="*/ 220980 h 2537460"/>
                  <a:gd name="connsiteX45" fmla="*/ 5345606 w 7298904"/>
                  <a:gd name="connsiteY45" fmla="*/ 175247 h 2537460"/>
                  <a:gd name="connsiteX46" fmla="*/ 5500584 w 7298904"/>
                  <a:gd name="connsiteY46" fmla="*/ 182880 h 2537460"/>
                  <a:gd name="connsiteX47" fmla="*/ 5675844 w 7298904"/>
                  <a:gd name="connsiteY47" fmla="*/ 45720 h 2537460"/>
                  <a:gd name="connsiteX48" fmla="*/ 5734696 w 7298904"/>
                  <a:gd name="connsiteY48" fmla="*/ 69446 h 2537460"/>
                  <a:gd name="connsiteX49" fmla="*/ 5782524 w 7298904"/>
                  <a:gd name="connsiteY49" fmla="*/ 106680 h 2537460"/>
                  <a:gd name="connsiteX50" fmla="*/ 5858724 w 7298904"/>
                  <a:gd name="connsiteY50" fmla="*/ 106680 h 2537460"/>
                  <a:gd name="connsiteX51" fmla="*/ 5920741 w 7298904"/>
                  <a:gd name="connsiteY51" fmla="*/ 118091 h 2537460"/>
                  <a:gd name="connsiteX52" fmla="*/ 5980644 w 7298904"/>
                  <a:gd name="connsiteY52" fmla="*/ 99060 h 2537460"/>
                  <a:gd name="connsiteX53" fmla="*/ 6110184 w 7298904"/>
                  <a:gd name="connsiteY53" fmla="*/ 99060 h 2537460"/>
                  <a:gd name="connsiteX54" fmla="*/ 6213231 w 7298904"/>
                  <a:gd name="connsiteY54" fmla="*/ 83808 h 2537460"/>
                  <a:gd name="connsiteX55" fmla="*/ 6331164 w 7298904"/>
                  <a:gd name="connsiteY55" fmla="*/ 15240 h 2537460"/>
                  <a:gd name="connsiteX56" fmla="*/ 6399744 w 7298904"/>
                  <a:gd name="connsiteY56" fmla="*/ 0 h 2537460"/>
                  <a:gd name="connsiteX57" fmla="*/ 6605484 w 7298904"/>
                  <a:gd name="connsiteY57" fmla="*/ 45720 h 2537460"/>
                  <a:gd name="connsiteX58" fmla="*/ 6674064 w 7298904"/>
                  <a:gd name="connsiteY58" fmla="*/ 68580 h 2537460"/>
                  <a:gd name="connsiteX59" fmla="*/ 6765504 w 7298904"/>
                  <a:gd name="connsiteY59" fmla="*/ 121920 h 2537460"/>
                  <a:gd name="connsiteX60" fmla="*/ 6876875 w 7298904"/>
                  <a:gd name="connsiteY60" fmla="*/ 91414 h 2537460"/>
                  <a:gd name="connsiteX61" fmla="*/ 7077924 w 7298904"/>
                  <a:gd name="connsiteY61" fmla="*/ 121920 h 2537460"/>
                  <a:gd name="connsiteX62" fmla="*/ 7133755 w 7298904"/>
                  <a:gd name="connsiteY62" fmla="*/ 103794 h 2537460"/>
                  <a:gd name="connsiteX63" fmla="*/ 7298904 w 7298904"/>
                  <a:gd name="connsiteY6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872462 w 7298904"/>
                  <a:gd name="connsiteY40" fmla="*/ 144754 h 2537460"/>
                  <a:gd name="connsiteX41" fmla="*/ 4951944 w 7298904"/>
                  <a:gd name="connsiteY41" fmla="*/ 160020 h 2537460"/>
                  <a:gd name="connsiteX42" fmla="*/ 5106458 w 7298904"/>
                  <a:gd name="connsiteY42" fmla="*/ 152387 h 2537460"/>
                  <a:gd name="connsiteX43" fmla="*/ 5295549 w 7298904"/>
                  <a:gd name="connsiteY43" fmla="*/ 220980 h 2537460"/>
                  <a:gd name="connsiteX44" fmla="*/ 5345606 w 7298904"/>
                  <a:gd name="connsiteY44" fmla="*/ 175247 h 2537460"/>
                  <a:gd name="connsiteX45" fmla="*/ 5500584 w 7298904"/>
                  <a:gd name="connsiteY45" fmla="*/ 182880 h 2537460"/>
                  <a:gd name="connsiteX46" fmla="*/ 5675844 w 7298904"/>
                  <a:gd name="connsiteY46" fmla="*/ 45720 h 2537460"/>
                  <a:gd name="connsiteX47" fmla="*/ 5734696 w 7298904"/>
                  <a:gd name="connsiteY47" fmla="*/ 69446 h 2537460"/>
                  <a:gd name="connsiteX48" fmla="*/ 5782524 w 7298904"/>
                  <a:gd name="connsiteY48" fmla="*/ 106680 h 2537460"/>
                  <a:gd name="connsiteX49" fmla="*/ 5858724 w 7298904"/>
                  <a:gd name="connsiteY49" fmla="*/ 106680 h 2537460"/>
                  <a:gd name="connsiteX50" fmla="*/ 5920741 w 7298904"/>
                  <a:gd name="connsiteY50" fmla="*/ 118091 h 2537460"/>
                  <a:gd name="connsiteX51" fmla="*/ 5980644 w 7298904"/>
                  <a:gd name="connsiteY51" fmla="*/ 99060 h 2537460"/>
                  <a:gd name="connsiteX52" fmla="*/ 6110184 w 7298904"/>
                  <a:gd name="connsiteY52" fmla="*/ 99060 h 2537460"/>
                  <a:gd name="connsiteX53" fmla="*/ 6213231 w 7298904"/>
                  <a:gd name="connsiteY53" fmla="*/ 83808 h 2537460"/>
                  <a:gd name="connsiteX54" fmla="*/ 6331164 w 7298904"/>
                  <a:gd name="connsiteY54" fmla="*/ 15240 h 2537460"/>
                  <a:gd name="connsiteX55" fmla="*/ 6399744 w 7298904"/>
                  <a:gd name="connsiteY55" fmla="*/ 0 h 2537460"/>
                  <a:gd name="connsiteX56" fmla="*/ 6605484 w 7298904"/>
                  <a:gd name="connsiteY56" fmla="*/ 45720 h 2537460"/>
                  <a:gd name="connsiteX57" fmla="*/ 6674064 w 7298904"/>
                  <a:gd name="connsiteY57" fmla="*/ 68580 h 2537460"/>
                  <a:gd name="connsiteX58" fmla="*/ 6765504 w 7298904"/>
                  <a:gd name="connsiteY58" fmla="*/ 121920 h 2537460"/>
                  <a:gd name="connsiteX59" fmla="*/ 6876875 w 7298904"/>
                  <a:gd name="connsiteY59" fmla="*/ 91414 h 2537460"/>
                  <a:gd name="connsiteX60" fmla="*/ 7077924 w 7298904"/>
                  <a:gd name="connsiteY60" fmla="*/ 121920 h 2537460"/>
                  <a:gd name="connsiteX61" fmla="*/ 7133755 w 7298904"/>
                  <a:gd name="connsiteY61" fmla="*/ 103794 h 2537460"/>
                  <a:gd name="connsiteX62" fmla="*/ 7298904 w 7298904"/>
                  <a:gd name="connsiteY62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4951944 w 7298904"/>
                  <a:gd name="connsiteY40" fmla="*/ 160020 h 2537460"/>
                  <a:gd name="connsiteX41" fmla="*/ 5106458 w 7298904"/>
                  <a:gd name="connsiteY41" fmla="*/ 152387 h 2537460"/>
                  <a:gd name="connsiteX42" fmla="*/ 5295549 w 7298904"/>
                  <a:gd name="connsiteY42" fmla="*/ 220980 h 2537460"/>
                  <a:gd name="connsiteX43" fmla="*/ 5345606 w 7298904"/>
                  <a:gd name="connsiteY43" fmla="*/ 175247 h 2537460"/>
                  <a:gd name="connsiteX44" fmla="*/ 5500584 w 7298904"/>
                  <a:gd name="connsiteY44" fmla="*/ 182880 h 2537460"/>
                  <a:gd name="connsiteX45" fmla="*/ 5675844 w 7298904"/>
                  <a:gd name="connsiteY45" fmla="*/ 45720 h 2537460"/>
                  <a:gd name="connsiteX46" fmla="*/ 5734696 w 7298904"/>
                  <a:gd name="connsiteY46" fmla="*/ 69446 h 2537460"/>
                  <a:gd name="connsiteX47" fmla="*/ 5782524 w 7298904"/>
                  <a:gd name="connsiteY47" fmla="*/ 106680 h 2537460"/>
                  <a:gd name="connsiteX48" fmla="*/ 5858724 w 7298904"/>
                  <a:gd name="connsiteY48" fmla="*/ 106680 h 2537460"/>
                  <a:gd name="connsiteX49" fmla="*/ 5920741 w 7298904"/>
                  <a:gd name="connsiteY49" fmla="*/ 118091 h 2537460"/>
                  <a:gd name="connsiteX50" fmla="*/ 5980644 w 7298904"/>
                  <a:gd name="connsiteY50" fmla="*/ 99060 h 2537460"/>
                  <a:gd name="connsiteX51" fmla="*/ 6110184 w 7298904"/>
                  <a:gd name="connsiteY51" fmla="*/ 99060 h 2537460"/>
                  <a:gd name="connsiteX52" fmla="*/ 6213231 w 7298904"/>
                  <a:gd name="connsiteY52" fmla="*/ 83808 h 2537460"/>
                  <a:gd name="connsiteX53" fmla="*/ 6331164 w 7298904"/>
                  <a:gd name="connsiteY53" fmla="*/ 15240 h 2537460"/>
                  <a:gd name="connsiteX54" fmla="*/ 6399744 w 7298904"/>
                  <a:gd name="connsiteY54" fmla="*/ 0 h 2537460"/>
                  <a:gd name="connsiteX55" fmla="*/ 6605484 w 7298904"/>
                  <a:gd name="connsiteY55" fmla="*/ 45720 h 2537460"/>
                  <a:gd name="connsiteX56" fmla="*/ 6674064 w 7298904"/>
                  <a:gd name="connsiteY56" fmla="*/ 68580 h 2537460"/>
                  <a:gd name="connsiteX57" fmla="*/ 6765504 w 7298904"/>
                  <a:gd name="connsiteY57" fmla="*/ 121920 h 2537460"/>
                  <a:gd name="connsiteX58" fmla="*/ 6876875 w 7298904"/>
                  <a:gd name="connsiteY58" fmla="*/ 91414 h 2537460"/>
                  <a:gd name="connsiteX59" fmla="*/ 7077924 w 7298904"/>
                  <a:gd name="connsiteY59" fmla="*/ 121920 h 2537460"/>
                  <a:gd name="connsiteX60" fmla="*/ 7133755 w 7298904"/>
                  <a:gd name="connsiteY60" fmla="*/ 103794 h 2537460"/>
                  <a:gd name="connsiteX61" fmla="*/ 7298904 w 7298904"/>
                  <a:gd name="connsiteY61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106458 w 7298904"/>
                  <a:gd name="connsiteY40" fmla="*/ 152387 h 2537460"/>
                  <a:gd name="connsiteX41" fmla="*/ 5295549 w 7298904"/>
                  <a:gd name="connsiteY41" fmla="*/ 220980 h 2537460"/>
                  <a:gd name="connsiteX42" fmla="*/ 5345606 w 7298904"/>
                  <a:gd name="connsiteY42" fmla="*/ 175247 h 2537460"/>
                  <a:gd name="connsiteX43" fmla="*/ 5500584 w 7298904"/>
                  <a:gd name="connsiteY43" fmla="*/ 182880 h 2537460"/>
                  <a:gd name="connsiteX44" fmla="*/ 5675844 w 7298904"/>
                  <a:gd name="connsiteY44" fmla="*/ 45720 h 2537460"/>
                  <a:gd name="connsiteX45" fmla="*/ 5734696 w 7298904"/>
                  <a:gd name="connsiteY45" fmla="*/ 69446 h 2537460"/>
                  <a:gd name="connsiteX46" fmla="*/ 5782524 w 7298904"/>
                  <a:gd name="connsiteY46" fmla="*/ 106680 h 2537460"/>
                  <a:gd name="connsiteX47" fmla="*/ 5858724 w 7298904"/>
                  <a:gd name="connsiteY47" fmla="*/ 106680 h 2537460"/>
                  <a:gd name="connsiteX48" fmla="*/ 5920741 w 7298904"/>
                  <a:gd name="connsiteY48" fmla="*/ 118091 h 2537460"/>
                  <a:gd name="connsiteX49" fmla="*/ 5980644 w 7298904"/>
                  <a:gd name="connsiteY49" fmla="*/ 99060 h 2537460"/>
                  <a:gd name="connsiteX50" fmla="*/ 6110184 w 7298904"/>
                  <a:gd name="connsiteY50" fmla="*/ 99060 h 2537460"/>
                  <a:gd name="connsiteX51" fmla="*/ 6213231 w 7298904"/>
                  <a:gd name="connsiteY51" fmla="*/ 83808 h 2537460"/>
                  <a:gd name="connsiteX52" fmla="*/ 6331164 w 7298904"/>
                  <a:gd name="connsiteY52" fmla="*/ 15240 h 2537460"/>
                  <a:gd name="connsiteX53" fmla="*/ 6399744 w 7298904"/>
                  <a:gd name="connsiteY53" fmla="*/ 0 h 2537460"/>
                  <a:gd name="connsiteX54" fmla="*/ 6605484 w 7298904"/>
                  <a:gd name="connsiteY54" fmla="*/ 45720 h 2537460"/>
                  <a:gd name="connsiteX55" fmla="*/ 6674064 w 7298904"/>
                  <a:gd name="connsiteY55" fmla="*/ 68580 h 2537460"/>
                  <a:gd name="connsiteX56" fmla="*/ 6765504 w 7298904"/>
                  <a:gd name="connsiteY56" fmla="*/ 121920 h 2537460"/>
                  <a:gd name="connsiteX57" fmla="*/ 6876875 w 7298904"/>
                  <a:gd name="connsiteY57" fmla="*/ 91414 h 2537460"/>
                  <a:gd name="connsiteX58" fmla="*/ 7077924 w 7298904"/>
                  <a:gd name="connsiteY58" fmla="*/ 121920 h 2537460"/>
                  <a:gd name="connsiteX59" fmla="*/ 7133755 w 7298904"/>
                  <a:gd name="connsiteY59" fmla="*/ 103794 h 2537460"/>
                  <a:gd name="connsiteX60" fmla="*/ 7298904 w 7298904"/>
                  <a:gd name="connsiteY60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295549 w 7298904"/>
                  <a:gd name="connsiteY40" fmla="*/ 220980 h 2537460"/>
                  <a:gd name="connsiteX41" fmla="*/ 5345606 w 7298904"/>
                  <a:gd name="connsiteY41" fmla="*/ 175247 h 2537460"/>
                  <a:gd name="connsiteX42" fmla="*/ 5500584 w 7298904"/>
                  <a:gd name="connsiteY42" fmla="*/ 182880 h 2537460"/>
                  <a:gd name="connsiteX43" fmla="*/ 5675844 w 7298904"/>
                  <a:gd name="connsiteY43" fmla="*/ 45720 h 2537460"/>
                  <a:gd name="connsiteX44" fmla="*/ 5734696 w 7298904"/>
                  <a:gd name="connsiteY44" fmla="*/ 69446 h 2537460"/>
                  <a:gd name="connsiteX45" fmla="*/ 5782524 w 7298904"/>
                  <a:gd name="connsiteY45" fmla="*/ 106680 h 2537460"/>
                  <a:gd name="connsiteX46" fmla="*/ 5858724 w 7298904"/>
                  <a:gd name="connsiteY46" fmla="*/ 106680 h 2537460"/>
                  <a:gd name="connsiteX47" fmla="*/ 5920741 w 7298904"/>
                  <a:gd name="connsiteY47" fmla="*/ 118091 h 2537460"/>
                  <a:gd name="connsiteX48" fmla="*/ 5980644 w 7298904"/>
                  <a:gd name="connsiteY48" fmla="*/ 99060 h 2537460"/>
                  <a:gd name="connsiteX49" fmla="*/ 6110184 w 7298904"/>
                  <a:gd name="connsiteY49" fmla="*/ 99060 h 2537460"/>
                  <a:gd name="connsiteX50" fmla="*/ 6213231 w 7298904"/>
                  <a:gd name="connsiteY50" fmla="*/ 83808 h 2537460"/>
                  <a:gd name="connsiteX51" fmla="*/ 6331164 w 7298904"/>
                  <a:gd name="connsiteY51" fmla="*/ 15240 h 2537460"/>
                  <a:gd name="connsiteX52" fmla="*/ 6399744 w 7298904"/>
                  <a:gd name="connsiteY52" fmla="*/ 0 h 2537460"/>
                  <a:gd name="connsiteX53" fmla="*/ 6605484 w 7298904"/>
                  <a:gd name="connsiteY53" fmla="*/ 45720 h 2537460"/>
                  <a:gd name="connsiteX54" fmla="*/ 6674064 w 7298904"/>
                  <a:gd name="connsiteY54" fmla="*/ 68580 h 2537460"/>
                  <a:gd name="connsiteX55" fmla="*/ 6765504 w 7298904"/>
                  <a:gd name="connsiteY55" fmla="*/ 121920 h 2537460"/>
                  <a:gd name="connsiteX56" fmla="*/ 6876875 w 7298904"/>
                  <a:gd name="connsiteY56" fmla="*/ 91414 h 2537460"/>
                  <a:gd name="connsiteX57" fmla="*/ 7077924 w 7298904"/>
                  <a:gd name="connsiteY57" fmla="*/ 121920 h 2537460"/>
                  <a:gd name="connsiteX58" fmla="*/ 7133755 w 7298904"/>
                  <a:gd name="connsiteY58" fmla="*/ 103794 h 2537460"/>
                  <a:gd name="connsiteX59" fmla="*/ 7298904 w 7298904"/>
                  <a:gd name="connsiteY59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295549 w 7298904"/>
                  <a:gd name="connsiteY40" fmla="*/ 220980 h 2537460"/>
                  <a:gd name="connsiteX41" fmla="*/ 5345606 w 7298904"/>
                  <a:gd name="connsiteY41" fmla="*/ 175247 h 2537460"/>
                  <a:gd name="connsiteX42" fmla="*/ 5500584 w 7298904"/>
                  <a:gd name="connsiteY42" fmla="*/ 182880 h 2537460"/>
                  <a:gd name="connsiteX43" fmla="*/ 5734696 w 7298904"/>
                  <a:gd name="connsiteY43" fmla="*/ 69446 h 2537460"/>
                  <a:gd name="connsiteX44" fmla="*/ 5782524 w 7298904"/>
                  <a:gd name="connsiteY44" fmla="*/ 106680 h 2537460"/>
                  <a:gd name="connsiteX45" fmla="*/ 5858724 w 7298904"/>
                  <a:gd name="connsiteY45" fmla="*/ 106680 h 2537460"/>
                  <a:gd name="connsiteX46" fmla="*/ 5920741 w 7298904"/>
                  <a:gd name="connsiteY46" fmla="*/ 118091 h 2537460"/>
                  <a:gd name="connsiteX47" fmla="*/ 5980644 w 7298904"/>
                  <a:gd name="connsiteY47" fmla="*/ 99060 h 2537460"/>
                  <a:gd name="connsiteX48" fmla="*/ 6110184 w 7298904"/>
                  <a:gd name="connsiteY48" fmla="*/ 99060 h 2537460"/>
                  <a:gd name="connsiteX49" fmla="*/ 6213231 w 7298904"/>
                  <a:gd name="connsiteY49" fmla="*/ 83808 h 2537460"/>
                  <a:gd name="connsiteX50" fmla="*/ 6331164 w 7298904"/>
                  <a:gd name="connsiteY50" fmla="*/ 15240 h 2537460"/>
                  <a:gd name="connsiteX51" fmla="*/ 6399744 w 7298904"/>
                  <a:gd name="connsiteY51" fmla="*/ 0 h 2537460"/>
                  <a:gd name="connsiteX52" fmla="*/ 6605484 w 7298904"/>
                  <a:gd name="connsiteY52" fmla="*/ 45720 h 2537460"/>
                  <a:gd name="connsiteX53" fmla="*/ 6674064 w 7298904"/>
                  <a:gd name="connsiteY53" fmla="*/ 68580 h 2537460"/>
                  <a:gd name="connsiteX54" fmla="*/ 6765504 w 7298904"/>
                  <a:gd name="connsiteY54" fmla="*/ 121920 h 2537460"/>
                  <a:gd name="connsiteX55" fmla="*/ 6876875 w 7298904"/>
                  <a:gd name="connsiteY55" fmla="*/ 91414 h 2537460"/>
                  <a:gd name="connsiteX56" fmla="*/ 7077924 w 7298904"/>
                  <a:gd name="connsiteY56" fmla="*/ 121920 h 2537460"/>
                  <a:gd name="connsiteX57" fmla="*/ 7133755 w 7298904"/>
                  <a:gd name="connsiteY57" fmla="*/ 103794 h 2537460"/>
                  <a:gd name="connsiteX58" fmla="*/ 7298904 w 7298904"/>
                  <a:gd name="connsiteY58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295549 w 7298904"/>
                  <a:gd name="connsiteY40" fmla="*/ 220980 h 2537460"/>
                  <a:gd name="connsiteX41" fmla="*/ 5345606 w 7298904"/>
                  <a:gd name="connsiteY41" fmla="*/ 175247 h 2537460"/>
                  <a:gd name="connsiteX42" fmla="*/ 5500584 w 7298904"/>
                  <a:gd name="connsiteY42" fmla="*/ 182880 h 2537460"/>
                  <a:gd name="connsiteX43" fmla="*/ 5782524 w 7298904"/>
                  <a:gd name="connsiteY43" fmla="*/ 106680 h 2537460"/>
                  <a:gd name="connsiteX44" fmla="*/ 5858724 w 7298904"/>
                  <a:gd name="connsiteY44" fmla="*/ 106680 h 2537460"/>
                  <a:gd name="connsiteX45" fmla="*/ 5920741 w 7298904"/>
                  <a:gd name="connsiteY45" fmla="*/ 118091 h 2537460"/>
                  <a:gd name="connsiteX46" fmla="*/ 5980644 w 7298904"/>
                  <a:gd name="connsiteY46" fmla="*/ 99060 h 2537460"/>
                  <a:gd name="connsiteX47" fmla="*/ 6110184 w 7298904"/>
                  <a:gd name="connsiteY47" fmla="*/ 99060 h 2537460"/>
                  <a:gd name="connsiteX48" fmla="*/ 6213231 w 7298904"/>
                  <a:gd name="connsiteY48" fmla="*/ 83808 h 2537460"/>
                  <a:gd name="connsiteX49" fmla="*/ 6331164 w 7298904"/>
                  <a:gd name="connsiteY49" fmla="*/ 15240 h 2537460"/>
                  <a:gd name="connsiteX50" fmla="*/ 6399744 w 7298904"/>
                  <a:gd name="connsiteY50" fmla="*/ 0 h 2537460"/>
                  <a:gd name="connsiteX51" fmla="*/ 6605484 w 7298904"/>
                  <a:gd name="connsiteY51" fmla="*/ 45720 h 2537460"/>
                  <a:gd name="connsiteX52" fmla="*/ 6674064 w 7298904"/>
                  <a:gd name="connsiteY52" fmla="*/ 68580 h 2537460"/>
                  <a:gd name="connsiteX53" fmla="*/ 6765504 w 7298904"/>
                  <a:gd name="connsiteY53" fmla="*/ 121920 h 2537460"/>
                  <a:gd name="connsiteX54" fmla="*/ 6876875 w 7298904"/>
                  <a:gd name="connsiteY54" fmla="*/ 91414 h 2537460"/>
                  <a:gd name="connsiteX55" fmla="*/ 7077924 w 7298904"/>
                  <a:gd name="connsiteY55" fmla="*/ 121920 h 2537460"/>
                  <a:gd name="connsiteX56" fmla="*/ 7133755 w 7298904"/>
                  <a:gd name="connsiteY56" fmla="*/ 103794 h 2537460"/>
                  <a:gd name="connsiteX57" fmla="*/ 7298904 w 7298904"/>
                  <a:gd name="connsiteY57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295549 w 7298904"/>
                  <a:gd name="connsiteY40" fmla="*/ 220980 h 2537460"/>
                  <a:gd name="connsiteX41" fmla="*/ 5345606 w 7298904"/>
                  <a:gd name="connsiteY41" fmla="*/ 175247 h 2537460"/>
                  <a:gd name="connsiteX42" fmla="*/ 5500584 w 7298904"/>
                  <a:gd name="connsiteY42" fmla="*/ 182880 h 2537460"/>
                  <a:gd name="connsiteX43" fmla="*/ 5858724 w 7298904"/>
                  <a:gd name="connsiteY43" fmla="*/ 106680 h 2537460"/>
                  <a:gd name="connsiteX44" fmla="*/ 5920741 w 7298904"/>
                  <a:gd name="connsiteY44" fmla="*/ 118091 h 2537460"/>
                  <a:gd name="connsiteX45" fmla="*/ 5980644 w 7298904"/>
                  <a:gd name="connsiteY45" fmla="*/ 99060 h 2537460"/>
                  <a:gd name="connsiteX46" fmla="*/ 6110184 w 7298904"/>
                  <a:gd name="connsiteY46" fmla="*/ 99060 h 2537460"/>
                  <a:gd name="connsiteX47" fmla="*/ 6213231 w 7298904"/>
                  <a:gd name="connsiteY47" fmla="*/ 83808 h 2537460"/>
                  <a:gd name="connsiteX48" fmla="*/ 6331164 w 7298904"/>
                  <a:gd name="connsiteY48" fmla="*/ 15240 h 2537460"/>
                  <a:gd name="connsiteX49" fmla="*/ 6399744 w 7298904"/>
                  <a:gd name="connsiteY49" fmla="*/ 0 h 2537460"/>
                  <a:gd name="connsiteX50" fmla="*/ 6605484 w 7298904"/>
                  <a:gd name="connsiteY50" fmla="*/ 45720 h 2537460"/>
                  <a:gd name="connsiteX51" fmla="*/ 6674064 w 7298904"/>
                  <a:gd name="connsiteY51" fmla="*/ 68580 h 2537460"/>
                  <a:gd name="connsiteX52" fmla="*/ 6765504 w 7298904"/>
                  <a:gd name="connsiteY52" fmla="*/ 121920 h 2537460"/>
                  <a:gd name="connsiteX53" fmla="*/ 6876875 w 7298904"/>
                  <a:gd name="connsiteY53" fmla="*/ 91414 h 2537460"/>
                  <a:gd name="connsiteX54" fmla="*/ 7077924 w 7298904"/>
                  <a:gd name="connsiteY54" fmla="*/ 121920 h 2537460"/>
                  <a:gd name="connsiteX55" fmla="*/ 7133755 w 7298904"/>
                  <a:gd name="connsiteY55" fmla="*/ 103794 h 2537460"/>
                  <a:gd name="connsiteX56" fmla="*/ 7298904 w 7298904"/>
                  <a:gd name="connsiteY56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295549 w 7298904"/>
                  <a:gd name="connsiteY40" fmla="*/ 220980 h 2537460"/>
                  <a:gd name="connsiteX41" fmla="*/ 5345606 w 7298904"/>
                  <a:gd name="connsiteY41" fmla="*/ 175247 h 2537460"/>
                  <a:gd name="connsiteX42" fmla="*/ 5858724 w 7298904"/>
                  <a:gd name="connsiteY42" fmla="*/ 106680 h 2537460"/>
                  <a:gd name="connsiteX43" fmla="*/ 5920741 w 7298904"/>
                  <a:gd name="connsiteY43" fmla="*/ 118091 h 2537460"/>
                  <a:gd name="connsiteX44" fmla="*/ 5980644 w 7298904"/>
                  <a:gd name="connsiteY44" fmla="*/ 99060 h 2537460"/>
                  <a:gd name="connsiteX45" fmla="*/ 6110184 w 7298904"/>
                  <a:gd name="connsiteY45" fmla="*/ 99060 h 2537460"/>
                  <a:gd name="connsiteX46" fmla="*/ 6213231 w 7298904"/>
                  <a:gd name="connsiteY46" fmla="*/ 83808 h 2537460"/>
                  <a:gd name="connsiteX47" fmla="*/ 6331164 w 7298904"/>
                  <a:gd name="connsiteY47" fmla="*/ 15240 h 2537460"/>
                  <a:gd name="connsiteX48" fmla="*/ 6399744 w 7298904"/>
                  <a:gd name="connsiteY48" fmla="*/ 0 h 2537460"/>
                  <a:gd name="connsiteX49" fmla="*/ 6605484 w 7298904"/>
                  <a:gd name="connsiteY49" fmla="*/ 45720 h 2537460"/>
                  <a:gd name="connsiteX50" fmla="*/ 6674064 w 7298904"/>
                  <a:gd name="connsiteY50" fmla="*/ 68580 h 2537460"/>
                  <a:gd name="connsiteX51" fmla="*/ 6765504 w 7298904"/>
                  <a:gd name="connsiteY51" fmla="*/ 121920 h 2537460"/>
                  <a:gd name="connsiteX52" fmla="*/ 6876875 w 7298904"/>
                  <a:gd name="connsiteY52" fmla="*/ 91414 h 2537460"/>
                  <a:gd name="connsiteX53" fmla="*/ 7077924 w 7298904"/>
                  <a:gd name="connsiteY53" fmla="*/ 121920 h 2537460"/>
                  <a:gd name="connsiteX54" fmla="*/ 7133755 w 7298904"/>
                  <a:gd name="connsiteY54" fmla="*/ 103794 h 2537460"/>
                  <a:gd name="connsiteX55" fmla="*/ 7298904 w 7298904"/>
                  <a:gd name="connsiteY55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295549 w 7298904"/>
                  <a:gd name="connsiteY40" fmla="*/ 220980 h 2537460"/>
                  <a:gd name="connsiteX41" fmla="*/ 5858724 w 7298904"/>
                  <a:gd name="connsiteY41" fmla="*/ 106680 h 2537460"/>
                  <a:gd name="connsiteX42" fmla="*/ 5920741 w 7298904"/>
                  <a:gd name="connsiteY42" fmla="*/ 118091 h 2537460"/>
                  <a:gd name="connsiteX43" fmla="*/ 5980644 w 7298904"/>
                  <a:gd name="connsiteY43" fmla="*/ 99060 h 2537460"/>
                  <a:gd name="connsiteX44" fmla="*/ 6110184 w 7298904"/>
                  <a:gd name="connsiteY44" fmla="*/ 99060 h 2537460"/>
                  <a:gd name="connsiteX45" fmla="*/ 6213231 w 7298904"/>
                  <a:gd name="connsiteY45" fmla="*/ 83808 h 2537460"/>
                  <a:gd name="connsiteX46" fmla="*/ 6331164 w 7298904"/>
                  <a:gd name="connsiteY46" fmla="*/ 15240 h 2537460"/>
                  <a:gd name="connsiteX47" fmla="*/ 6399744 w 7298904"/>
                  <a:gd name="connsiteY47" fmla="*/ 0 h 2537460"/>
                  <a:gd name="connsiteX48" fmla="*/ 6605484 w 7298904"/>
                  <a:gd name="connsiteY48" fmla="*/ 45720 h 2537460"/>
                  <a:gd name="connsiteX49" fmla="*/ 6674064 w 7298904"/>
                  <a:gd name="connsiteY49" fmla="*/ 68580 h 2537460"/>
                  <a:gd name="connsiteX50" fmla="*/ 6765504 w 7298904"/>
                  <a:gd name="connsiteY50" fmla="*/ 121920 h 2537460"/>
                  <a:gd name="connsiteX51" fmla="*/ 6876875 w 7298904"/>
                  <a:gd name="connsiteY51" fmla="*/ 91414 h 2537460"/>
                  <a:gd name="connsiteX52" fmla="*/ 7077924 w 7298904"/>
                  <a:gd name="connsiteY52" fmla="*/ 121920 h 2537460"/>
                  <a:gd name="connsiteX53" fmla="*/ 7133755 w 7298904"/>
                  <a:gd name="connsiteY53" fmla="*/ 103794 h 2537460"/>
                  <a:gd name="connsiteX54" fmla="*/ 7298904 w 7298904"/>
                  <a:gd name="connsiteY54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858724 w 7298904"/>
                  <a:gd name="connsiteY40" fmla="*/ 106680 h 2537460"/>
                  <a:gd name="connsiteX41" fmla="*/ 5920741 w 7298904"/>
                  <a:gd name="connsiteY41" fmla="*/ 118091 h 2537460"/>
                  <a:gd name="connsiteX42" fmla="*/ 5980644 w 7298904"/>
                  <a:gd name="connsiteY42" fmla="*/ 99060 h 2537460"/>
                  <a:gd name="connsiteX43" fmla="*/ 6110184 w 7298904"/>
                  <a:gd name="connsiteY43" fmla="*/ 99060 h 2537460"/>
                  <a:gd name="connsiteX44" fmla="*/ 6213231 w 7298904"/>
                  <a:gd name="connsiteY44" fmla="*/ 83808 h 2537460"/>
                  <a:gd name="connsiteX45" fmla="*/ 6331164 w 7298904"/>
                  <a:gd name="connsiteY45" fmla="*/ 15240 h 2537460"/>
                  <a:gd name="connsiteX46" fmla="*/ 6399744 w 7298904"/>
                  <a:gd name="connsiteY46" fmla="*/ 0 h 2537460"/>
                  <a:gd name="connsiteX47" fmla="*/ 6605484 w 7298904"/>
                  <a:gd name="connsiteY47" fmla="*/ 45720 h 2537460"/>
                  <a:gd name="connsiteX48" fmla="*/ 6674064 w 7298904"/>
                  <a:gd name="connsiteY48" fmla="*/ 68580 h 2537460"/>
                  <a:gd name="connsiteX49" fmla="*/ 6765504 w 7298904"/>
                  <a:gd name="connsiteY49" fmla="*/ 121920 h 2537460"/>
                  <a:gd name="connsiteX50" fmla="*/ 6876875 w 7298904"/>
                  <a:gd name="connsiteY50" fmla="*/ 91414 h 2537460"/>
                  <a:gd name="connsiteX51" fmla="*/ 7077924 w 7298904"/>
                  <a:gd name="connsiteY51" fmla="*/ 121920 h 2537460"/>
                  <a:gd name="connsiteX52" fmla="*/ 7133755 w 7298904"/>
                  <a:gd name="connsiteY52" fmla="*/ 103794 h 2537460"/>
                  <a:gd name="connsiteX53" fmla="*/ 7298904 w 7298904"/>
                  <a:gd name="connsiteY53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858724 w 7298904"/>
                  <a:gd name="connsiteY40" fmla="*/ 106680 h 2537460"/>
                  <a:gd name="connsiteX41" fmla="*/ 5980644 w 7298904"/>
                  <a:gd name="connsiteY41" fmla="*/ 99060 h 2537460"/>
                  <a:gd name="connsiteX42" fmla="*/ 6110184 w 7298904"/>
                  <a:gd name="connsiteY42" fmla="*/ 99060 h 2537460"/>
                  <a:gd name="connsiteX43" fmla="*/ 6213231 w 7298904"/>
                  <a:gd name="connsiteY43" fmla="*/ 83808 h 2537460"/>
                  <a:gd name="connsiteX44" fmla="*/ 6331164 w 7298904"/>
                  <a:gd name="connsiteY44" fmla="*/ 15240 h 2537460"/>
                  <a:gd name="connsiteX45" fmla="*/ 6399744 w 7298904"/>
                  <a:gd name="connsiteY45" fmla="*/ 0 h 2537460"/>
                  <a:gd name="connsiteX46" fmla="*/ 6605484 w 7298904"/>
                  <a:gd name="connsiteY46" fmla="*/ 45720 h 2537460"/>
                  <a:gd name="connsiteX47" fmla="*/ 6674064 w 7298904"/>
                  <a:gd name="connsiteY47" fmla="*/ 68580 h 2537460"/>
                  <a:gd name="connsiteX48" fmla="*/ 6765504 w 7298904"/>
                  <a:gd name="connsiteY48" fmla="*/ 121920 h 2537460"/>
                  <a:gd name="connsiteX49" fmla="*/ 6876875 w 7298904"/>
                  <a:gd name="connsiteY49" fmla="*/ 91414 h 2537460"/>
                  <a:gd name="connsiteX50" fmla="*/ 7077924 w 7298904"/>
                  <a:gd name="connsiteY50" fmla="*/ 121920 h 2537460"/>
                  <a:gd name="connsiteX51" fmla="*/ 7133755 w 7298904"/>
                  <a:gd name="connsiteY51" fmla="*/ 103794 h 2537460"/>
                  <a:gd name="connsiteX52" fmla="*/ 7298904 w 7298904"/>
                  <a:gd name="connsiteY52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980644 w 7298904"/>
                  <a:gd name="connsiteY40" fmla="*/ 99060 h 2537460"/>
                  <a:gd name="connsiteX41" fmla="*/ 6110184 w 7298904"/>
                  <a:gd name="connsiteY41" fmla="*/ 99060 h 2537460"/>
                  <a:gd name="connsiteX42" fmla="*/ 6213231 w 7298904"/>
                  <a:gd name="connsiteY42" fmla="*/ 83808 h 2537460"/>
                  <a:gd name="connsiteX43" fmla="*/ 6331164 w 7298904"/>
                  <a:gd name="connsiteY43" fmla="*/ 15240 h 2537460"/>
                  <a:gd name="connsiteX44" fmla="*/ 6399744 w 7298904"/>
                  <a:gd name="connsiteY44" fmla="*/ 0 h 2537460"/>
                  <a:gd name="connsiteX45" fmla="*/ 6605484 w 7298904"/>
                  <a:gd name="connsiteY45" fmla="*/ 45720 h 2537460"/>
                  <a:gd name="connsiteX46" fmla="*/ 6674064 w 7298904"/>
                  <a:gd name="connsiteY46" fmla="*/ 68580 h 2537460"/>
                  <a:gd name="connsiteX47" fmla="*/ 6765504 w 7298904"/>
                  <a:gd name="connsiteY47" fmla="*/ 121920 h 2537460"/>
                  <a:gd name="connsiteX48" fmla="*/ 6876875 w 7298904"/>
                  <a:gd name="connsiteY48" fmla="*/ 91414 h 2537460"/>
                  <a:gd name="connsiteX49" fmla="*/ 7077924 w 7298904"/>
                  <a:gd name="connsiteY49" fmla="*/ 121920 h 2537460"/>
                  <a:gd name="connsiteX50" fmla="*/ 7133755 w 7298904"/>
                  <a:gd name="connsiteY50" fmla="*/ 103794 h 2537460"/>
                  <a:gd name="connsiteX51" fmla="*/ 7298904 w 7298904"/>
                  <a:gd name="connsiteY51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5980644 w 7298904"/>
                  <a:gd name="connsiteY40" fmla="*/ 99060 h 2537460"/>
                  <a:gd name="connsiteX41" fmla="*/ 6213231 w 7298904"/>
                  <a:gd name="connsiteY41" fmla="*/ 83808 h 2537460"/>
                  <a:gd name="connsiteX42" fmla="*/ 6331164 w 7298904"/>
                  <a:gd name="connsiteY42" fmla="*/ 15240 h 2537460"/>
                  <a:gd name="connsiteX43" fmla="*/ 6399744 w 7298904"/>
                  <a:gd name="connsiteY43" fmla="*/ 0 h 2537460"/>
                  <a:gd name="connsiteX44" fmla="*/ 6605484 w 7298904"/>
                  <a:gd name="connsiteY44" fmla="*/ 45720 h 2537460"/>
                  <a:gd name="connsiteX45" fmla="*/ 6674064 w 7298904"/>
                  <a:gd name="connsiteY45" fmla="*/ 68580 h 2537460"/>
                  <a:gd name="connsiteX46" fmla="*/ 6765504 w 7298904"/>
                  <a:gd name="connsiteY46" fmla="*/ 121920 h 2537460"/>
                  <a:gd name="connsiteX47" fmla="*/ 6876875 w 7298904"/>
                  <a:gd name="connsiteY47" fmla="*/ 91414 h 2537460"/>
                  <a:gd name="connsiteX48" fmla="*/ 7077924 w 7298904"/>
                  <a:gd name="connsiteY48" fmla="*/ 121920 h 2537460"/>
                  <a:gd name="connsiteX49" fmla="*/ 7133755 w 7298904"/>
                  <a:gd name="connsiteY49" fmla="*/ 103794 h 2537460"/>
                  <a:gd name="connsiteX50" fmla="*/ 7298904 w 7298904"/>
                  <a:gd name="connsiteY50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6213231 w 7298904"/>
                  <a:gd name="connsiteY40" fmla="*/ 83808 h 2537460"/>
                  <a:gd name="connsiteX41" fmla="*/ 6331164 w 7298904"/>
                  <a:gd name="connsiteY41" fmla="*/ 15240 h 2537460"/>
                  <a:gd name="connsiteX42" fmla="*/ 6399744 w 7298904"/>
                  <a:gd name="connsiteY42" fmla="*/ 0 h 2537460"/>
                  <a:gd name="connsiteX43" fmla="*/ 6605484 w 7298904"/>
                  <a:gd name="connsiteY43" fmla="*/ 45720 h 2537460"/>
                  <a:gd name="connsiteX44" fmla="*/ 6674064 w 7298904"/>
                  <a:gd name="connsiteY44" fmla="*/ 68580 h 2537460"/>
                  <a:gd name="connsiteX45" fmla="*/ 6765504 w 7298904"/>
                  <a:gd name="connsiteY45" fmla="*/ 121920 h 2537460"/>
                  <a:gd name="connsiteX46" fmla="*/ 6876875 w 7298904"/>
                  <a:gd name="connsiteY46" fmla="*/ 91414 h 2537460"/>
                  <a:gd name="connsiteX47" fmla="*/ 7077924 w 7298904"/>
                  <a:gd name="connsiteY47" fmla="*/ 121920 h 2537460"/>
                  <a:gd name="connsiteX48" fmla="*/ 7133755 w 7298904"/>
                  <a:gd name="connsiteY48" fmla="*/ 103794 h 2537460"/>
                  <a:gd name="connsiteX49" fmla="*/ 7298904 w 7298904"/>
                  <a:gd name="connsiteY49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6331164 w 7298904"/>
                  <a:gd name="connsiteY40" fmla="*/ 15240 h 2537460"/>
                  <a:gd name="connsiteX41" fmla="*/ 6399744 w 7298904"/>
                  <a:gd name="connsiteY41" fmla="*/ 0 h 2537460"/>
                  <a:gd name="connsiteX42" fmla="*/ 6605484 w 7298904"/>
                  <a:gd name="connsiteY42" fmla="*/ 45720 h 2537460"/>
                  <a:gd name="connsiteX43" fmla="*/ 6674064 w 7298904"/>
                  <a:gd name="connsiteY43" fmla="*/ 68580 h 2537460"/>
                  <a:gd name="connsiteX44" fmla="*/ 6765504 w 7298904"/>
                  <a:gd name="connsiteY44" fmla="*/ 121920 h 2537460"/>
                  <a:gd name="connsiteX45" fmla="*/ 6876875 w 7298904"/>
                  <a:gd name="connsiteY45" fmla="*/ 91414 h 2537460"/>
                  <a:gd name="connsiteX46" fmla="*/ 7077924 w 7298904"/>
                  <a:gd name="connsiteY46" fmla="*/ 121920 h 2537460"/>
                  <a:gd name="connsiteX47" fmla="*/ 7133755 w 7298904"/>
                  <a:gd name="connsiteY47" fmla="*/ 103794 h 2537460"/>
                  <a:gd name="connsiteX48" fmla="*/ 7298904 w 7298904"/>
                  <a:gd name="connsiteY48" fmla="*/ 106680 h 2537460"/>
                  <a:gd name="connsiteX0" fmla="*/ 0 w 7298904"/>
                  <a:gd name="connsiteY0" fmla="*/ 2537460 h 2537460"/>
                  <a:gd name="connsiteX1" fmla="*/ 265644 w 7298904"/>
                  <a:gd name="connsiteY1" fmla="*/ 2529840 h 2537460"/>
                  <a:gd name="connsiteX2" fmla="*/ 326604 w 7298904"/>
                  <a:gd name="connsiteY2" fmla="*/ 2499360 h 2537460"/>
                  <a:gd name="connsiteX3" fmla="*/ 425664 w 7298904"/>
                  <a:gd name="connsiteY3" fmla="*/ 2491740 h 2537460"/>
                  <a:gd name="connsiteX4" fmla="*/ 570444 w 7298904"/>
                  <a:gd name="connsiteY4" fmla="*/ 2407920 h 2537460"/>
                  <a:gd name="connsiteX5" fmla="*/ 684744 w 7298904"/>
                  <a:gd name="connsiteY5" fmla="*/ 2278380 h 2537460"/>
                  <a:gd name="connsiteX6" fmla="*/ 776184 w 7298904"/>
                  <a:gd name="connsiteY6" fmla="*/ 2255520 h 2537460"/>
                  <a:gd name="connsiteX7" fmla="*/ 905724 w 7298904"/>
                  <a:gd name="connsiteY7" fmla="*/ 2087880 h 2537460"/>
                  <a:gd name="connsiteX8" fmla="*/ 989544 w 7298904"/>
                  <a:gd name="connsiteY8" fmla="*/ 2026920 h 2537460"/>
                  <a:gd name="connsiteX9" fmla="*/ 1028700 w 7298904"/>
                  <a:gd name="connsiteY9" fmla="*/ 1889760 h 2537460"/>
                  <a:gd name="connsiteX10" fmla="*/ 1111464 w 7298904"/>
                  <a:gd name="connsiteY10" fmla="*/ 1765907 h 2537460"/>
                  <a:gd name="connsiteX11" fmla="*/ 1203960 w 7298904"/>
                  <a:gd name="connsiteY11" fmla="*/ 1514484 h 2537460"/>
                  <a:gd name="connsiteX12" fmla="*/ 1274710 w 7298904"/>
                  <a:gd name="connsiteY12" fmla="*/ 1379221 h 2537460"/>
                  <a:gd name="connsiteX13" fmla="*/ 1405362 w 7298904"/>
                  <a:gd name="connsiteY13" fmla="*/ 1303020 h 2537460"/>
                  <a:gd name="connsiteX14" fmla="*/ 1460872 w 7298904"/>
                  <a:gd name="connsiteY14" fmla="*/ 1188720 h 2537460"/>
                  <a:gd name="connsiteX15" fmla="*/ 1524001 w 7298904"/>
                  <a:gd name="connsiteY15" fmla="*/ 1112495 h 2537460"/>
                  <a:gd name="connsiteX16" fmla="*/ 1606764 w 7298904"/>
                  <a:gd name="connsiteY16" fmla="*/ 1112520 h 2537460"/>
                  <a:gd name="connsiteX17" fmla="*/ 1652484 w 7298904"/>
                  <a:gd name="connsiteY17" fmla="*/ 1127760 h 2537460"/>
                  <a:gd name="connsiteX18" fmla="*/ 1713444 w 7298904"/>
                  <a:gd name="connsiteY18" fmla="*/ 1051560 h 2537460"/>
                  <a:gd name="connsiteX19" fmla="*/ 1759164 w 7298904"/>
                  <a:gd name="connsiteY19" fmla="*/ 1005840 h 2537460"/>
                  <a:gd name="connsiteX20" fmla="*/ 1903944 w 7298904"/>
                  <a:gd name="connsiteY20" fmla="*/ 1021080 h 2537460"/>
                  <a:gd name="connsiteX21" fmla="*/ 2025864 w 7298904"/>
                  <a:gd name="connsiteY21" fmla="*/ 1036320 h 2537460"/>
                  <a:gd name="connsiteX22" fmla="*/ 2155404 w 7298904"/>
                  <a:gd name="connsiteY22" fmla="*/ 1082040 h 2537460"/>
                  <a:gd name="connsiteX23" fmla="*/ 2223984 w 7298904"/>
                  <a:gd name="connsiteY23" fmla="*/ 1051560 h 2537460"/>
                  <a:gd name="connsiteX24" fmla="*/ 2399244 w 7298904"/>
                  <a:gd name="connsiteY24" fmla="*/ 1049626 h 2537460"/>
                  <a:gd name="connsiteX25" fmla="*/ 2451472 w 7298904"/>
                  <a:gd name="connsiteY25" fmla="*/ 1019147 h 2537460"/>
                  <a:gd name="connsiteX26" fmla="*/ 2488459 w 7298904"/>
                  <a:gd name="connsiteY26" fmla="*/ 937260 h 2537460"/>
                  <a:gd name="connsiteX27" fmla="*/ 2611492 w 7298904"/>
                  <a:gd name="connsiteY27" fmla="*/ 893434 h 2537460"/>
                  <a:gd name="connsiteX28" fmla="*/ 2674268 w 7298904"/>
                  <a:gd name="connsiteY28" fmla="*/ 822961 h 2537460"/>
                  <a:gd name="connsiteX29" fmla="*/ 2818344 w 7298904"/>
                  <a:gd name="connsiteY29" fmla="*/ 822960 h 2537460"/>
                  <a:gd name="connsiteX30" fmla="*/ 2932644 w 7298904"/>
                  <a:gd name="connsiteY30" fmla="*/ 830580 h 2537460"/>
                  <a:gd name="connsiteX31" fmla="*/ 3044367 w 7298904"/>
                  <a:gd name="connsiteY31" fmla="*/ 773385 h 2537460"/>
                  <a:gd name="connsiteX32" fmla="*/ 3108608 w 7298904"/>
                  <a:gd name="connsiteY32" fmla="*/ 720084 h 2537460"/>
                  <a:gd name="connsiteX33" fmla="*/ 3222204 w 7298904"/>
                  <a:gd name="connsiteY33" fmla="*/ 701040 h 2537460"/>
                  <a:gd name="connsiteX34" fmla="*/ 3298404 w 7298904"/>
                  <a:gd name="connsiteY34" fmla="*/ 628631 h 2537460"/>
                  <a:gd name="connsiteX35" fmla="*/ 3412705 w 7298904"/>
                  <a:gd name="connsiteY35" fmla="*/ 567671 h 2537460"/>
                  <a:gd name="connsiteX36" fmla="*/ 3481285 w 7298904"/>
                  <a:gd name="connsiteY36" fmla="*/ 510515 h 2537460"/>
                  <a:gd name="connsiteX37" fmla="*/ 3531342 w 7298904"/>
                  <a:gd name="connsiteY37" fmla="*/ 441960 h 2537460"/>
                  <a:gd name="connsiteX38" fmla="*/ 3587964 w 7298904"/>
                  <a:gd name="connsiteY38" fmla="*/ 419100 h 2537460"/>
                  <a:gd name="connsiteX39" fmla="*/ 3649277 w 7298904"/>
                  <a:gd name="connsiteY39" fmla="*/ 407651 h 2537460"/>
                  <a:gd name="connsiteX40" fmla="*/ 6399744 w 7298904"/>
                  <a:gd name="connsiteY40" fmla="*/ 0 h 2537460"/>
                  <a:gd name="connsiteX41" fmla="*/ 6605484 w 7298904"/>
                  <a:gd name="connsiteY41" fmla="*/ 45720 h 2537460"/>
                  <a:gd name="connsiteX42" fmla="*/ 6674064 w 7298904"/>
                  <a:gd name="connsiteY42" fmla="*/ 68580 h 2537460"/>
                  <a:gd name="connsiteX43" fmla="*/ 6765504 w 7298904"/>
                  <a:gd name="connsiteY43" fmla="*/ 121920 h 2537460"/>
                  <a:gd name="connsiteX44" fmla="*/ 6876875 w 7298904"/>
                  <a:gd name="connsiteY44" fmla="*/ 91414 h 2537460"/>
                  <a:gd name="connsiteX45" fmla="*/ 7077924 w 7298904"/>
                  <a:gd name="connsiteY45" fmla="*/ 121920 h 2537460"/>
                  <a:gd name="connsiteX46" fmla="*/ 7133755 w 7298904"/>
                  <a:gd name="connsiteY46" fmla="*/ 103794 h 2537460"/>
                  <a:gd name="connsiteX47" fmla="*/ 7298904 w 7298904"/>
                  <a:gd name="connsiteY47" fmla="*/ 106680 h 2537460"/>
                  <a:gd name="connsiteX0" fmla="*/ 0 w 7298904"/>
                  <a:gd name="connsiteY0" fmla="*/ 2491740 h 2491740"/>
                  <a:gd name="connsiteX1" fmla="*/ 265644 w 7298904"/>
                  <a:gd name="connsiteY1" fmla="*/ 2484120 h 2491740"/>
                  <a:gd name="connsiteX2" fmla="*/ 326604 w 7298904"/>
                  <a:gd name="connsiteY2" fmla="*/ 2453640 h 2491740"/>
                  <a:gd name="connsiteX3" fmla="*/ 425664 w 7298904"/>
                  <a:gd name="connsiteY3" fmla="*/ 2446020 h 2491740"/>
                  <a:gd name="connsiteX4" fmla="*/ 570444 w 7298904"/>
                  <a:gd name="connsiteY4" fmla="*/ 2362200 h 2491740"/>
                  <a:gd name="connsiteX5" fmla="*/ 684744 w 7298904"/>
                  <a:gd name="connsiteY5" fmla="*/ 2232660 h 2491740"/>
                  <a:gd name="connsiteX6" fmla="*/ 776184 w 7298904"/>
                  <a:gd name="connsiteY6" fmla="*/ 2209800 h 2491740"/>
                  <a:gd name="connsiteX7" fmla="*/ 905724 w 7298904"/>
                  <a:gd name="connsiteY7" fmla="*/ 2042160 h 2491740"/>
                  <a:gd name="connsiteX8" fmla="*/ 989544 w 7298904"/>
                  <a:gd name="connsiteY8" fmla="*/ 1981200 h 2491740"/>
                  <a:gd name="connsiteX9" fmla="*/ 1028700 w 7298904"/>
                  <a:gd name="connsiteY9" fmla="*/ 1844040 h 2491740"/>
                  <a:gd name="connsiteX10" fmla="*/ 1111464 w 7298904"/>
                  <a:gd name="connsiteY10" fmla="*/ 1720187 h 2491740"/>
                  <a:gd name="connsiteX11" fmla="*/ 1203960 w 7298904"/>
                  <a:gd name="connsiteY11" fmla="*/ 1468764 h 2491740"/>
                  <a:gd name="connsiteX12" fmla="*/ 1274710 w 7298904"/>
                  <a:gd name="connsiteY12" fmla="*/ 1333501 h 2491740"/>
                  <a:gd name="connsiteX13" fmla="*/ 1405362 w 7298904"/>
                  <a:gd name="connsiteY13" fmla="*/ 1257300 h 2491740"/>
                  <a:gd name="connsiteX14" fmla="*/ 1460872 w 7298904"/>
                  <a:gd name="connsiteY14" fmla="*/ 1143000 h 2491740"/>
                  <a:gd name="connsiteX15" fmla="*/ 1524001 w 7298904"/>
                  <a:gd name="connsiteY15" fmla="*/ 1066775 h 2491740"/>
                  <a:gd name="connsiteX16" fmla="*/ 1606764 w 7298904"/>
                  <a:gd name="connsiteY16" fmla="*/ 1066800 h 2491740"/>
                  <a:gd name="connsiteX17" fmla="*/ 1652484 w 7298904"/>
                  <a:gd name="connsiteY17" fmla="*/ 1082040 h 2491740"/>
                  <a:gd name="connsiteX18" fmla="*/ 1713444 w 7298904"/>
                  <a:gd name="connsiteY18" fmla="*/ 1005840 h 2491740"/>
                  <a:gd name="connsiteX19" fmla="*/ 1759164 w 7298904"/>
                  <a:gd name="connsiteY19" fmla="*/ 960120 h 2491740"/>
                  <a:gd name="connsiteX20" fmla="*/ 1903944 w 7298904"/>
                  <a:gd name="connsiteY20" fmla="*/ 975360 h 2491740"/>
                  <a:gd name="connsiteX21" fmla="*/ 2025864 w 7298904"/>
                  <a:gd name="connsiteY21" fmla="*/ 990600 h 2491740"/>
                  <a:gd name="connsiteX22" fmla="*/ 2155404 w 7298904"/>
                  <a:gd name="connsiteY22" fmla="*/ 1036320 h 2491740"/>
                  <a:gd name="connsiteX23" fmla="*/ 2223984 w 7298904"/>
                  <a:gd name="connsiteY23" fmla="*/ 1005840 h 2491740"/>
                  <a:gd name="connsiteX24" fmla="*/ 2399244 w 7298904"/>
                  <a:gd name="connsiteY24" fmla="*/ 1003906 h 2491740"/>
                  <a:gd name="connsiteX25" fmla="*/ 2451472 w 7298904"/>
                  <a:gd name="connsiteY25" fmla="*/ 973427 h 2491740"/>
                  <a:gd name="connsiteX26" fmla="*/ 2488459 w 7298904"/>
                  <a:gd name="connsiteY26" fmla="*/ 891540 h 2491740"/>
                  <a:gd name="connsiteX27" fmla="*/ 2611492 w 7298904"/>
                  <a:gd name="connsiteY27" fmla="*/ 847714 h 2491740"/>
                  <a:gd name="connsiteX28" fmla="*/ 2674268 w 7298904"/>
                  <a:gd name="connsiteY28" fmla="*/ 777241 h 2491740"/>
                  <a:gd name="connsiteX29" fmla="*/ 2818344 w 7298904"/>
                  <a:gd name="connsiteY29" fmla="*/ 777240 h 2491740"/>
                  <a:gd name="connsiteX30" fmla="*/ 2932644 w 7298904"/>
                  <a:gd name="connsiteY30" fmla="*/ 784860 h 2491740"/>
                  <a:gd name="connsiteX31" fmla="*/ 3044367 w 7298904"/>
                  <a:gd name="connsiteY31" fmla="*/ 727665 h 2491740"/>
                  <a:gd name="connsiteX32" fmla="*/ 3108608 w 7298904"/>
                  <a:gd name="connsiteY32" fmla="*/ 674364 h 2491740"/>
                  <a:gd name="connsiteX33" fmla="*/ 3222204 w 7298904"/>
                  <a:gd name="connsiteY33" fmla="*/ 655320 h 2491740"/>
                  <a:gd name="connsiteX34" fmla="*/ 3298404 w 7298904"/>
                  <a:gd name="connsiteY34" fmla="*/ 582911 h 2491740"/>
                  <a:gd name="connsiteX35" fmla="*/ 3412705 w 7298904"/>
                  <a:gd name="connsiteY35" fmla="*/ 521951 h 2491740"/>
                  <a:gd name="connsiteX36" fmla="*/ 3481285 w 7298904"/>
                  <a:gd name="connsiteY36" fmla="*/ 464795 h 2491740"/>
                  <a:gd name="connsiteX37" fmla="*/ 3531342 w 7298904"/>
                  <a:gd name="connsiteY37" fmla="*/ 396240 h 2491740"/>
                  <a:gd name="connsiteX38" fmla="*/ 3587964 w 7298904"/>
                  <a:gd name="connsiteY38" fmla="*/ 373380 h 2491740"/>
                  <a:gd name="connsiteX39" fmla="*/ 3649277 w 7298904"/>
                  <a:gd name="connsiteY39" fmla="*/ 361931 h 2491740"/>
                  <a:gd name="connsiteX40" fmla="*/ 6605484 w 7298904"/>
                  <a:gd name="connsiteY40" fmla="*/ 0 h 2491740"/>
                  <a:gd name="connsiteX41" fmla="*/ 6674064 w 7298904"/>
                  <a:gd name="connsiteY41" fmla="*/ 22860 h 2491740"/>
                  <a:gd name="connsiteX42" fmla="*/ 6765504 w 7298904"/>
                  <a:gd name="connsiteY42" fmla="*/ 76200 h 2491740"/>
                  <a:gd name="connsiteX43" fmla="*/ 6876875 w 7298904"/>
                  <a:gd name="connsiteY43" fmla="*/ 45694 h 2491740"/>
                  <a:gd name="connsiteX44" fmla="*/ 7077924 w 7298904"/>
                  <a:gd name="connsiteY44" fmla="*/ 76200 h 2491740"/>
                  <a:gd name="connsiteX45" fmla="*/ 7133755 w 7298904"/>
                  <a:gd name="connsiteY45" fmla="*/ 58074 h 2491740"/>
                  <a:gd name="connsiteX46" fmla="*/ 7298904 w 7298904"/>
                  <a:gd name="connsiteY46" fmla="*/ 60960 h 2491740"/>
                  <a:gd name="connsiteX0" fmla="*/ 0 w 7298904"/>
                  <a:gd name="connsiteY0" fmla="*/ 2468879 h 2468879"/>
                  <a:gd name="connsiteX1" fmla="*/ 265644 w 7298904"/>
                  <a:gd name="connsiteY1" fmla="*/ 2461259 h 2468879"/>
                  <a:gd name="connsiteX2" fmla="*/ 326604 w 7298904"/>
                  <a:gd name="connsiteY2" fmla="*/ 2430779 h 2468879"/>
                  <a:gd name="connsiteX3" fmla="*/ 425664 w 7298904"/>
                  <a:gd name="connsiteY3" fmla="*/ 2423159 h 2468879"/>
                  <a:gd name="connsiteX4" fmla="*/ 570444 w 7298904"/>
                  <a:gd name="connsiteY4" fmla="*/ 2339339 h 2468879"/>
                  <a:gd name="connsiteX5" fmla="*/ 684744 w 7298904"/>
                  <a:gd name="connsiteY5" fmla="*/ 2209799 h 2468879"/>
                  <a:gd name="connsiteX6" fmla="*/ 776184 w 7298904"/>
                  <a:gd name="connsiteY6" fmla="*/ 2186939 h 2468879"/>
                  <a:gd name="connsiteX7" fmla="*/ 905724 w 7298904"/>
                  <a:gd name="connsiteY7" fmla="*/ 2019299 h 2468879"/>
                  <a:gd name="connsiteX8" fmla="*/ 989544 w 7298904"/>
                  <a:gd name="connsiteY8" fmla="*/ 1958339 h 2468879"/>
                  <a:gd name="connsiteX9" fmla="*/ 1028700 w 7298904"/>
                  <a:gd name="connsiteY9" fmla="*/ 1821179 h 2468879"/>
                  <a:gd name="connsiteX10" fmla="*/ 1111464 w 7298904"/>
                  <a:gd name="connsiteY10" fmla="*/ 1697326 h 2468879"/>
                  <a:gd name="connsiteX11" fmla="*/ 1203960 w 7298904"/>
                  <a:gd name="connsiteY11" fmla="*/ 1445903 h 2468879"/>
                  <a:gd name="connsiteX12" fmla="*/ 1274710 w 7298904"/>
                  <a:gd name="connsiteY12" fmla="*/ 1310640 h 2468879"/>
                  <a:gd name="connsiteX13" fmla="*/ 1405362 w 7298904"/>
                  <a:gd name="connsiteY13" fmla="*/ 1234439 h 2468879"/>
                  <a:gd name="connsiteX14" fmla="*/ 1460872 w 7298904"/>
                  <a:gd name="connsiteY14" fmla="*/ 1120139 h 2468879"/>
                  <a:gd name="connsiteX15" fmla="*/ 1524001 w 7298904"/>
                  <a:gd name="connsiteY15" fmla="*/ 1043914 h 2468879"/>
                  <a:gd name="connsiteX16" fmla="*/ 1606764 w 7298904"/>
                  <a:gd name="connsiteY16" fmla="*/ 1043939 h 2468879"/>
                  <a:gd name="connsiteX17" fmla="*/ 1652484 w 7298904"/>
                  <a:gd name="connsiteY17" fmla="*/ 1059179 h 2468879"/>
                  <a:gd name="connsiteX18" fmla="*/ 1713444 w 7298904"/>
                  <a:gd name="connsiteY18" fmla="*/ 982979 h 2468879"/>
                  <a:gd name="connsiteX19" fmla="*/ 1759164 w 7298904"/>
                  <a:gd name="connsiteY19" fmla="*/ 937259 h 2468879"/>
                  <a:gd name="connsiteX20" fmla="*/ 1903944 w 7298904"/>
                  <a:gd name="connsiteY20" fmla="*/ 952499 h 2468879"/>
                  <a:gd name="connsiteX21" fmla="*/ 2025864 w 7298904"/>
                  <a:gd name="connsiteY21" fmla="*/ 967739 h 2468879"/>
                  <a:gd name="connsiteX22" fmla="*/ 2155404 w 7298904"/>
                  <a:gd name="connsiteY22" fmla="*/ 1013459 h 2468879"/>
                  <a:gd name="connsiteX23" fmla="*/ 2223984 w 7298904"/>
                  <a:gd name="connsiteY23" fmla="*/ 982979 h 2468879"/>
                  <a:gd name="connsiteX24" fmla="*/ 2399244 w 7298904"/>
                  <a:gd name="connsiteY24" fmla="*/ 981045 h 2468879"/>
                  <a:gd name="connsiteX25" fmla="*/ 2451472 w 7298904"/>
                  <a:gd name="connsiteY25" fmla="*/ 950566 h 2468879"/>
                  <a:gd name="connsiteX26" fmla="*/ 2488459 w 7298904"/>
                  <a:gd name="connsiteY26" fmla="*/ 868679 h 2468879"/>
                  <a:gd name="connsiteX27" fmla="*/ 2611492 w 7298904"/>
                  <a:gd name="connsiteY27" fmla="*/ 824853 h 2468879"/>
                  <a:gd name="connsiteX28" fmla="*/ 2674268 w 7298904"/>
                  <a:gd name="connsiteY28" fmla="*/ 754380 h 2468879"/>
                  <a:gd name="connsiteX29" fmla="*/ 2818344 w 7298904"/>
                  <a:gd name="connsiteY29" fmla="*/ 754379 h 2468879"/>
                  <a:gd name="connsiteX30" fmla="*/ 2932644 w 7298904"/>
                  <a:gd name="connsiteY30" fmla="*/ 761999 h 2468879"/>
                  <a:gd name="connsiteX31" fmla="*/ 3044367 w 7298904"/>
                  <a:gd name="connsiteY31" fmla="*/ 704804 h 2468879"/>
                  <a:gd name="connsiteX32" fmla="*/ 3108608 w 7298904"/>
                  <a:gd name="connsiteY32" fmla="*/ 651503 h 2468879"/>
                  <a:gd name="connsiteX33" fmla="*/ 3222204 w 7298904"/>
                  <a:gd name="connsiteY33" fmla="*/ 632459 h 2468879"/>
                  <a:gd name="connsiteX34" fmla="*/ 3298404 w 7298904"/>
                  <a:gd name="connsiteY34" fmla="*/ 560050 h 2468879"/>
                  <a:gd name="connsiteX35" fmla="*/ 3412705 w 7298904"/>
                  <a:gd name="connsiteY35" fmla="*/ 499090 h 2468879"/>
                  <a:gd name="connsiteX36" fmla="*/ 3481285 w 7298904"/>
                  <a:gd name="connsiteY36" fmla="*/ 441934 h 2468879"/>
                  <a:gd name="connsiteX37" fmla="*/ 3531342 w 7298904"/>
                  <a:gd name="connsiteY37" fmla="*/ 373379 h 2468879"/>
                  <a:gd name="connsiteX38" fmla="*/ 3587964 w 7298904"/>
                  <a:gd name="connsiteY38" fmla="*/ 350519 h 2468879"/>
                  <a:gd name="connsiteX39" fmla="*/ 3649277 w 7298904"/>
                  <a:gd name="connsiteY39" fmla="*/ 339070 h 2468879"/>
                  <a:gd name="connsiteX40" fmla="*/ 6674064 w 7298904"/>
                  <a:gd name="connsiteY40" fmla="*/ -1 h 2468879"/>
                  <a:gd name="connsiteX41" fmla="*/ 6765504 w 7298904"/>
                  <a:gd name="connsiteY41" fmla="*/ 53339 h 2468879"/>
                  <a:gd name="connsiteX42" fmla="*/ 6876875 w 7298904"/>
                  <a:gd name="connsiteY42" fmla="*/ 22833 h 2468879"/>
                  <a:gd name="connsiteX43" fmla="*/ 7077924 w 7298904"/>
                  <a:gd name="connsiteY43" fmla="*/ 53339 h 2468879"/>
                  <a:gd name="connsiteX44" fmla="*/ 7133755 w 7298904"/>
                  <a:gd name="connsiteY44" fmla="*/ 35213 h 2468879"/>
                  <a:gd name="connsiteX45" fmla="*/ 7298904 w 7298904"/>
                  <a:gd name="connsiteY45" fmla="*/ 38099 h 2468879"/>
                  <a:gd name="connsiteX0" fmla="*/ 0 w 7298904"/>
                  <a:gd name="connsiteY0" fmla="*/ 2446047 h 2446047"/>
                  <a:gd name="connsiteX1" fmla="*/ 265644 w 7298904"/>
                  <a:gd name="connsiteY1" fmla="*/ 2438427 h 2446047"/>
                  <a:gd name="connsiteX2" fmla="*/ 326604 w 7298904"/>
                  <a:gd name="connsiteY2" fmla="*/ 2407947 h 2446047"/>
                  <a:gd name="connsiteX3" fmla="*/ 425664 w 7298904"/>
                  <a:gd name="connsiteY3" fmla="*/ 2400327 h 2446047"/>
                  <a:gd name="connsiteX4" fmla="*/ 570444 w 7298904"/>
                  <a:gd name="connsiteY4" fmla="*/ 2316507 h 2446047"/>
                  <a:gd name="connsiteX5" fmla="*/ 684744 w 7298904"/>
                  <a:gd name="connsiteY5" fmla="*/ 2186967 h 2446047"/>
                  <a:gd name="connsiteX6" fmla="*/ 776184 w 7298904"/>
                  <a:gd name="connsiteY6" fmla="*/ 2164107 h 2446047"/>
                  <a:gd name="connsiteX7" fmla="*/ 905724 w 7298904"/>
                  <a:gd name="connsiteY7" fmla="*/ 1996467 h 2446047"/>
                  <a:gd name="connsiteX8" fmla="*/ 989544 w 7298904"/>
                  <a:gd name="connsiteY8" fmla="*/ 1935507 h 2446047"/>
                  <a:gd name="connsiteX9" fmla="*/ 1028700 w 7298904"/>
                  <a:gd name="connsiteY9" fmla="*/ 1798347 h 2446047"/>
                  <a:gd name="connsiteX10" fmla="*/ 1111464 w 7298904"/>
                  <a:gd name="connsiteY10" fmla="*/ 1674494 h 2446047"/>
                  <a:gd name="connsiteX11" fmla="*/ 1203960 w 7298904"/>
                  <a:gd name="connsiteY11" fmla="*/ 1423071 h 2446047"/>
                  <a:gd name="connsiteX12" fmla="*/ 1274710 w 7298904"/>
                  <a:gd name="connsiteY12" fmla="*/ 1287808 h 2446047"/>
                  <a:gd name="connsiteX13" fmla="*/ 1405362 w 7298904"/>
                  <a:gd name="connsiteY13" fmla="*/ 1211607 h 2446047"/>
                  <a:gd name="connsiteX14" fmla="*/ 1460872 w 7298904"/>
                  <a:gd name="connsiteY14" fmla="*/ 1097307 h 2446047"/>
                  <a:gd name="connsiteX15" fmla="*/ 1524001 w 7298904"/>
                  <a:gd name="connsiteY15" fmla="*/ 1021082 h 2446047"/>
                  <a:gd name="connsiteX16" fmla="*/ 1606764 w 7298904"/>
                  <a:gd name="connsiteY16" fmla="*/ 1021107 h 2446047"/>
                  <a:gd name="connsiteX17" fmla="*/ 1652484 w 7298904"/>
                  <a:gd name="connsiteY17" fmla="*/ 1036347 h 2446047"/>
                  <a:gd name="connsiteX18" fmla="*/ 1713444 w 7298904"/>
                  <a:gd name="connsiteY18" fmla="*/ 960147 h 2446047"/>
                  <a:gd name="connsiteX19" fmla="*/ 1759164 w 7298904"/>
                  <a:gd name="connsiteY19" fmla="*/ 914427 h 2446047"/>
                  <a:gd name="connsiteX20" fmla="*/ 1903944 w 7298904"/>
                  <a:gd name="connsiteY20" fmla="*/ 929667 h 2446047"/>
                  <a:gd name="connsiteX21" fmla="*/ 2025864 w 7298904"/>
                  <a:gd name="connsiteY21" fmla="*/ 944907 h 2446047"/>
                  <a:gd name="connsiteX22" fmla="*/ 2155404 w 7298904"/>
                  <a:gd name="connsiteY22" fmla="*/ 990627 h 2446047"/>
                  <a:gd name="connsiteX23" fmla="*/ 2223984 w 7298904"/>
                  <a:gd name="connsiteY23" fmla="*/ 960147 h 2446047"/>
                  <a:gd name="connsiteX24" fmla="*/ 2399244 w 7298904"/>
                  <a:gd name="connsiteY24" fmla="*/ 958213 h 2446047"/>
                  <a:gd name="connsiteX25" fmla="*/ 2451472 w 7298904"/>
                  <a:gd name="connsiteY25" fmla="*/ 927734 h 2446047"/>
                  <a:gd name="connsiteX26" fmla="*/ 2488459 w 7298904"/>
                  <a:gd name="connsiteY26" fmla="*/ 845847 h 2446047"/>
                  <a:gd name="connsiteX27" fmla="*/ 2611492 w 7298904"/>
                  <a:gd name="connsiteY27" fmla="*/ 802021 h 2446047"/>
                  <a:gd name="connsiteX28" fmla="*/ 2674268 w 7298904"/>
                  <a:gd name="connsiteY28" fmla="*/ 731548 h 2446047"/>
                  <a:gd name="connsiteX29" fmla="*/ 2818344 w 7298904"/>
                  <a:gd name="connsiteY29" fmla="*/ 731547 h 2446047"/>
                  <a:gd name="connsiteX30" fmla="*/ 2932644 w 7298904"/>
                  <a:gd name="connsiteY30" fmla="*/ 739167 h 2446047"/>
                  <a:gd name="connsiteX31" fmla="*/ 3044367 w 7298904"/>
                  <a:gd name="connsiteY31" fmla="*/ 681972 h 2446047"/>
                  <a:gd name="connsiteX32" fmla="*/ 3108608 w 7298904"/>
                  <a:gd name="connsiteY32" fmla="*/ 628671 h 2446047"/>
                  <a:gd name="connsiteX33" fmla="*/ 3222204 w 7298904"/>
                  <a:gd name="connsiteY33" fmla="*/ 609627 h 2446047"/>
                  <a:gd name="connsiteX34" fmla="*/ 3298404 w 7298904"/>
                  <a:gd name="connsiteY34" fmla="*/ 537218 h 2446047"/>
                  <a:gd name="connsiteX35" fmla="*/ 3412705 w 7298904"/>
                  <a:gd name="connsiteY35" fmla="*/ 476258 h 2446047"/>
                  <a:gd name="connsiteX36" fmla="*/ 3481285 w 7298904"/>
                  <a:gd name="connsiteY36" fmla="*/ 419102 h 2446047"/>
                  <a:gd name="connsiteX37" fmla="*/ 3531342 w 7298904"/>
                  <a:gd name="connsiteY37" fmla="*/ 350547 h 2446047"/>
                  <a:gd name="connsiteX38" fmla="*/ 3587964 w 7298904"/>
                  <a:gd name="connsiteY38" fmla="*/ 327687 h 2446047"/>
                  <a:gd name="connsiteX39" fmla="*/ 3649277 w 7298904"/>
                  <a:gd name="connsiteY39" fmla="*/ 316238 h 2446047"/>
                  <a:gd name="connsiteX40" fmla="*/ 6765504 w 7298904"/>
                  <a:gd name="connsiteY40" fmla="*/ 30507 h 2446047"/>
                  <a:gd name="connsiteX41" fmla="*/ 6876875 w 7298904"/>
                  <a:gd name="connsiteY41" fmla="*/ 1 h 2446047"/>
                  <a:gd name="connsiteX42" fmla="*/ 7077924 w 7298904"/>
                  <a:gd name="connsiteY42" fmla="*/ 30507 h 2446047"/>
                  <a:gd name="connsiteX43" fmla="*/ 7133755 w 7298904"/>
                  <a:gd name="connsiteY43" fmla="*/ 12381 h 2446047"/>
                  <a:gd name="connsiteX44" fmla="*/ 7298904 w 7298904"/>
                  <a:gd name="connsiteY44" fmla="*/ 15267 h 2446047"/>
                  <a:gd name="connsiteX0" fmla="*/ 0 w 7298904"/>
                  <a:gd name="connsiteY0" fmla="*/ 2446047 h 2446047"/>
                  <a:gd name="connsiteX1" fmla="*/ 265644 w 7298904"/>
                  <a:gd name="connsiteY1" fmla="*/ 2438427 h 2446047"/>
                  <a:gd name="connsiteX2" fmla="*/ 326604 w 7298904"/>
                  <a:gd name="connsiteY2" fmla="*/ 2407947 h 2446047"/>
                  <a:gd name="connsiteX3" fmla="*/ 425664 w 7298904"/>
                  <a:gd name="connsiteY3" fmla="*/ 2400327 h 2446047"/>
                  <a:gd name="connsiteX4" fmla="*/ 570444 w 7298904"/>
                  <a:gd name="connsiteY4" fmla="*/ 2316507 h 2446047"/>
                  <a:gd name="connsiteX5" fmla="*/ 684744 w 7298904"/>
                  <a:gd name="connsiteY5" fmla="*/ 2186967 h 2446047"/>
                  <a:gd name="connsiteX6" fmla="*/ 776184 w 7298904"/>
                  <a:gd name="connsiteY6" fmla="*/ 2164107 h 2446047"/>
                  <a:gd name="connsiteX7" fmla="*/ 905724 w 7298904"/>
                  <a:gd name="connsiteY7" fmla="*/ 1996467 h 2446047"/>
                  <a:gd name="connsiteX8" fmla="*/ 989544 w 7298904"/>
                  <a:gd name="connsiteY8" fmla="*/ 1935507 h 2446047"/>
                  <a:gd name="connsiteX9" fmla="*/ 1028700 w 7298904"/>
                  <a:gd name="connsiteY9" fmla="*/ 1798347 h 2446047"/>
                  <a:gd name="connsiteX10" fmla="*/ 1111464 w 7298904"/>
                  <a:gd name="connsiteY10" fmla="*/ 1674494 h 2446047"/>
                  <a:gd name="connsiteX11" fmla="*/ 1203960 w 7298904"/>
                  <a:gd name="connsiteY11" fmla="*/ 1423071 h 2446047"/>
                  <a:gd name="connsiteX12" fmla="*/ 1274710 w 7298904"/>
                  <a:gd name="connsiteY12" fmla="*/ 1287808 h 2446047"/>
                  <a:gd name="connsiteX13" fmla="*/ 1405362 w 7298904"/>
                  <a:gd name="connsiteY13" fmla="*/ 1211607 h 2446047"/>
                  <a:gd name="connsiteX14" fmla="*/ 1460872 w 7298904"/>
                  <a:gd name="connsiteY14" fmla="*/ 1097307 h 2446047"/>
                  <a:gd name="connsiteX15" fmla="*/ 1524001 w 7298904"/>
                  <a:gd name="connsiteY15" fmla="*/ 1021082 h 2446047"/>
                  <a:gd name="connsiteX16" fmla="*/ 1606764 w 7298904"/>
                  <a:gd name="connsiteY16" fmla="*/ 1021107 h 2446047"/>
                  <a:gd name="connsiteX17" fmla="*/ 1652484 w 7298904"/>
                  <a:gd name="connsiteY17" fmla="*/ 1036347 h 2446047"/>
                  <a:gd name="connsiteX18" fmla="*/ 1713444 w 7298904"/>
                  <a:gd name="connsiteY18" fmla="*/ 960147 h 2446047"/>
                  <a:gd name="connsiteX19" fmla="*/ 1759164 w 7298904"/>
                  <a:gd name="connsiteY19" fmla="*/ 914427 h 2446047"/>
                  <a:gd name="connsiteX20" fmla="*/ 1903944 w 7298904"/>
                  <a:gd name="connsiteY20" fmla="*/ 929667 h 2446047"/>
                  <a:gd name="connsiteX21" fmla="*/ 2025864 w 7298904"/>
                  <a:gd name="connsiteY21" fmla="*/ 944907 h 2446047"/>
                  <a:gd name="connsiteX22" fmla="*/ 2155404 w 7298904"/>
                  <a:gd name="connsiteY22" fmla="*/ 990627 h 2446047"/>
                  <a:gd name="connsiteX23" fmla="*/ 2223984 w 7298904"/>
                  <a:gd name="connsiteY23" fmla="*/ 960147 h 2446047"/>
                  <a:gd name="connsiteX24" fmla="*/ 2399244 w 7298904"/>
                  <a:gd name="connsiteY24" fmla="*/ 958213 h 2446047"/>
                  <a:gd name="connsiteX25" fmla="*/ 2451472 w 7298904"/>
                  <a:gd name="connsiteY25" fmla="*/ 927734 h 2446047"/>
                  <a:gd name="connsiteX26" fmla="*/ 2488459 w 7298904"/>
                  <a:gd name="connsiteY26" fmla="*/ 845847 h 2446047"/>
                  <a:gd name="connsiteX27" fmla="*/ 2611492 w 7298904"/>
                  <a:gd name="connsiteY27" fmla="*/ 802021 h 2446047"/>
                  <a:gd name="connsiteX28" fmla="*/ 2674268 w 7298904"/>
                  <a:gd name="connsiteY28" fmla="*/ 731548 h 2446047"/>
                  <a:gd name="connsiteX29" fmla="*/ 2818344 w 7298904"/>
                  <a:gd name="connsiteY29" fmla="*/ 731547 h 2446047"/>
                  <a:gd name="connsiteX30" fmla="*/ 2932644 w 7298904"/>
                  <a:gd name="connsiteY30" fmla="*/ 739167 h 2446047"/>
                  <a:gd name="connsiteX31" fmla="*/ 3044367 w 7298904"/>
                  <a:gd name="connsiteY31" fmla="*/ 681972 h 2446047"/>
                  <a:gd name="connsiteX32" fmla="*/ 3108608 w 7298904"/>
                  <a:gd name="connsiteY32" fmla="*/ 628671 h 2446047"/>
                  <a:gd name="connsiteX33" fmla="*/ 3222204 w 7298904"/>
                  <a:gd name="connsiteY33" fmla="*/ 609627 h 2446047"/>
                  <a:gd name="connsiteX34" fmla="*/ 3298404 w 7298904"/>
                  <a:gd name="connsiteY34" fmla="*/ 537218 h 2446047"/>
                  <a:gd name="connsiteX35" fmla="*/ 3412705 w 7298904"/>
                  <a:gd name="connsiteY35" fmla="*/ 476258 h 2446047"/>
                  <a:gd name="connsiteX36" fmla="*/ 3481285 w 7298904"/>
                  <a:gd name="connsiteY36" fmla="*/ 419102 h 2446047"/>
                  <a:gd name="connsiteX37" fmla="*/ 3531342 w 7298904"/>
                  <a:gd name="connsiteY37" fmla="*/ 350547 h 2446047"/>
                  <a:gd name="connsiteX38" fmla="*/ 3587964 w 7298904"/>
                  <a:gd name="connsiteY38" fmla="*/ 327687 h 2446047"/>
                  <a:gd name="connsiteX39" fmla="*/ 3649277 w 7298904"/>
                  <a:gd name="connsiteY39" fmla="*/ 316238 h 2446047"/>
                  <a:gd name="connsiteX40" fmla="*/ 6876875 w 7298904"/>
                  <a:gd name="connsiteY40" fmla="*/ 1 h 2446047"/>
                  <a:gd name="connsiteX41" fmla="*/ 7077924 w 7298904"/>
                  <a:gd name="connsiteY41" fmla="*/ 30507 h 2446047"/>
                  <a:gd name="connsiteX42" fmla="*/ 7133755 w 7298904"/>
                  <a:gd name="connsiteY42" fmla="*/ 12381 h 2446047"/>
                  <a:gd name="connsiteX43" fmla="*/ 7298904 w 7298904"/>
                  <a:gd name="connsiteY43" fmla="*/ 15267 h 2446047"/>
                  <a:gd name="connsiteX0" fmla="*/ 0 w 7298904"/>
                  <a:gd name="connsiteY0" fmla="*/ 2433671 h 2433671"/>
                  <a:gd name="connsiteX1" fmla="*/ 265644 w 7298904"/>
                  <a:gd name="connsiteY1" fmla="*/ 2426051 h 2433671"/>
                  <a:gd name="connsiteX2" fmla="*/ 326604 w 7298904"/>
                  <a:gd name="connsiteY2" fmla="*/ 2395571 h 2433671"/>
                  <a:gd name="connsiteX3" fmla="*/ 425664 w 7298904"/>
                  <a:gd name="connsiteY3" fmla="*/ 2387951 h 2433671"/>
                  <a:gd name="connsiteX4" fmla="*/ 570444 w 7298904"/>
                  <a:gd name="connsiteY4" fmla="*/ 2304131 h 2433671"/>
                  <a:gd name="connsiteX5" fmla="*/ 684744 w 7298904"/>
                  <a:gd name="connsiteY5" fmla="*/ 2174591 h 2433671"/>
                  <a:gd name="connsiteX6" fmla="*/ 776184 w 7298904"/>
                  <a:gd name="connsiteY6" fmla="*/ 2151731 h 2433671"/>
                  <a:gd name="connsiteX7" fmla="*/ 905724 w 7298904"/>
                  <a:gd name="connsiteY7" fmla="*/ 1984091 h 2433671"/>
                  <a:gd name="connsiteX8" fmla="*/ 989544 w 7298904"/>
                  <a:gd name="connsiteY8" fmla="*/ 1923131 h 2433671"/>
                  <a:gd name="connsiteX9" fmla="*/ 1028700 w 7298904"/>
                  <a:gd name="connsiteY9" fmla="*/ 1785971 h 2433671"/>
                  <a:gd name="connsiteX10" fmla="*/ 1111464 w 7298904"/>
                  <a:gd name="connsiteY10" fmla="*/ 1662118 h 2433671"/>
                  <a:gd name="connsiteX11" fmla="*/ 1203960 w 7298904"/>
                  <a:gd name="connsiteY11" fmla="*/ 1410695 h 2433671"/>
                  <a:gd name="connsiteX12" fmla="*/ 1274710 w 7298904"/>
                  <a:gd name="connsiteY12" fmla="*/ 1275432 h 2433671"/>
                  <a:gd name="connsiteX13" fmla="*/ 1405362 w 7298904"/>
                  <a:gd name="connsiteY13" fmla="*/ 1199231 h 2433671"/>
                  <a:gd name="connsiteX14" fmla="*/ 1460872 w 7298904"/>
                  <a:gd name="connsiteY14" fmla="*/ 1084931 h 2433671"/>
                  <a:gd name="connsiteX15" fmla="*/ 1524001 w 7298904"/>
                  <a:gd name="connsiteY15" fmla="*/ 1008706 h 2433671"/>
                  <a:gd name="connsiteX16" fmla="*/ 1606764 w 7298904"/>
                  <a:gd name="connsiteY16" fmla="*/ 1008731 h 2433671"/>
                  <a:gd name="connsiteX17" fmla="*/ 1652484 w 7298904"/>
                  <a:gd name="connsiteY17" fmla="*/ 1023971 h 2433671"/>
                  <a:gd name="connsiteX18" fmla="*/ 1713444 w 7298904"/>
                  <a:gd name="connsiteY18" fmla="*/ 947771 h 2433671"/>
                  <a:gd name="connsiteX19" fmla="*/ 1759164 w 7298904"/>
                  <a:gd name="connsiteY19" fmla="*/ 902051 h 2433671"/>
                  <a:gd name="connsiteX20" fmla="*/ 1903944 w 7298904"/>
                  <a:gd name="connsiteY20" fmla="*/ 917291 h 2433671"/>
                  <a:gd name="connsiteX21" fmla="*/ 2025864 w 7298904"/>
                  <a:gd name="connsiteY21" fmla="*/ 932531 h 2433671"/>
                  <a:gd name="connsiteX22" fmla="*/ 2155404 w 7298904"/>
                  <a:gd name="connsiteY22" fmla="*/ 978251 h 2433671"/>
                  <a:gd name="connsiteX23" fmla="*/ 2223984 w 7298904"/>
                  <a:gd name="connsiteY23" fmla="*/ 947771 h 2433671"/>
                  <a:gd name="connsiteX24" fmla="*/ 2399244 w 7298904"/>
                  <a:gd name="connsiteY24" fmla="*/ 945837 h 2433671"/>
                  <a:gd name="connsiteX25" fmla="*/ 2451472 w 7298904"/>
                  <a:gd name="connsiteY25" fmla="*/ 915358 h 2433671"/>
                  <a:gd name="connsiteX26" fmla="*/ 2488459 w 7298904"/>
                  <a:gd name="connsiteY26" fmla="*/ 833471 h 2433671"/>
                  <a:gd name="connsiteX27" fmla="*/ 2611492 w 7298904"/>
                  <a:gd name="connsiteY27" fmla="*/ 789645 h 2433671"/>
                  <a:gd name="connsiteX28" fmla="*/ 2674268 w 7298904"/>
                  <a:gd name="connsiteY28" fmla="*/ 719172 h 2433671"/>
                  <a:gd name="connsiteX29" fmla="*/ 2818344 w 7298904"/>
                  <a:gd name="connsiteY29" fmla="*/ 719171 h 2433671"/>
                  <a:gd name="connsiteX30" fmla="*/ 2932644 w 7298904"/>
                  <a:gd name="connsiteY30" fmla="*/ 726791 h 2433671"/>
                  <a:gd name="connsiteX31" fmla="*/ 3044367 w 7298904"/>
                  <a:gd name="connsiteY31" fmla="*/ 669596 h 2433671"/>
                  <a:gd name="connsiteX32" fmla="*/ 3108608 w 7298904"/>
                  <a:gd name="connsiteY32" fmla="*/ 616295 h 2433671"/>
                  <a:gd name="connsiteX33" fmla="*/ 3222204 w 7298904"/>
                  <a:gd name="connsiteY33" fmla="*/ 597251 h 2433671"/>
                  <a:gd name="connsiteX34" fmla="*/ 3298404 w 7298904"/>
                  <a:gd name="connsiteY34" fmla="*/ 524842 h 2433671"/>
                  <a:gd name="connsiteX35" fmla="*/ 3412705 w 7298904"/>
                  <a:gd name="connsiteY35" fmla="*/ 463882 h 2433671"/>
                  <a:gd name="connsiteX36" fmla="*/ 3481285 w 7298904"/>
                  <a:gd name="connsiteY36" fmla="*/ 406726 h 2433671"/>
                  <a:gd name="connsiteX37" fmla="*/ 3531342 w 7298904"/>
                  <a:gd name="connsiteY37" fmla="*/ 338171 h 2433671"/>
                  <a:gd name="connsiteX38" fmla="*/ 3587964 w 7298904"/>
                  <a:gd name="connsiteY38" fmla="*/ 315311 h 2433671"/>
                  <a:gd name="connsiteX39" fmla="*/ 3649277 w 7298904"/>
                  <a:gd name="connsiteY39" fmla="*/ 303862 h 2433671"/>
                  <a:gd name="connsiteX40" fmla="*/ 7077924 w 7298904"/>
                  <a:gd name="connsiteY40" fmla="*/ 18131 h 2433671"/>
                  <a:gd name="connsiteX41" fmla="*/ 7133755 w 7298904"/>
                  <a:gd name="connsiteY41" fmla="*/ 5 h 2433671"/>
                  <a:gd name="connsiteX42" fmla="*/ 7298904 w 7298904"/>
                  <a:gd name="connsiteY42" fmla="*/ 2891 h 2433671"/>
                  <a:gd name="connsiteX0" fmla="*/ 0 w 7298904"/>
                  <a:gd name="connsiteY0" fmla="*/ 2433666 h 2433666"/>
                  <a:gd name="connsiteX1" fmla="*/ 265644 w 7298904"/>
                  <a:gd name="connsiteY1" fmla="*/ 2426046 h 2433666"/>
                  <a:gd name="connsiteX2" fmla="*/ 326604 w 7298904"/>
                  <a:gd name="connsiteY2" fmla="*/ 2395566 h 2433666"/>
                  <a:gd name="connsiteX3" fmla="*/ 425664 w 7298904"/>
                  <a:gd name="connsiteY3" fmla="*/ 2387946 h 2433666"/>
                  <a:gd name="connsiteX4" fmla="*/ 570444 w 7298904"/>
                  <a:gd name="connsiteY4" fmla="*/ 2304126 h 2433666"/>
                  <a:gd name="connsiteX5" fmla="*/ 684744 w 7298904"/>
                  <a:gd name="connsiteY5" fmla="*/ 2174586 h 2433666"/>
                  <a:gd name="connsiteX6" fmla="*/ 776184 w 7298904"/>
                  <a:gd name="connsiteY6" fmla="*/ 2151726 h 2433666"/>
                  <a:gd name="connsiteX7" fmla="*/ 905724 w 7298904"/>
                  <a:gd name="connsiteY7" fmla="*/ 1984086 h 2433666"/>
                  <a:gd name="connsiteX8" fmla="*/ 989544 w 7298904"/>
                  <a:gd name="connsiteY8" fmla="*/ 1923126 h 2433666"/>
                  <a:gd name="connsiteX9" fmla="*/ 1028700 w 7298904"/>
                  <a:gd name="connsiteY9" fmla="*/ 1785966 h 2433666"/>
                  <a:gd name="connsiteX10" fmla="*/ 1111464 w 7298904"/>
                  <a:gd name="connsiteY10" fmla="*/ 1662113 h 2433666"/>
                  <a:gd name="connsiteX11" fmla="*/ 1203960 w 7298904"/>
                  <a:gd name="connsiteY11" fmla="*/ 1410690 h 2433666"/>
                  <a:gd name="connsiteX12" fmla="*/ 1274710 w 7298904"/>
                  <a:gd name="connsiteY12" fmla="*/ 1275427 h 2433666"/>
                  <a:gd name="connsiteX13" fmla="*/ 1405362 w 7298904"/>
                  <a:gd name="connsiteY13" fmla="*/ 1199226 h 2433666"/>
                  <a:gd name="connsiteX14" fmla="*/ 1460872 w 7298904"/>
                  <a:gd name="connsiteY14" fmla="*/ 1084926 h 2433666"/>
                  <a:gd name="connsiteX15" fmla="*/ 1524001 w 7298904"/>
                  <a:gd name="connsiteY15" fmla="*/ 1008701 h 2433666"/>
                  <a:gd name="connsiteX16" fmla="*/ 1606764 w 7298904"/>
                  <a:gd name="connsiteY16" fmla="*/ 1008726 h 2433666"/>
                  <a:gd name="connsiteX17" fmla="*/ 1652484 w 7298904"/>
                  <a:gd name="connsiteY17" fmla="*/ 1023966 h 2433666"/>
                  <a:gd name="connsiteX18" fmla="*/ 1713444 w 7298904"/>
                  <a:gd name="connsiteY18" fmla="*/ 947766 h 2433666"/>
                  <a:gd name="connsiteX19" fmla="*/ 1759164 w 7298904"/>
                  <a:gd name="connsiteY19" fmla="*/ 902046 h 2433666"/>
                  <a:gd name="connsiteX20" fmla="*/ 1903944 w 7298904"/>
                  <a:gd name="connsiteY20" fmla="*/ 917286 h 2433666"/>
                  <a:gd name="connsiteX21" fmla="*/ 2025864 w 7298904"/>
                  <a:gd name="connsiteY21" fmla="*/ 932526 h 2433666"/>
                  <a:gd name="connsiteX22" fmla="*/ 2155404 w 7298904"/>
                  <a:gd name="connsiteY22" fmla="*/ 978246 h 2433666"/>
                  <a:gd name="connsiteX23" fmla="*/ 2223984 w 7298904"/>
                  <a:gd name="connsiteY23" fmla="*/ 947766 h 2433666"/>
                  <a:gd name="connsiteX24" fmla="*/ 2399244 w 7298904"/>
                  <a:gd name="connsiteY24" fmla="*/ 945832 h 2433666"/>
                  <a:gd name="connsiteX25" fmla="*/ 2451472 w 7298904"/>
                  <a:gd name="connsiteY25" fmla="*/ 915353 h 2433666"/>
                  <a:gd name="connsiteX26" fmla="*/ 2488459 w 7298904"/>
                  <a:gd name="connsiteY26" fmla="*/ 833466 h 2433666"/>
                  <a:gd name="connsiteX27" fmla="*/ 2611492 w 7298904"/>
                  <a:gd name="connsiteY27" fmla="*/ 789640 h 2433666"/>
                  <a:gd name="connsiteX28" fmla="*/ 2674268 w 7298904"/>
                  <a:gd name="connsiteY28" fmla="*/ 719167 h 2433666"/>
                  <a:gd name="connsiteX29" fmla="*/ 2818344 w 7298904"/>
                  <a:gd name="connsiteY29" fmla="*/ 719166 h 2433666"/>
                  <a:gd name="connsiteX30" fmla="*/ 2932644 w 7298904"/>
                  <a:gd name="connsiteY30" fmla="*/ 726786 h 2433666"/>
                  <a:gd name="connsiteX31" fmla="*/ 3044367 w 7298904"/>
                  <a:gd name="connsiteY31" fmla="*/ 669591 h 2433666"/>
                  <a:gd name="connsiteX32" fmla="*/ 3108608 w 7298904"/>
                  <a:gd name="connsiteY32" fmla="*/ 616290 h 2433666"/>
                  <a:gd name="connsiteX33" fmla="*/ 3222204 w 7298904"/>
                  <a:gd name="connsiteY33" fmla="*/ 597246 h 2433666"/>
                  <a:gd name="connsiteX34" fmla="*/ 3298404 w 7298904"/>
                  <a:gd name="connsiteY34" fmla="*/ 524837 h 2433666"/>
                  <a:gd name="connsiteX35" fmla="*/ 3412705 w 7298904"/>
                  <a:gd name="connsiteY35" fmla="*/ 463877 h 2433666"/>
                  <a:gd name="connsiteX36" fmla="*/ 3481285 w 7298904"/>
                  <a:gd name="connsiteY36" fmla="*/ 406721 h 2433666"/>
                  <a:gd name="connsiteX37" fmla="*/ 3531342 w 7298904"/>
                  <a:gd name="connsiteY37" fmla="*/ 338166 h 2433666"/>
                  <a:gd name="connsiteX38" fmla="*/ 3587964 w 7298904"/>
                  <a:gd name="connsiteY38" fmla="*/ 315306 h 2433666"/>
                  <a:gd name="connsiteX39" fmla="*/ 3649277 w 7298904"/>
                  <a:gd name="connsiteY39" fmla="*/ 303857 h 2433666"/>
                  <a:gd name="connsiteX40" fmla="*/ 7133755 w 7298904"/>
                  <a:gd name="connsiteY40" fmla="*/ 0 h 2433666"/>
                  <a:gd name="connsiteX41" fmla="*/ 7298904 w 7298904"/>
                  <a:gd name="connsiteY41" fmla="*/ 2886 h 2433666"/>
                  <a:gd name="connsiteX0" fmla="*/ 0 w 7298904"/>
                  <a:gd name="connsiteY0" fmla="*/ 2430781 h 2430781"/>
                  <a:gd name="connsiteX1" fmla="*/ 265644 w 7298904"/>
                  <a:gd name="connsiteY1" fmla="*/ 2423161 h 2430781"/>
                  <a:gd name="connsiteX2" fmla="*/ 326604 w 7298904"/>
                  <a:gd name="connsiteY2" fmla="*/ 2392681 h 2430781"/>
                  <a:gd name="connsiteX3" fmla="*/ 425664 w 7298904"/>
                  <a:gd name="connsiteY3" fmla="*/ 2385061 h 2430781"/>
                  <a:gd name="connsiteX4" fmla="*/ 570444 w 7298904"/>
                  <a:gd name="connsiteY4" fmla="*/ 2301241 h 2430781"/>
                  <a:gd name="connsiteX5" fmla="*/ 684744 w 7298904"/>
                  <a:gd name="connsiteY5" fmla="*/ 2171701 h 2430781"/>
                  <a:gd name="connsiteX6" fmla="*/ 776184 w 7298904"/>
                  <a:gd name="connsiteY6" fmla="*/ 2148841 h 2430781"/>
                  <a:gd name="connsiteX7" fmla="*/ 905724 w 7298904"/>
                  <a:gd name="connsiteY7" fmla="*/ 1981201 h 2430781"/>
                  <a:gd name="connsiteX8" fmla="*/ 989544 w 7298904"/>
                  <a:gd name="connsiteY8" fmla="*/ 1920241 h 2430781"/>
                  <a:gd name="connsiteX9" fmla="*/ 1028700 w 7298904"/>
                  <a:gd name="connsiteY9" fmla="*/ 1783081 h 2430781"/>
                  <a:gd name="connsiteX10" fmla="*/ 1111464 w 7298904"/>
                  <a:gd name="connsiteY10" fmla="*/ 1659228 h 2430781"/>
                  <a:gd name="connsiteX11" fmla="*/ 1203960 w 7298904"/>
                  <a:gd name="connsiteY11" fmla="*/ 1407805 h 2430781"/>
                  <a:gd name="connsiteX12" fmla="*/ 1274710 w 7298904"/>
                  <a:gd name="connsiteY12" fmla="*/ 1272542 h 2430781"/>
                  <a:gd name="connsiteX13" fmla="*/ 1405362 w 7298904"/>
                  <a:gd name="connsiteY13" fmla="*/ 1196341 h 2430781"/>
                  <a:gd name="connsiteX14" fmla="*/ 1460872 w 7298904"/>
                  <a:gd name="connsiteY14" fmla="*/ 1082041 h 2430781"/>
                  <a:gd name="connsiteX15" fmla="*/ 1524001 w 7298904"/>
                  <a:gd name="connsiteY15" fmla="*/ 1005816 h 2430781"/>
                  <a:gd name="connsiteX16" fmla="*/ 1606764 w 7298904"/>
                  <a:gd name="connsiteY16" fmla="*/ 1005841 h 2430781"/>
                  <a:gd name="connsiteX17" fmla="*/ 1652484 w 7298904"/>
                  <a:gd name="connsiteY17" fmla="*/ 1021081 h 2430781"/>
                  <a:gd name="connsiteX18" fmla="*/ 1713444 w 7298904"/>
                  <a:gd name="connsiteY18" fmla="*/ 944881 h 2430781"/>
                  <a:gd name="connsiteX19" fmla="*/ 1759164 w 7298904"/>
                  <a:gd name="connsiteY19" fmla="*/ 899161 h 2430781"/>
                  <a:gd name="connsiteX20" fmla="*/ 1903944 w 7298904"/>
                  <a:gd name="connsiteY20" fmla="*/ 914401 h 2430781"/>
                  <a:gd name="connsiteX21" fmla="*/ 2025864 w 7298904"/>
                  <a:gd name="connsiteY21" fmla="*/ 929641 h 2430781"/>
                  <a:gd name="connsiteX22" fmla="*/ 2155404 w 7298904"/>
                  <a:gd name="connsiteY22" fmla="*/ 975361 h 2430781"/>
                  <a:gd name="connsiteX23" fmla="*/ 2223984 w 7298904"/>
                  <a:gd name="connsiteY23" fmla="*/ 944881 h 2430781"/>
                  <a:gd name="connsiteX24" fmla="*/ 2399244 w 7298904"/>
                  <a:gd name="connsiteY24" fmla="*/ 942947 h 2430781"/>
                  <a:gd name="connsiteX25" fmla="*/ 2451472 w 7298904"/>
                  <a:gd name="connsiteY25" fmla="*/ 912468 h 2430781"/>
                  <a:gd name="connsiteX26" fmla="*/ 2488459 w 7298904"/>
                  <a:gd name="connsiteY26" fmla="*/ 830581 h 2430781"/>
                  <a:gd name="connsiteX27" fmla="*/ 2611492 w 7298904"/>
                  <a:gd name="connsiteY27" fmla="*/ 786755 h 2430781"/>
                  <a:gd name="connsiteX28" fmla="*/ 2674268 w 7298904"/>
                  <a:gd name="connsiteY28" fmla="*/ 716282 h 2430781"/>
                  <a:gd name="connsiteX29" fmla="*/ 2818344 w 7298904"/>
                  <a:gd name="connsiteY29" fmla="*/ 716281 h 2430781"/>
                  <a:gd name="connsiteX30" fmla="*/ 2932644 w 7298904"/>
                  <a:gd name="connsiteY30" fmla="*/ 723901 h 2430781"/>
                  <a:gd name="connsiteX31" fmla="*/ 3044367 w 7298904"/>
                  <a:gd name="connsiteY31" fmla="*/ 666706 h 2430781"/>
                  <a:gd name="connsiteX32" fmla="*/ 3108608 w 7298904"/>
                  <a:gd name="connsiteY32" fmla="*/ 613405 h 2430781"/>
                  <a:gd name="connsiteX33" fmla="*/ 3222204 w 7298904"/>
                  <a:gd name="connsiteY33" fmla="*/ 594361 h 2430781"/>
                  <a:gd name="connsiteX34" fmla="*/ 3298404 w 7298904"/>
                  <a:gd name="connsiteY34" fmla="*/ 521952 h 2430781"/>
                  <a:gd name="connsiteX35" fmla="*/ 3412705 w 7298904"/>
                  <a:gd name="connsiteY35" fmla="*/ 460992 h 2430781"/>
                  <a:gd name="connsiteX36" fmla="*/ 3481285 w 7298904"/>
                  <a:gd name="connsiteY36" fmla="*/ 403836 h 2430781"/>
                  <a:gd name="connsiteX37" fmla="*/ 3531342 w 7298904"/>
                  <a:gd name="connsiteY37" fmla="*/ 335281 h 2430781"/>
                  <a:gd name="connsiteX38" fmla="*/ 3587964 w 7298904"/>
                  <a:gd name="connsiteY38" fmla="*/ 312421 h 2430781"/>
                  <a:gd name="connsiteX39" fmla="*/ 3649277 w 7298904"/>
                  <a:gd name="connsiteY39" fmla="*/ 300972 h 2430781"/>
                  <a:gd name="connsiteX40" fmla="*/ 7298904 w 7298904"/>
                  <a:gd name="connsiteY40" fmla="*/ 1 h 2430781"/>
                  <a:gd name="connsiteX0" fmla="*/ 0 w 3649277"/>
                  <a:gd name="connsiteY0" fmla="*/ 2129809 h 2129809"/>
                  <a:gd name="connsiteX1" fmla="*/ 265644 w 3649277"/>
                  <a:gd name="connsiteY1" fmla="*/ 2122189 h 2129809"/>
                  <a:gd name="connsiteX2" fmla="*/ 326604 w 3649277"/>
                  <a:gd name="connsiteY2" fmla="*/ 2091709 h 2129809"/>
                  <a:gd name="connsiteX3" fmla="*/ 425664 w 3649277"/>
                  <a:gd name="connsiteY3" fmla="*/ 2084089 h 2129809"/>
                  <a:gd name="connsiteX4" fmla="*/ 570444 w 3649277"/>
                  <a:gd name="connsiteY4" fmla="*/ 2000269 h 2129809"/>
                  <a:gd name="connsiteX5" fmla="*/ 684744 w 3649277"/>
                  <a:gd name="connsiteY5" fmla="*/ 1870729 h 2129809"/>
                  <a:gd name="connsiteX6" fmla="*/ 776184 w 3649277"/>
                  <a:gd name="connsiteY6" fmla="*/ 1847869 h 2129809"/>
                  <a:gd name="connsiteX7" fmla="*/ 905724 w 3649277"/>
                  <a:gd name="connsiteY7" fmla="*/ 1680229 h 2129809"/>
                  <a:gd name="connsiteX8" fmla="*/ 989544 w 3649277"/>
                  <a:gd name="connsiteY8" fmla="*/ 1619269 h 2129809"/>
                  <a:gd name="connsiteX9" fmla="*/ 1028700 w 3649277"/>
                  <a:gd name="connsiteY9" fmla="*/ 1482109 h 2129809"/>
                  <a:gd name="connsiteX10" fmla="*/ 1111464 w 3649277"/>
                  <a:gd name="connsiteY10" fmla="*/ 1358256 h 2129809"/>
                  <a:gd name="connsiteX11" fmla="*/ 1203960 w 3649277"/>
                  <a:gd name="connsiteY11" fmla="*/ 1106833 h 2129809"/>
                  <a:gd name="connsiteX12" fmla="*/ 1274710 w 3649277"/>
                  <a:gd name="connsiteY12" fmla="*/ 971570 h 2129809"/>
                  <a:gd name="connsiteX13" fmla="*/ 1405362 w 3649277"/>
                  <a:gd name="connsiteY13" fmla="*/ 895369 h 2129809"/>
                  <a:gd name="connsiteX14" fmla="*/ 1460872 w 3649277"/>
                  <a:gd name="connsiteY14" fmla="*/ 781069 h 2129809"/>
                  <a:gd name="connsiteX15" fmla="*/ 1524001 w 3649277"/>
                  <a:gd name="connsiteY15" fmla="*/ 704844 h 2129809"/>
                  <a:gd name="connsiteX16" fmla="*/ 1606764 w 3649277"/>
                  <a:gd name="connsiteY16" fmla="*/ 704869 h 2129809"/>
                  <a:gd name="connsiteX17" fmla="*/ 1652484 w 3649277"/>
                  <a:gd name="connsiteY17" fmla="*/ 720109 h 2129809"/>
                  <a:gd name="connsiteX18" fmla="*/ 1713444 w 3649277"/>
                  <a:gd name="connsiteY18" fmla="*/ 643909 h 2129809"/>
                  <a:gd name="connsiteX19" fmla="*/ 1759164 w 3649277"/>
                  <a:gd name="connsiteY19" fmla="*/ 598189 h 2129809"/>
                  <a:gd name="connsiteX20" fmla="*/ 1903944 w 3649277"/>
                  <a:gd name="connsiteY20" fmla="*/ 613429 h 2129809"/>
                  <a:gd name="connsiteX21" fmla="*/ 2025864 w 3649277"/>
                  <a:gd name="connsiteY21" fmla="*/ 628669 h 2129809"/>
                  <a:gd name="connsiteX22" fmla="*/ 2155404 w 3649277"/>
                  <a:gd name="connsiteY22" fmla="*/ 674389 h 2129809"/>
                  <a:gd name="connsiteX23" fmla="*/ 2223984 w 3649277"/>
                  <a:gd name="connsiteY23" fmla="*/ 643909 h 2129809"/>
                  <a:gd name="connsiteX24" fmla="*/ 2399244 w 3649277"/>
                  <a:gd name="connsiteY24" fmla="*/ 641975 h 2129809"/>
                  <a:gd name="connsiteX25" fmla="*/ 2451472 w 3649277"/>
                  <a:gd name="connsiteY25" fmla="*/ 611496 h 2129809"/>
                  <a:gd name="connsiteX26" fmla="*/ 2488459 w 3649277"/>
                  <a:gd name="connsiteY26" fmla="*/ 529609 h 2129809"/>
                  <a:gd name="connsiteX27" fmla="*/ 2611492 w 3649277"/>
                  <a:gd name="connsiteY27" fmla="*/ 485783 h 2129809"/>
                  <a:gd name="connsiteX28" fmla="*/ 2674268 w 3649277"/>
                  <a:gd name="connsiteY28" fmla="*/ 415310 h 2129809"/>
                  <a:gd name="connsiteX29" fmla="*/ 2818344 w 3649277"/>
                  <a:gd name="connsiteY29" fmla="*/ 415309 h 2129809"/>
                  <a:gd name="connsiteX30" fmla="*/ 2932644 w 3649277"/>
                  <a:gd name="connsiteY30" fmla="*/ 422929 h 2129809"/>
                  <a:gd name="connsiteX31" fmla="*/ 3044367 w 3649277"/>
                  <a:gd name="connsiteY31" fmla="*/ 365734 h 2129809"/>
                  <a:gd name="connsiteX32" fmla="*/ 3108608 w 3649277"/>
                  <a:gd name="connsiteY32" fmla="*/ 312433 h 2129809"/>
                  <a:gd name="connsiteX33" fmla="*/ 3222204 w 3649277"/>
                  <a:gd name="connsiteY33" fmla="*/ 293389 h 2129809"/>
                  <a:gd name="connsiteX34" fmla="*/ 3298404 w 3649277"/>
                  <a:gd name="connsiteY34" fmla="*/ 220980 h 2129809"/>
                  <a:gd name="connsiteX35" fmla="*/ 3412705 w 3649277"/>
                  <a:gd name="connsiteY35" fmla="*/ 160020 h 2129809"/>
                  <a:gd name="connsiteX36" fmla="*/ 3481285 w 3649277"/>
                  <a:gd name="connsiteY36" fmla="*/ 102864 h 2129809"/>
                  <a:gd name="connsiteX37" fmla="*/ 3531342 w 3649277"/>
                  <a:gd name="connsiteY37" fmla="*/ 34309 h 2129809"/>
                  <a:gd name="connsiteX38" fmla="*/ 3587964 w 3649277"/>
                  <a:gd name="connsiteY38" fmla="*/ 11449 h 2129809"/>
                  <a:gd name="connsiteX39" fmla="*/ 3649277 w 3649277"/>
                  <a:gd name="connsiteY39" fmla="*/ 0 h 2129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3649277" h="2129809">
                    <a:moveTo>
                      <a:pt x="0" y="2129809"/>
                    </a:moveTo>
                    <a:lnTo>
                      <a:pt x="265644" y="2122189"/>
                    </a:lnTo>
                    <a:lnTo>
                      <a:pt x="326604" y="2091709"/>
                    </a:lnTo>
                    <a:lnTo>
                      <a:pt x="425664" y="2084089"/>
                    </a:lnTo>
                    <a:lnTo>
                      <a:pt x="570444" y="2000269"/>
                    </a:lnTo>
                    <a:lnTo>
                      <a:pt x="684744" y="1870729"/>
                    </a:lnTo>
                    <a:lnTo>
                      <a:pt x="776184" y="1847869"/>
                    </a:lnTo>
                    <a:lnTo>
                      <a:pt x="905724" y="1680229"/>
                    </a:lnTo>
                    <a:lnTo>
                      <a:pt x="989544" y="1619269"/>
                    </a:lnTo>
                    <a:lnTo>
                      <a:pt x="1028700" y="1482109"/>
                    </a:lnTo>
                    <a:lnTo>
                      <a:pt x="1111464" y="1358256"/>
                    </a:lnTo>
                    <a:lnTo>
                      <a:pt x="1203960" y="1106833"/>
                    </a:lnTo>
                    <a:lnTo>
                      <a:pt x="1274710" y="971570"/>
                    </a:lnTo>
                    <a:lnTo>
                      <a:pt x="1405362" y="895369"/>
                    </a:lnTo>
                    <a:lnTo>
                      <a:pt x="1460872" y="781069"/>
                    </a:lnTo>
                    <a:lnTo>
                      <a:pt x="1524001" y="704844"/>
                    </a:lnTo>
                    <a:lnTo>
                      <a:pt x="1606764" y="704869"/>
                    </a:lnTo>
                    <a:lnTo>
                      <a:pt x="1652484" y="720109"/>
                    </a:lnTo>
                    <a:lnTo>
                      <a:pt x="1713444" y="643909"/>
                    </a:lnTo>
                    <a:lnTo>
                      <a:pt x="1759164" y="598189"/>
                    </a:lnTo>
                    <a:lnTo>
                      <a:pt x="1903944" y="613429"/>
                    </a:lnTo>
                    <a:lnTo>
                      <a:pt x="2025864" y="628669"/>
                    </a:lnTo>
                    <a:lnTo>
                      <a:pt x="2155404" y="674389"/>
                    </a:lnTo>
                    <a:lnTo>
                      <a:pt x="2223984" y="643909"/>
                    </a:lnTo>
                    <a:lnTo>
                      <a:pt x="2399244" y="641975"/>
                    </a:lnTo>
                    <a:lnTo>
                      <a:pt x="2451472" y="611496"/>
                    </a:lnTo>
                    <a:lnTo>
                      <a:pt x="2488459" y="529609"/>
                    </a:lnTo>
                    <a:lnTo>
                      <a:pt x="2611492" y="485783"/>
                    </a:lnTo>
                    <a:lnTo>
                      <a:pt x="2674268" y="415310"/>
                    </a:lnTo>
                    <a:lnTo>
                      <a:pt x="2818344" y="415309"/>
                    </a:lnTo>
                    <a:lnTo>
                      <a:pt x="2932644" y="422929"/>
                    </a:lnTo>
                    <a:lnTo>
                      <a:pt x="3044367" y="365734"/>
                    </a:lnTo>
                    <a:lnTo>
                      <a:pt x="3108608" y="312433"/>
                    </a:lnTo>
                    <a:lnTo>
                      <a:pt x="3222204" y="293389"/>
                    </a:lnTo>
                    <a:lnTo>
                      <a:pt x="3298404" y="220980"/>
                    </a:lnTo>
                    <a:lnTo>
                      <a:pt x="3412705" y="160020"/>
                    </a:lnTo>
                    <a:lnTo>
                      <a:pt x="3481285" y="102864"/>
                    </a:lnTo>
                    <a:lnTo>
                      <a:pt x="3531342" y="34309"/>
                    </a:lnTo>
                    <a:lnTo>
                      <a:pt x="3587964" y="11449"/>
                    </a:lnTo>
                    <a:lnTo>
                      <a:pt x="3649277" y="0"/>
                    </a:lnTo>
                  </a:path>
                </a:pathLst>
              </a:custGeom>
              <a:ln w="285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CA" sz="1000" dirty="0">
                  <a:solidFill>
                    <a:srgbClr val="001965"/>
                  </a:solidFill>
                </a:endParaRPr>
              </a:p>
            </p:txBody>
          </p:sp>
          <p:sp>
            <p:nvSpPr>
              <p:cNvPr id="209" name="Rectangle 78"/>
              <p:cNvSpPr>
                <a:spLocks noChangeArrowheads="1"/>
              </p:cNvSpPr>
              <p:nvPr/>
            </p:nvSpPr>
            <p:spPr bwMode="auto">
              <a:xfrm>
                <a:off x="766437" y="4072740"/>
                <a:ext cx="54082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210" name="Rectangle 79"/>
              <p:cNvSpPr>
                <a:spLocks noChangeArrowheads="1"/>
              </p:cNvSpPr>
              <p:nvPr/>
            </p:nvSpPr>
            <p:spPr bwMode="auto">
              <a:xfrm>
                <a:off x="2338202" y="4072740"/>
                <a:ext cx="108164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30</a:t>
                </a:r>
              </a:p>
            </p:txBody>
          </p:sp>
          <p:sp>
            <p:nvSpPr>
              <p:cNvPr id="211" name="Rectangle 80"/>
              <p:cNvSpPr>
                <a:spLocks noChangeArrowheads="1"/>
              </p:cNvSpPr>
              <p:nvPr/>
            </p:nvSpPr>
            <p:spPr bwMode="auto">
              <a:xfrm>
                <a:off x="3946673" y="4072740"/>
                <a:ext cx="108164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60</a:t>
                </a:r>
              </a:p>
            </p:txBody>
          </p:sp>
          <p:sp>
            <p:nvSpPr>
              <p:cNvPr id="214" name="Rectangle 46"/>
              <p:cNvSpPr>
                <a:spLocks noChangeArrowheads="1"/>
              </p:cNvSpPr>
              <p:nvPr/>
            </p:nvSpPr>
            <p:spPr bwMode="auto">
              <a:xfrm rot="16200000">
                <a:off x="-983797" y="2700037"/>
                <a:ext cx="2399192" cy="1119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1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GIR (mg/kg/min)</a:t>
                </a:r>
              </a:p>
            </p:txBody>
          </p:sp>
          <p:sp>
            <p:nvSpPr>
              <p:cNvPr id="215" name="Rectangle 47"/>
              <p:cNvSpPr>
                <a:spLocks noChangeArrowheads="1"/>
              </p:cNvSpPr>
              <p:nvPr/>
            </p:nvSpPr>
            <p:spPr bwMode="auto">
              <a:xfrm>
                <a:off x="611039" y="3773063"/>
                <a:ext cx="54082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0</a:t>
                </a:r>
              </a:p>
            </p:txBody>
          </p:sp>
          <p:sp>
            <p:nvSpPr>
              <p:cNvPr id="216" name="Rectangle 48"/>
              <p:cNvSpPr>
                <a:spLocks noChangeArrowheads="1"/>
              </p:cNvSpPr>
              <p:nvPr/>
            </p:nvSpPr>
            <p:spPr bwMode="auto">
              <a:xfrm>
                <a:off x="611039" y="3177964"/>
                <a:ext cx="54082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2</a:t>
                </a:r>
              </a:p>
            </p:txBody>
          </p:sp>
          <p:sp>
            <p:nvSpPr>
              <p:cNvPr id="217" name="Rectangle 49"/>
              <p:cNvSpPr>
                <a:spLocks noChangeArrowheads="1"/>
              </p:cNvSpPr>
              <p:nvPr/>
            </p:nvSpPr>
            <p:spPr bwMode="auto">
              <a:xfrm>
                <a:off x="611039" y="2582865"/>
                <a:ext cx="54082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218" name="Rectangle 50"/>
              <p:cNvSpPr>
                <a:spLocks noChangeArrowheads="1"/>
              </p:cNvSpPr>
              <p:nvPr/>
            </p:nvSpPr>
            <p:spPr bwMode="auto">
              <a:xfrm>
                <a:off x="611039" y="1987767"/>
                <a:ext cx="54082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6</a:t>
                </a:r>
              </a:p>
            </p:txBody>
          </p:sp>
          <p:sp>
            <p:nvSpPr>
              <p:cNvPr id="219" name="Rectangle 51"/>
              <p:cNvSpPr>
                <a:spLocks noChangeArrowheads="1"/>
              </p:cNvSpPr>
              <p:nvPr/>
            </p:nvSpPr>
            <p:spPr bwMode="auto">
              <a:xfrm>
                <a:off x="611039" y="1408543"/>
                <a:ext cx="54082" cy="206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dirty="0">
                    <a:solidFill>
                      <a:srgbClr val="001965"/>
                    </a:solidFill>
                    <a:latin typeface="Verdana"/>
                    <a:cs typeface="Arial" pitchFamily="34" charset="0"/>
                  </a:rPr>
                  <a:t>8</a:t>
                </a:r>
              </a:p>
            </p:txBody>
          </p:sp>
          <p:grpSp>
            <p:nvGrpSpPr>
              <p:cNvPr id="220" name="Group 219"/>
              <p:cNvGrpSpPr/>
              <p:nvPr/>
            </p:nvGrpSpPr>
            <p:grpSpPr>
              <a:xfrm>
                <a:off x="684051" y="1548275"/>
                <a:ext cx="108303" cy="2380943"/>
                <a:chOff x="892536" y="1430457"/>
                <a:chExt cx="107867" cy="2870511"/>
              </a:xfrm>
            </p:grpSpPr>
            <p:sp>
              <p:nvSpPr>
                <p:cNvPr id="229" name="Line 632"/>
                <p:cNvSpPr>
                  <a:spLocks noChangeShapeType="1"/>
                </p:cNvSpPr>
                <p:nvPr/>
              </p:nvSpPr>
              <p:spPr bwMode="auto">
                <a:xfrm>
                  <a:off x="994052" y="4286630"/>
                  <a:ext cx="1588" cy="2050"/>
                </a:xfrm>
                <a:prstGeom prst="line">
                  <a:avLst/>
                </a:prstGeom>
                <a:noFill/>
                <a:ln w="2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000">
                    <a:solidFill>
                      <a:srgbClr val="001965"/>
                    </a:solidFill>
                    <a:latin typeface="Verdana"/>
                    <a:cs typeface="Arial" pitchFamily="34" charset="0"/>
                  </a:endParaRPr>
                </a:p>
              </p:txBody>
            </p:sp>
            <p:cxnSp>
              <p:nvCxnSpPr>
                <p:cNvPr id="230" name="Straight Connector 229"/>
                <p:cNvCxnSpPr/>
                <p:nvPr/>
              </p:nvCxnSpPr>
              <p:spPr>
                <a:xfrm rot="16200000" flipH="1">
                  <a:off x="-434854" y="2865711"/>
                  <a:ext cx="2870511" cy="3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" name="Straight Connector 230"/>
                <p:cNvCxnSpPr/>
                <p:nvPr/>
              </p:nvCxnSpPr>
              <p:spPr>
                <a:xfrm>
                  <a:off x="892536" y="4299058"/>
                  <a:ext cx="107866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2" name="Straight Connector 231"/>
                <p:cNvCxnSpPr/>
                <p:nvPr/>
              </p:nvCxnSpPr>
              <p:spPr>
                <a:xfrm>
                  <a:off x="892536" y="3583409"/>
                  <a:ext cx="107866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3" name="Straight Connector 232"/>
                <p:cNvCxnSpPr/>
                <p:nvPr/>
              </p:nvCxnSpPr>
              <p:spPr>
                <a:xfrm>
                  <a:off x="892536" y="2867760"/>
                  <a:ext cx="107866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4" name="Straight Connector 233"/>
                <p:cNvCxnSpPr/>
                <p:nvPr/>
              </p:nvCxnSpPr>
              <p:spPr>
                <a:xfrm>
                  <a:off x="892536" y="2148284"/>
                  <a:ext cx="107866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5" name="Straight Connector 234"/>
                <p:cNvCxnSpPr/>
                <p:nvPr/>
              </p:nvCxnSpPr>
              <p:spPr>
                <a:xfrm>
                  <a:off x="892536" y="1440292"/>
                  <a:ext cx="107866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1" name="Group 220"/>
              <p:cNvGrpSpPr/>
              <p:nvPr/>
            </p:nvGrpSpPr>
            <p:grpSpPr>
              <a:xfrm>
                <a:off x="785977" y="3929227"/>
                <a:ext cx="3215023" cy="690870"/>
                <a:chOff x="994052" y="4300973"/>
                <a:chExt cx="3202074" cy="832925"/>
              </a:xfrm>
            </p:grpSpPr>
            <p:sp>
              <p:nvSpPr>
                <p:cNvPr id="222" name="Rectangle 100"/>
                <p:cNvSpPr>
                  <a:spLocks noChangeArrowheads="1"/>
                </p:cNvSpPr>
                <p:nvPr/>
              </p:nvSpPr>
              <p:spPr bwMode="auto">
                <a:xfrm>
                  <a:off x="2362511" y="4859492"/>
                  <a:ext cx="521215" cy="27440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GB" sz="1100" dirty="0">
                      <a:solidFill>
                        <a:srgbClr val="001965"/>
                      </a:solidFill>
                      <a:latin typeface="Verdana"/>
                      <a:cs typeface="Arial" pitchFamily="34" charset="0"/>
                    </a:rPr>
                    <a:t>Time (min)</a:t>
                  </a:r>
                </a:p>
              </p:txBody>
            </p:sp>
            <p:cxnSp>
              <p:nvCxnSpPr>
                <p:cNvPr id="223" name="Straight Connector 222"/>
                <p:cNvCxnSpPr/>
                <p:nvPr/>
              </p:nvCxnSpPr>
              <p:spPr>
                <a:xfrm rot="16200000" flipH="1">
                  <a:off x="939545" y="4367727"/>
                  <a:ext cx="130207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" name="Straight Connector 223"/>
                <p:cNvCxnSpPr/>
                <p:nvPr/>
              </p:nvCxnSpPr>
              <p:spPr>
                <a:xfrm rot="16200000" flipH="1">
                  <a:off x="4127596" y="4367727"/>
                  <a:ext cx="130207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7" name="Straight Connector 226"/>
                <p:cNvCxnSpPr/>
                <p:nvPr/>
              </p:nvCxnSpPr>
              <p:spPr>
                <a:xfrm>
                  <a:off x="994052" y="4300973"/>
                  <a:ext cx="3202074" cy="0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227"/>
                <p:cNvCxnSpPr/>
                <p:nvPr/>
              </p:nvCxnSpPr>
              <p:spPr>
                <a:xfrm rot="16200000" flipH="1">
                  <a:off x="2535151" y="4367727"/>
                  <a:ext cx="130207" cy="1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272" name="Straight Connector 271"/>
            <p:cNvCxnSpPr/>
            <p:nvPr/>
          </p:nvCxnSpPr>
          <p:spPr>
            <a:xfrm flipH="1">
              <a:off x="6556059" y="3985855"/>
              <a:ext cx="0" cy="648000"/>
            </a:xfrm>
            <a:prstGeom prst="line">
              <a:avLst/>
            </a:prstGeom>
            <a:ln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TextBox 88"/>
          <p:cNvSpPr txBox="1"/>
          <p:nvPr/>
        </p:nvSpPr>
        <p:spPr>
          <a:xfrm>
            <a:off x="304801" y="5818319"/>
            <a:ext cx="8522401" cy="175946"/>
          </a:xfrm>
          <a:prstGeom prst="rect">
            <a:avLst/>
          </a:prstGeom>
          <a:noFill/>
        </p:spPr>
        <p:txBody>
          <a:bodyPr wrap="square" lIns="90170" tIns="46482" rIns="90170" bIns="46482" rtlCol="0" anchor="b" anchorCtr="0">
            <a:spAutoFit/>
          </a:bodyPr>
          <a:lstStyle/>
          <a:p>
            <a:r>
              <a:rPr lang="pt-BR" sz="800" kern="0" dirty="0">
                <a:solidFill>
                  <a:srgbClr val="82786F"/>
                </a:solidFill>
              </a:rPr>
              <a:t>Heise </a:t>
            </a:r>
            <a:r>
              <a:rPr lang="pt-BR" sz="800" i="1" kern="0" dirty="0">
                <a:solidFill>
                  <a:srgbClr val="82786F"/>
                </a:solidFill>
              </a:rPr>
              <a:t>et al. </a:t>
            </a:r>
            <a:r>
              <a:rPr lang="en-US" sz="800" i="1" kern="0" dirty="0" err="1">
                <a:solidFill>
                  <a:srgbClr val="82786F"/>
                </a:solidFill>
              </a:rPr>
              <a:t>Clin</a:t>
            </a:r>
            <a:r>
              <a:rPr lang="en-US" sz="800" i="1" kern="0" dirty="0">
                <a:solidFill>
                  <a:srgbClr val="82786F"/>
                </a:solidFill>
              </a:rPr>
              <a:t> </a:t>
            </a:r>
            <a:r>
              <a:rPr lang="en-US" sz="800" i="1" kern="0" dirty="0" err="1">
                <a:solidFill>
                  <a:srgbClr val="82786F"/>
                </a:solidFill>
              </a:rPr>
              <a:t>Pharmacokinet</a:t>
            </a:r>
            <a:r>
              <a:rPr lang="en-US" sz="800" i="1" kern="0" dirty="0">
                <a:solidFill>
                  <a:srgbClr val="82786F"/>
                </a:solidFill>
              </a:rPr>
              <a:t> </a:t>
            </a:r>
            <a:r>
              <a:rPr lang="en-US" sz="800" kern="0" dirty="0">
                <a:solidFill>
                  <a:srgbClr val="82786F"/>
                </a:solidFill>
              </a:rPr>
              <a:t>2017;56:551</a:t>
            </a:r>
            <a:r>
              <a:rPr lang="en-US" sz="800" kern="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en-US" sz="800" kern="0" dirty="0">
                <a:solidFill>
                  <a:srgbClr val="82786F"/>
                </a:solidFill>
              </a:rPr>
              <a:t>9</a:t>
            </a:r>
            <a:endParaRPr lang="en-GB" sz="800" kern="0" dirty="0">
              <a:solidFill>
                <a:srgbClr val="82786F"/>
              </a:solidFill>
            </a:endParaRPr>
          </a:p>
        </p:txBody>
      </p:sp>
      <p:grpSp>
        <p:nvGrpSpPr>
          <p:cNvPr id="90" name="Group 326"/>
          <p:cNvGrpSpPr>
            <a:grpSpLocks noChangeAspect="1"/>
          </p:cNvGrpSpPr>
          <p:nvPr/>
        </p:nvGrpSpPr>
        <p:grpSpPr bwMode="auto">
          <a:xfrm>
            <a:off x="8691652" y="931118"/>
            <a:ext cx="373784" cy="373785"/>
            <a:chOff x="1052513" y="0"/>
            <a:chExt cx="5143500" cy="5143500"/>
          </a:xfrm>
          <a:solidFill>
            <a:srgbClr val="C2DEEA"/>
          </a:solidFill>
        </p:grpSpPr>
        <p:sp>
          <p:nvSpPr>
            <p:cNvPr id="91" name="Freeform 5"/>
            <p:cNvSpPr>
              <a:spLocks/>
            </p:cNvSpPr>
            <p:nvPr/>
          </p:nvSpPr>
          <p:spPr bwMode="auto">
            <a:xfrm>
              <a:off x="1052513" y="0"/>
              <a:ext cx="5143500" cy="5143500"/>
            </a:xfrm>
            <a:custGeom>
              <a:avLst/>
              <a:gdLst>
                <a:gd name="T0" fmla="*/ 2147483647 w 3302"/>
                <a:gd name="T1" fmla="*/ 2147483647 h 3302"/>
                <a:gd name="T2" fmla="*/ 2147483647 w 3302"/>
                <a:gd name="T3" fmla="*/ 2147483647 h 3302"/>
                <a:gd name="T4" fmla="*/ 2147483647 w 3302"/>
                <a:gd name="T5" fmla="*/ 2147483647 h 3302"/>
                <a:gd name="T6" fmla="*/ 2147483647 w 3302"/>
                <a:gd name="T7" fmla="*/ 2147483647 h 3302"/>
                <a:gd name="T8" fmla="*/ 2147483647 w 3302"/>
                <a:gd name="T9" fmla="*/ 2147483647 h 3302"/>
                <a:gd name="T10" fmla="*/ 2147483647 w 3302"/>
                <a:gd name="T11" fmla="*/ 2147483647 h 3302"/>
                <a:gd name="T12" fmla="*/ 2147483647 w 3302"/>
                <a:gd name="T13" fmla="*/ 2147483647 h 3302"/>
                <a:gd name="T14" fmla="*/ 2147483647 w 3302"/>
                <a:gd name="T15" fmla="*/ 2147483647 h 3302"/>
                <a:gd name="T16" fmla="*/ 2147483647 w 3302"/>
                <a:gd name="T17" fmla="*/ 2147483647 h 3302"/>
                <a:gd name="T18" fmla="*/ 2147483647 w 3302"/>
                <a:gd name="T19" fmla="*/ 2147483647 h 3302"/>
                <a:gd name="T20" fmla="*/ 2147483647 w 3302"/>
                <a:gd name="T21" fmla="*/ 2147483647 h 3302"/>
                <a:gd name="T22" fmla="*/ 2147483647 w 3302"/>
                <a:gd name="T23" fmla="*/ 2147483647 h 3302"/>
                <a:gd name="T24" fmla="*/ 2147483647 w 3302"/>
                <a:gd name="T25" fmla="*/ 2147483647 h 3302"/>
                <a:gd name="T26" fmla="*/ 2147483647 w 3302"/>
                <a:gd name="T27" fmla="*/ 2147483647 h 3302"/>
                <a:gd name="T28" fmla="*/ 2147483647 w 3302"/>
                <a:gd name="T29" fmla="*/ 2147483647 h 3302"/>
                <a:gd name="T30" fmla="*/ 2147483647 w 3302"/>
                <a:gd name="T31" fmla="*/ 2147483647 h 3302"/>
                <a:gd name="T32" fmla="*/ 2147483647 w 3302"/>
                <a:gd name="T33" fmla="*/ 2147483647 h 3302"/>
                <a:gd name="T34" fmla="*/ 0 w 3302"/>
                <a:gd name="T35" fmla="*/ 2147483647 h 3302"/>
                <a:gd name="T36" fmla="*/ 0 w 3302"/>
                <a:gd name="T37" fmla="*/ 2147483647 h 3302"/>
                <a:gd name="T38" fmla="*/ 2147483647 w 3302"/>
                <a:gd name="T39" fmla="*/ 2147483647 h 3302"/>
                <a:gd name="T40" fmla="*/ 2147483647 w 3302"/>
                <a:gd name="T41" fmla="*/ 2147483647 h 3302"/>
                <a:gd name="T42" fmla="*/ 2147483647 w 3302"/>
                <a:gd name="T43" fmla="*/ 2147483647 h 3302"/>
                <a:gd name="T44" fmla="*/ 2147483647 w 3302"/>
                <a:gd name="T45" fmla="*/ 2147483647 h 3302"/>
                <a:gd name="T46" fmla="*/ 2147483647 w 3302"/>
                <a:gd name="T47" fmla="*/ 2147483647 h 3302"/>
                <a:gd name="T48" fmla="*/ 2147483647 w 3302"/>
                <a:gd name="T49" fmla="*/ 2147483647 h 3302"/>
                <a:gd name="T50" fmla="*/ 2147483647 w 3302"/>
                <a:gd name="T51" fmla="*/ 2147483647 h 3302"/>
                <a:gd name="T52" fmla="*/ 2147483647 w 3302"/>
                <a:gd name="T53" fmla="*/ 0 h 3302"/>
                <a:gd name="T54" fmla="*/ 2147483647 w 3302"/>
                <a:gd name="T55" fmla="*/ 0 h 3302"/>
                <a:gd name="T56" fmla="*/ 2147483647 w 3302"/>
                <a:gd name="T57" fmla="*/ 2147483647 h 3302"/>
                <a:gd name="T58" fmla="*/ 2147483647 w 3302"/>
                <a:gd name="T59" fmla="*/ 2147483647 h 3302"/>
                <a:gd name="T60" fmla="*/ 2147483647 w 3302"/>
                <a:gd name="T61" fmla="*/ 2147483647 h 3302"/>
                <a:gd name="T62" fmla="*/ 2147483647 w 3302"/>
                <a:gd name="T63" fmla="*/ 2147483647 h 3302"/>
                <a:gd name="T64" fmla="*/ 2147483647 w 3302"/>
                <a:gd name="T65" fmla="*/ 2147483647 h 3302"/>
                <a:gd name="T66" fmla="*/ 2147483647 w 3302"/>
                <a:gd name="T67" fmla="*/ 2147483647 h 3302"/>
                <a:gd name="T68" fmla="*/ 2147483647 w 3302"/>
                <a:gd name="T69" fmla="*/ 2147483647 h 3302"/>
                <a:gd name="T70" fmla="*/ 2147483647 w 3302"/>
                <a:gd name="T71" fmla="*/ 2147483647 h 33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302" h="3302">
                  <a:moveTo>
                    <a:pt x="3302" y="3045"/>
                  </a:moveTo>
                  <a:lnTo>
                    <a:pt x="3302" y="3045"/>
                  </a:lnTo>
                  <a:lnTo>
                    <a:pt x="3300" y="3072"/>
                  </a:lnTo>
                  <a:lnTo>
                    <a:pt x="3297" y="3097"/>
                  </a:lnTo>
                  <a:lnTo>
                    <a:pt x="3291" y="3122"/>
                  </a:lnTo>
                  <a:lnTo>
                    <a:pt x="3282" y="3145"/>
                  </a:lnTo>
                  <a:lnTo>
                    <a:pt x="3271" y="3167"/>
                  </a:lnTo>
                  <a:lnTo>
                    <a:pt x="3258" y="3189"/>
                  </a:lnTo>
                  <a:lnTo>
                    <a:pt x="3242" y="3208"/>
                  </a:lnTo>
                  <a:lnTo>
                    <a:pt x="3227" y="3227"/>
                  </a:lnTo>
                  <a:lnTo>
                    <a:pt x="3208" y="3242"/>
                  </a:lnTo>
                  <a:lnTo>
                    <a:pt x="3189" y="3258"/>
                  </a:lnTo>
                  <a:lnTo>
                    <a:pt x="3167" y="3271"/>
                  </a:lnTo>
                  <a:lnTo>
                    <a:pt x="3145" y="3282"/>
                  </a:lnTo>
                  <a:lnTo>
                    <a:pt x="3122" y="3289"/>
                  </a:lnTo>
                  <a:lnTo>
                    <a:pt x="3097" y="3296"/>
                  </a:lnTo>
                  <a:lnTo>
                    <a:pt x="3072" y="3300"/>
                  </a:lnTo>
                  <a:lnTo>
                    <a:pt x="3045" y="3302"/>
                  </a:lnTo>
                  <a:lnTo>
                    <a:pt x="257" y="3302"/>
                  </a:lnTo>
                  <a:lnTo>
                    <a:pt x="232" y="3300"/>
                  </a:lnTo>
                  <a:lnTo>
                    <a:pt x="205" y="3296"/>
                  </a:lnTo>
                  <a:lnTo>
                    <a:pt x="182" y="3289"/>
                  </a:lnTo>
                  <a:lnTo>
                    <a:pt x="158" y="3282"/>
                  </a:lnTo>
                  <a:lnTo>
                    <a:pt x="135" y="3271"/>
                  </a:lnTo>
                  <a:lnTo>
                    <a:pt x="114" y="3258"/>
                  </a:lnTo>
                  <a:lnTo>
                    <a:pt x="94" y="3242"/>
                  </a:lnTo>
                  <a:lnTo>
                    <a:pt x="75" y="3227"/>
                  </a:lnTo>
                  <a:lnTo>
                    <a:pt x="60" y="3208"/>
                  </a:lnTo>
                  <a:lnTo>
                    <a:pt x="44" y="3189"/>
                  </a:lnTo>
                  <a:lnTo>
                    <a:pt x="31" y="3167"/>
                  </a:lnTo>
                  <a:lnTo>
                    <a:pt x="20" y="3145"/>
                  </a:lnTo>
                  <a:lnTo>
                    <a:pt x="13" y="3122"/>
                  </a:lnTo>
                  <a:lnTo>
                    <a:pt x="6" y="3097"/>
                  </a:lnTo>
                  <a:lnTo>
                    <a:pt x="2" y="3072"/>
                  </a:lnTo>
                  <a:lnTo>
                    <a:pt x="0" y="3045"/>
                  </a:lnTo>
                  <a:lnTo>
                    <a:pt x="0" y="257"/>
                  </a:lnTo>
                  <a:lnTo>
                    <a:pt x="2" y="230"/>
                  </a:lnTo>
                  <a:lnTo>
                    <a:pt x="6" y="205"/>
                  </a:lnTo>
                  <a:lnTo>
                    <a:pt x="13" y="180"/>
                  </a:lnTo>
                  <a:lnTo>
                    <a:pt x="20" y="157"/>
                  </a:lnTo>
                  <a:lnTo>
                    <a:pt x="31" y="135"/>
                  </a:lnTo>
                  <a:lnTo>
                    <a:pt x="44" y="114"/>
                  </a:lnTo>
                  <a:lnTo>
                    <a:pt x="60" y="94"/>
                  </a:lnTo>
                  <a:lnTo>
                    <a:pt x="75" y="75"/>
                  </a:lnTo>
                  <a:lnTo>
                    <a:pt x="94" y="60"/>
                  </a:lnTo>
                  <a:lnTo>
                    <a:pt x="114" y="44"/>
                  </a:lnTo>
                  <a:lnTo>
                    <a:pt x="135" y="31"/>
                  </a:lnTo>
                  <a:lnTo>
                    <a:pt x="158" y="20"/>
                  </a:lnTo>
                  <a:lnTo>
                    <a:pt x="182" y="13"/>
                  </a:lnTo>
                  <a:lnTo>
                    <a:pt x="205" y="6"/>
                  </a:lnTo>
                  <a:lnTo>
                    <a:pt x="232" y="2"/>
                  </a:lnTo>
                  <a:lnTo>
                    <a:pt x="257" y="0"/>
                  </a:lnTo>
                  <a:lnTo>
                    <a:pt x="3045" y="0"/>
                  </a:lnTo>
                  <a:lnTo>
                    <a:pt x="3072" y="2"/>
                  </a:lnTo>
                  <a:lnTo>
                    <a:pt x="3097" y="6"/>
                  </a:lnTo>
                  <a:lnTo>
                    <a:pt x="3122" y="13"/>
                  </a:lnTo>
                  <a:lnTo>
                    <a:pt x="3145" y="20"/>
                  </a:lnTo>
                  <a:lnTo>
                    <a:pt x="3167" y="31"/>
                  </a:lnTo>
                  <a:lnTo>
                    <a:pt x="3189" y="44"/>
                  </a:lnTo>
                  <a:lnTo>
                    <a:pt x="3208" y="60"/>
                  </a:lnTo>
                  <a:lnTo>
                    <a:pt x="3227" y="75"/>
                  </a:lnTo>
                  <a:lnTo>
                    <a:pt x="3242" y="94"/>
                  </a:lnTo>
                  <a:lnTo>
                    <a:pt x="3258" y="114"/>
                  </a:lnTo>
                  <a:lnTo>
                    <a:pt x="3271" y="135"/>
                  </a:lnTo>
                  <a:lnTo>
                    <a:pt x="3282" y="157"/>
                  </a:lnTo>
                  <a:lnTo>
                    <a:pt x="3291" y="180"/>
                  </a:lnTo>
                  <a:lnTo>
                    <a:pt x="3297" y="205"/>
                  </a:lnTo>
                  <a:lnTo>
                    <a:pt x="3300" y="230"/>
                  </a:lnTo>
                  <a:lnTo>
                    <a:pt x="3302" y="257"/>
                  </a:lnTo>
                  <a:lnTo>
                    <a:pt x="3302" y="3045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328"/>
            <p:cNvSpPr>
              <a:spLocks noEditPoints="1"/>
            </p:cNvSpPr>
            <p:nvPr/>
          </p:nvSpPr>
          <p:spPr bwMode="auto">
            <a:xfrm>
              <a:off x="2543175" y="428625"/>
              <a:ext cx="2028825" cy="4286250"/>
            </a:xfrm>
            <a:custGeom>
              <a:avLst/>
              <a:gdLst>
                <a:gd name="T0" fmla="*/ 2147483647 w 1278"/>
                <a:gd name="T1" fmla="*/ 0 h 2700"/>
                <a:gd name="T2" fmla="*/ 2147483647 w 1278"/>
                <a:gd name="T3" fmla="*/ 2147483647 h 2700"/>
                <a:gd name="T4" fmla="*/ 2147483647 w 1278"/>
                <a:gd name="T5" fmla="*/ 2147483647 h 2700"/>
                <a:gd name="T6" fmla="*/ 2147483647 w 1278"/>
                <a:gd name="T7" fmla="*/ 2147483647 h 2700"/>
                <a:gd name="T8" fmla="*/ 2147483647 w 1278"/>
                <a:gd name="T9" fmla="*/ 2147483647 h 2700"/>
                <a:gd name="T10" fmla="*/ 2147483647 w 1278"/>
                <a:gd name="T11" fmla="*/ 2147483647 h 2700"/>
                <a:gd name="T12" fmla="*/ 2147483647 w 1278"/>
                <a:gd name="T13" fmla="*/ 2147483647 h 2700"/>
                <a:gd name="T14" fmla="*/ 2147483647 w 1278"/>
                <a:gd name="T15" fmla="*/ 2147483647 h 2700"/>
                <a:gd name="T16" fmla="*/ 2147483647 w 1278"/>
                <a:gd name="T17" fmla="*/ 2147483647 h 2700"/>
                <a:gd name="T18" fmla="*/ 2147483647 w 1278"/>
                <a:gd name="T19" fmla="*/ 2147483647 h 2700"/>
                <a:gd name="T20" fmla="*/ 2147483647 w 1278"/>
                <a:gd name="T21" fmla="*/ 2147483647 h 2700"/>
                <a:gd name="T22" fmla="*/ 2147483647 w 1278"/>
                <a:gd name="T23" fmla="*/ 2147483647 h 2700"/>
                <a:gd name="T24" fmla="*/ 2147483647 w 1278"/>
                <a:gd name="T25" fmla="*/ 2147483647 h 2700"/>
                <a:gd name="T26" fmla="*/ 2147483647 w 1278"/>
                <a:gd name="T27" fmla="*/ 2147483647 h 2700"/>
                <a:gd name="T28" fmla="*/ 2147483647 w 1278"/>
                <a:gd name="T29" fmla="*/ 2147483647 h 2700"/>
                <a:gd name="T30" fmla="*/ 2147483647 w 1278"/>
                <a:gd name="T31" fmla="*/ 2147483647 h 2700"/>
                <a:gd name="T32" fmla="*/ 2147483647 w 1278"/>
                <a:gd name="T33" fmla="*/ 2147483647 h 2700"/>
                <a:gd name="T34" fmla="*/ 2147483647 w 1278"/>
                <a:gd name="T35" fmla="*/ 2147483647 h 2700"/>
                <a:gd name="T36" fmla="*/ 2147483647 w 1278"/>
                <a:gd name="T37" fmla="*/ 2147483647 h 2700"/>
                <a:gd name="T38" fmla="*/ 2147483647 w 1278"/>
                <a:gd name="T39" fmla="*/ 2147483647 h 2700"/>
                <a:gd name="T40" fmla="*/ 2147483647 w 1278"/>
                <a:gd name="T41" fmla="*/ 2147483647 h 2700"/>
                <a:gd name="T42" fmla="*/ 2147483647 w 1278"/>
                <a:gd name="T43" fmla="*/ 2147483647 h 2700"/>
                <a:gd name="T44" fmla="*/ 2147483647 w 1278"/>
                <a:gd name="T45" fmla="*/ 2147483647 h 2700"/>
                <a:gd name="T46" fmla="*/ 2147483647 w 1278"/>
                <a:gd name="T47" fmla="*/ 2147483647 h 2700"/>
                <a:gd name="T48" fmla="*/ 2147483647 w 1278"/>
                <a:gd name="T49" fmla="*/ 2147483647 h 2700"/>
                <a:gd name="T50" fmla="*/ 2147483647 w 1278"/>
                <a:gd name="T51" fmla="*/ 2147483647 h 2700"/>
                <a:gd name="T52" fmla="*/ 2147483647 w 1278"/>
                <a:gd name="T53" fmla="*/ 2147483647 h 2700"/>
                <a:gd name="T54" fmla="*/ 2147483647 w 1278"/>
                <a:gd name="T55" fmla="*/ 2147483647 h 2700"/>
                <a:gd name="T56" fmla="*/ 2147483647 w 1278"/>
                <a:gd name="T57" fmla="*/ 2147483647 h 2700"/>
                <a:gd name="T58" fmla="*/ 2147483647 w 1278"/>
                <a:gd name="T59" fmla="*/ 2147483647 h 2700"/>
                <a:gd name="T60" fmla="*/ 2147483647 w 1278"/>
                <a:gd name="T61" fmla="*/ 2147483647 h 2700"/>
                <a:gd name="T62" fmla="*/ 2147483647 w 1278"/>
                <a:gd name="T63" fmla="*/ 2147483647 h 2700"/>
                <a:gd name="T64" fmla="*/ 2147483647 w 1278"/>
                <a:gd name="T65" fmla="*/ 2147483647 h 2700"/>
                <a:gd name="T66" fmla="*/ 2147483647 w 1278"/>
                <a:gd name="T67" fmla="*/ 2147483647 h 2700"/>
                <a:gd name="T68" fmla="*/ 2147483647 w 1278"/>
                <a:gd name="T69" fmla="*/ 2147483647 h 2700"/>
                <a:gd name="T70" fmla="*/ 2147483647 w 1278"/>
                <a:gd name="T71" fmla="*/ 2147483647 h 2700"/>
                <a:gd name="T72" fmla="*/ 2147483647 w 1278"/>
                <a:gd name="T73" fmla="*/ 2147483647 h 2700"/>
                <a:gd name="T74" fmla="*/ 2147483647 w 1278"/>
                <a:gd name="T75" fmla="*/ 2147483647 h 2700"/>
                <a:gd name="T76" fmla="*/ 2147483647 w 1278"/>
                <a:gd name="T77" fmla="*/ 2147483647 h 2700"/>
                <a:gd name="T78" fmla="*/ 2147483647 w 1278"/>
                <a:gd name="T79" fmla="*/ 0 h 2700"/>
                <a:gd name="T80" fmla="*/ 2147483647 w 1278"/>
                <a:gd name="T81" fmla="*/ 2147483647 h 2700"/>
                <a:gd name="T82" fmla="*/ 2147483647 w 1278"/>
                <a:gd name="T83" fmla="*/ 2147483647 h 2700"/>
                <a:gd name="T84" fmla="*/ 2147483647 w 1278"/>
                <a:gd name="T85" fmla="*/ 2147483647 h 2700"/>
                <a:gd name="T86" fmla="*/ 2147483647 w 1278"/>
                <a:gd name="T87" fmla="*/ 2147483647 h 2700"/>
                <a:gd name="T88" fmla="*/ 2147483647 w 1278"/>
                <a:gd name="T89" fmla="*/ 2147483647 h 2700"/>
                <a:gd name="T90" fmla="*/ 2147483647 w 1278"/>
                <a:gd name="T91" fmla="*/ 2147483647 h 2700"/>
                <a:gd name="T92" fmla="*/ 2147483647 w 1278"/>
                <a:gd name="T93" fmla="*/ 2147483647 h 2700"/>
                <a:gd name="T94" fmla="*/ 2147483647 w 1278"/>
                <a:gd name="T95" fmla="*/ 2147483647 h 2700"/>
                <a:gd name="T96" fmla="*/ 2147483647 w 1278"/>
                <a:gd name="T97" fmla="*/ 2147483647 h 2700"/>
                <a:gd name="T98" fmla="*/ 2147483647 w 1278"/>
                <a:gd name="T99" fmla="*/ 2147483647 h 2700"/>
                <a:gd name="T100" fmla="*/ 2147483647 w 1278"/>
                <a:gd name="T101" fmla="*/ 2147483647 h 2700"/>
                <a:gd name="T102" fmla="*/ 2147483647 w 1278"/>
                <a:gd name="T103" fmla="*/ 2147483647 h 2700"/>
                <a:gd name="T104" fmla="*/ 2147483647 w 1278"/>
                <a:gd name="T105" fmla="*/ 2147483647 h 2700"/>
                <a:gd name="T106" fmla="*/ 2147483647 w 1278"/>
                <a:gd name="T107" fmla="*/ 2147483647 h 2700"/>
                <a:gd name="T108" fmla="*/ 2147483647 w 1278"/>
                <a:gd name="T109" fmla="*/ 2147483647 h 2700"/>
                <a:gd name="T110" fmla="*/ 2147483647 w 1278"/>
                <a:gd name="T111" fmla="*/ 2147483647 h 2700"/>
                <a:gd name="T112" fmla="*/ 2147483647 w 1278"/>
                <a:gd name="T113" fmla="*/ 2147483647 h 2700"/>
                <a:gd name="T114" fmla="*/ 2147483647 w 1278"/>
                <a:gd name="T115" fmla="*/ 2147483647 h 2700"/>
                <a:gd name="T116" fmla="*/ 2147483647 w 1278"/>
                <a:gd name="T117" fmla="*/ 2147483647 h 2700"/>
                <a:gd name="T118" fmla="*/ 2147483647 w 1278"/>
                <a:gd name="T119" fmla="*/ 2147483647 h 2700"/>
                <a:gd name="T120" fmla="*/ 2147483647 w 1278"/>
                <a:gd name="T121" fmla="*/ 2147483647 h 2700"/>
                <a:gd name="T122" fmla="*/ 2147483647 w 1278"/>
                <a:gd name="T123" fmla="*/ 2147483647 h 2700"/>
                <a:gd name="T124" fmla="*/ 2147483647 w 1278"/>
                <a:gd name="T125" fmla="*/ 2147483647 h 27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278" h="2700">
                  <a:moveTo>
                    <a:pt x="638" y="0"/>
                  </a:moveTo>
                  <a:lnTo>
                    <a:pt x="638" y="0"/>
                  </a:lnTo>
                  <a:lnTo>
                    <a:pt x="606" y="0"/>
                  </a:lnTo>
                  <a:lnTo>
                    <a:pt x="574" y="2"/>
                  </a:lnTo>
                  <a:lnTo>
                    <a:pt x="542" y="6"/>
                  </a:lnTo>
                  <a:lnTo>
                    <a:pt x="510" y="12"/>
                  </a:lnTo>
                  <a:lnTo>
                    <a:pt x="480" y="20"/>
                  </a:lnTo>
                  <a:lnTo>
                    <a:pt x="450" y="28"/>
                  </a:lnTo>
                  <a:lnTo>
                    <a:pt x="420" y="38"/>
                  </a:lnTo>
                  <a:lnTo>
                    <a:pt x="390" y="50"/>
                  </a:lnTo>
                  <a:lnTo>
                    <a:pt x="362" y="62"/>
                  </a:lnTo>
                  <a:lnTo>
                    <a:pt x="334" y="76"/>
                  </a:lnTo>
                  <a:lnTo>
                    <a:pt x="308" y="92"/>
                  </a:lnTo>
                  <a:lnTo>
                    <a:pt x="282" y="108"/>
                  </a:lnTo>
                  <a:lnTo>
                    <a:pt x="256" y="126"/>
                  </a:lnTo>
                  <a:lnTo>
                    <a:pt x="232" y="144"/>
                  </a:lnTo>
                  <a:lnTo>
                    <a:pt x="210" y="164"/>
                  </a:lnTo>
                  <a:lnTo>
                    <a:pt x="188" y="184"/>
                  </a:lnTo>
                  <a:lnTo>
                    <a:pt x="166" y="206"/>
                  </a:lnTo>
                  <a:lnTo>
                    <a:pt x="146" y="230"/>
                  </a:lnTo>
                  <a:lnTo>
                    <a:pt x="128" y="254"/>
                  </a:lnTo>
                  <a:lnTo>
                    <a:pt x="110" y="278"/>
                  </a:lnTo>
                  <a:lnTo>
                    <a:pt x="92" y="304"/>
                  </a:lnTo>
                  <a:lnTo>
                    <a:pt x="78" y="330"/>
                  </a:lnTo>
                  <a:lnTo>
                    <a:pt x="64" y="358"/>
                  </a:lnTo>
                  <a:lnTo>
                    <a:pt x="50" y="386"/>
                  </a:lnTo>
                  <a:lnTo>
                    <a:pt x="40" y="414"/>
                  </a:lnTo>
                  <a:lnTo>
                    <a:pt x="30" y="444"/>
                  </a:lnTo>
                  <a:lnTo>
                    <a:pt x="20" y="474"/>
                  </a:lnTo>
                  <a:lnTo>
                    <a:pt x="14" y="504"/>
                  </a:lnTo>
                  <a:lnTo>
                    <a:pt x="8" y="536"/>
                  </a:lnTo>
                  <a:lnTo>
                    <a:pt x="4" y="568"/>
                  </a:lnTo>
                  <a:lnTo>
                    <a:pt x="2" y="600"/>
                  </a:lnTo>
                  <a:lnTo>
                    <a:pt x="0" y="632"/>
                  </a:lnTo>
                  <a:lnTo>
                    <a:pt x="2" y="676"/>
                  </a:lnTo>
                  <a:lnTo>
                    <a:pt x="6" y="718"/>
                  </a:lnTo>
                  <a:lnTo>
                    <a:pt x="14" y="760"/>
                  </a:lnTo>
                  <a:lnTo>
                    <a:pt x="24" y="800"/>
                  </a:lnTo>
                  <a:lnTo>
                    <a:pt x="36" y="840"/>
                  </a:lnTo>
                  <a:lnTo>
                    <a:pt x="52" y="880"/>
                  </a:lnTo>
                  <a:lnTo>
                    <a:pt x="70" y="916"/>
                  </a:lnTo>
                  <a:lnTo>
                    <a:pt x="90" y="952"/>
                  </a:lnTo>
                  <a:lnTo>
                    <a:pt x="112" y="986"/>
                  </a:lnTo>
                  <a:lnTo>
                    <a:pt x="136" y="1020"/>
                  </a:lnTo>
                  <a:lnTo>
                    <a:pt x="162" y="1050"/>
                  </a:lnTo>
                  <a:lnTo>
                    <a:pt x="190" y="1080"/>
                  </a:lnTo>
                  <a:lnTo>
                    <a:pt x="222" y="1108"/>
                  </a:lnTo>
                  <a:lnTo>
                    <a:pt x="254" y="1134"/>
                  </a:lnTo>
                  <a:lnTo>
                    <a:pt x="286" y="1158"/>
                  </a:lnTo>
                  <a:lnTo>
                    <a:pt x="322" y="1180"/>
                  </a:lnTo>
                  <a:lnTo>
                    <a:pt x="322" y="1434"/>
                  </a:lnTo>
                  <a:lnTo>
                    <a:pt x="524" y="1638"/>
                  </a:lnTo>
                  <a:lnTo>
                    <a:pt x="368" y="1792"/>
                  </a:lnTo>
                  <a:lnTo>
                    <a:pt x="518" y="1942"/>
                  </a:lnTo>
                  <a:lnTo>
                    <a:pt x="364" y="2096"/>
                  </a:lnTo>
                  <a:lnTo>
                    <a:pt x="520" y="2252"/>
                  </a:lnTo>
                  <a:lnTo>
                    <a:pt x="364" y="2406"/>
                  </a:lnTo>
                  <a:lnTo>
                    <a:pt x="630" y="2670"/>
                  </a:lnTo>
                  <a:lnTo>
                    <a:pt x="644" y="2684"/>
                  </a:lnTo>
                  <a:lnTo>
                    <a:pt x="658" y="2692"/>
                  </a:lnTo>
                  <a:lnTo>
                    <a:pt x="670" y="2698"/>
                  </a:lnTo>
                  <a:lnTo>
                    <a:pt x="684" y="2700"/>
                  </a:lnTo>
                  <a:lnTo>
                    <a:pt x="696" y="2698"/>
                  </a:lnTo>
                  <a:lnTo>
                    <a:pt x="708" y="2692"/>
                  </a:lnTo>
                  <a:lnTo>
                    <a:pt x="722" y="2684"/>
                  </a:lnTo>
                  <a:lnTo>
                    <a:pt x="738" y="2670"/>
                  </a:lnTo>
                  <a:lnTo>
                    <a:pt x="956" y="2454"/>
                  </a:lnTo>
                  <a:lnTo>
                    <a:pt x="956" y="1180"/>
                  </a:lnTo>
                  <a:lnTo>
                    <a:pt x="992" y="1158"/>
                  </a:lnTo>
                  <a:lnTo>
                    <a:pt x="1026" y="1134"/>
                  </a:lnTo>
                  <a:lnTo>
                    <a:pt x="1058" y="1108"/>
                  </a:lnTo>
                  <a:lnTo>
                    <a:pt x="1088" y="1080"/>
                  </a:lnTo>
                  <a:lnTo>
                    <a:pt x="1116" y="1052"/>
                  </a:lnTo>
                  <a:lnTo>
                    <a:pt x="1142" y="1020"/>
                  </a:lnTo>
                  <a:lnTo>
                    <a:pt x="1166" y="988"/>
                  </a:lnTo>
                  <a:lnTo>
                    <a:pt x="1188" y="952"/>
                  </a:lnTo>
                  <a:lnTo>
                    <a:pt x="1208" y="916"/>
                  </a:lnTo>
                  <a:lnTo>
                    <a:pt x="1226" y="880"/>
                  </a:lnTo>
                  <a:lnTo>
                    <a:pt x="1242" y="840"/>
                  </a:lnTo>
                  <a:lnTo>
                    <a:pt x="1254" y="802"/>
                  </a:lnTo>
                  <a:lnTo>
                    <a:pt x="1264" y="760"/>
                  </a:lnTo>
                  <a:lnTo>
                    <a:pt x="1272" y="718"/>
                  </a:lnTo>
                  <a:lnTo>
                    <a:pt x="1276" y="676"/>
                  </a:lnTo>
                  <a:lnTo>
                    <a:pt x="1278" y="632"/>
                  </a:lnTo>
                  <a:lnTo>
                    <a:pt x="1276" y="600"/>
                  </a:lnTo>
                  <a:lnTo>
                    <a:pt x="1274" y="568"/>
                  </a:lnTo>
                  <a:lnTo>
                    <a:pt x="1270" y="536"/>
                  </a:lnTo>
                  <a:lnTo>
                    <a:pt x="1264" y="504"/>
                  </a:lnTo>
                  <a:lnTo>
                    <a:pt x="1258" y="474"/>
                  </a:lnTo>
                  <a:lnTo>
                    <a:pt x="1248" y="444"/>
                  </a:lnTo>
                  <a:lnTo>
                    <a:pt x="1238" y="414"/>
                  </a:lnTo>
                  <a:lnTo>
                    <a:pt x="1228" y="386"/>
                  </a:lnTo>
                  <a:lnTo>
                    <a:pt x="1214" y="358"/>
                  </a:lnTo>
                  <a:lnTo>
                    <a:pt x="1200" y="330"/>
                  </a:lnTo>
                  <a:lnTo>
                    <a:pt x="1186" y="304"/>
                  </a:lnTo>
                  <a:lnTo>
                    <a:pt x="1168" y="278"/>
                  </a:lnTo>
                  <a:lnTo>
                    <a:pt x="1150" y="254"/>
                  </a:lnTo>
                  <a:lnTo>
                    <a:pt x="1132" y="230"/>
                  </a:lnTo>
                  <a:lnTo>
                    <a:pt x="1112" y="206"/>
                  </a:lnTo>
                  <a:lnTo>
                    <a:pt x="1090" y="184"/>
                  </a:lnTo>
                  <a:lnTo>
                    <a:pt x="1068" y="164"/>
                  </a:lnTo>
                  <a:lnTo>
                    <a:pt x="1046" y="144"/>
                  </a:lnTo>
                  <a:lnTo>
                    <a:pt x="1022" y="126"/>
                  </a:lnTo>
                  <a:lnTo>
                    <a:pt x="996" y="108"/>
                  </a:lnTo>
                  <a:lnTo>
                    <a:pt x="970" y="92"/>
                  </a:lnTo>
                  <a:lnTo>
                    <a:pt x="944" y="76"/>
                  </a:lnTo>
                  <a:lnTo>
                    <a:pt x="916" y="62"/>
                  </a:lnTo>
                  <a:lnTo>
                    <a:pt x="888" y="50"/>
                  </a:lnTo>
                  <a:lnTo>
                    <a:pt x="858" y="38"/>
                  </a:lnTo>
                  <a:lnTo>
                    <a:pt x="828" y="28"/>
                  </a:lnTo>
                  <a:lnTo>
                    <a:pt x="798" y="20"/>
                  </a:lnTo>
                  <a:lnTo>
                    <a:pt x="768" y="12"/>
                  </a:lnTo>
                  <a:lnTo>
                    <a:pt x="736" y="6"/>
                  </a:lnTo>
                  <a:lnTo>
                    <a:pt x="704" y="2"/>
                  </a:lnTo>
                  <a:lnTo>
                    <a:pt x="672" y="0"/>
                  </a:lnTo>
                  <a:lnTo>
                    <a:pt x="638" y="0"/>
                  </a:lnTo>
                  <a:close/>
                  <a:moveTo>
                    <a:pt x="642" y="522"/>
                  </a:moveTo>
                  <a:lnTo>
                    <a:pt x="642" y="522"/>
                  </a:lnTo>
                  <a:lnTo>
                    <a:pt x="624" y="520"/>
                  </a:lnTo>
                  <a:lnTo>
                    <a:pt x="608" y="518"/>
                  </a:lnTo>
                  <a:lnTo>
                    <a:pt x="592" y="514"/>
                  </a:lnTo>
                  <a:lnTo>
                    <a:pt x="576" y="508"/>
                  </a:lnTo>
                  <a:lnTo>
                    <a:pt x="562" y="502"/>
                  </a:lnTo>
                  <a:lnTo>
                    <a:pt x="548" y="494"/>
                  </a:lnTo>
                  <a:lnTo>
                    <a:pt x="534" y="484"/>
                  </a:lnTo>
                  <a:lnTo>
                    <a:pt x="522" y="472"/>
                  </a:lnTo>
                  <a:lnTo>
                    <a:pt x="512" y="460"/>
                  </a:lnTo>
                  <a:lnTo>
                    <a:pt x="502" y="448"/>
                  </a:lnTo>
                  <a:lnTo>
                    <a:pt x="494" y="434"/>
                  </a:lnTo>
                  <a:lnTo>
                    <a:pt x="486" y="420"/>
                  </a:lnTo>
                  <a:lnTo>
                    <a:pt x="480" y="404"/>
                  </a:lnTo>
                  <a:lnTo>
                    <a:pt x="476" y="388"/>
                  </a:lnTo>
                  <a:lnTo>
                    <a:pt x="474" y="372"/>
                  </a:lnTo>
                  <a:lnTo>
                    <a:pt x="472" y="354"/>
                  </a:lnTo>
                  <a:lnTo>
                    <a:pt x="474" y="336"/>
                  </a:lnTo>
                  <a:lnTo>
                    <a:pt x="476" y="320"/>
                  </a:lnTo>
                  <a:lnTo>
                    <a:pt x="480" y="304"/>
                  </a:lnTo>
                  <a:lnTo>
                    <a:pt x="486" y="288"/>
                  </a:lnTo>
                  <a:lnTo>
                    <a:pt x="494" y="274"/>
                  </a:lnTo>
                  <a:lnTo>
                    <a:pt x="502" y="260"/>
                  </a:lnTo>
                  <a:lnTo>
                    <a:pt x="512" y="248"/>
                  </a:lnTo>
                  <a:lnTo>
                    <a:pt x="522" y="236"/>
                  </a:lnTo>
                  <a:lnTo>
                    <a:pt x="534" y="224"/>
                  </a:lnTo>
                  <a:lnTo>
                    <a:pt x="548" y="214"/>
                  </a:lnTo>
                  <a:lnTo>
                    <a:pt x="562" y="206"/>
                  </a:lnTo>
                  <a:lnTo>
                    <a:pt x="576" y="200"/>
                  </a:lnTo>
                  <a:lnTo>
                    <a:pt x="592" y="194"/>
                  </a:lnTo>
                  <a:lnTo>
                    <a:pt x="608" y="190"/>
                  </a:lnTo>
                  <a:lnTo>
                    <a:pt x="624" y="188"/>
                  </a:lnTo>
                  <a:lnTo>
                    <a:pt x="642" y="186"/>
                  </a:lnTo>
                  <a:lnTo>
                    <a:pt x="660" y="188"/>
                  </a:lnTo>
                  <a:lnTo>
                    <a:pt x="676" y="190"/>
                  </a:lnTo>
                  <a:lnTo>
                    <a:pt x="692" y="194"/>
                  </a:lnTo>
                  <a:lnTo>
                    <a:pt x="708" y="200"/>
                  </a:lnTo>
                  <a:lnTo>
                    <a:pt x="722" y="206"/>
                  </a:lnTo>
                  <a:lnTo>
                    <a:pt x="736" y="214"/>
                  </a:lnTo>
                  <a:lnTo>
                    <a:pt x="750" y="224"/>
                  </a:lnTo>
                  <a:lnTo>
                    <a:pt x="762" y="236"/>
                  </a:lnTo>
                  <a:lnTo>
                    <a:pt x="772" y="248"/>
                  </a:lnTo>
                  <a:lnTo>
                    <a:pt x="782" y="260"/>
                  </a:lnTo>
                  <a:lnTo>
                    <a:pt x="792" y="274"/>
                  </a:lnTo>
                  <a:lnTo>
                    <a:pt x="798" y="288"/>
                  </a:lnTo>
                  <a:lnTo>
                    <a:pt x="804" y="304"/>
                  </a:lnTo>
                  <a:lnTo>
                    <a:pt x="808" y="320"/>
                  </a:lnTo>
                  <a:lnTo>
                    <a:pt x="810" y="336"/>
                  </a:lnTo>
                  <a:lnTo>
                    <a:pt x="812" y="354"/>
                  </a:lnTo>
                  <a:lnTo>
                    <a:pt x="810" y="372"/>
                  </a:lnTo>
                  <a:lnTo>
                    <a:pt x="808" y="388"/>
                  </a:lnTo>
                  <a:lnTo>
                    <a:pt x="804" y="404"/>
                  </a:lnTo>
                  <a:lnTo>
                    <a:pt x="798" y="420"/>
                  </a:lnTo>
                  <a:lnTo>
                    <a:pt x="792" y="434"/>
                  </a:lnTo>
                  <a:lnTo>
                    <a:pt x="782" y="448"/>
                  </a:lnTo>
                  <a:lnTo>
                    <a:pt x="772" y="460"/>
                  </a:lnTo>
                  <a:lnTo>
                    <a:pt x="762" y="472"/>
                  </a:lnTo>
                  <a:lnTo>
                    <a:pt x="750" y="484"/>
                  </a:lnTo>
                  <a:lnTo>
                    <a:pt x="736" y="494"/>
                  </a:lnTo>
                  <a:lnTo>
                    <a:pt x="722" y="502"/>
                  </a:lnTo>
                  <a:lnTo>
                    <a:pt x="708" y="508"/>
                  </a:lnTo>
                  <a:lnTo>
                    <a:pt x="692" y="514"/>
                  </a:lnTo>
                  <a:lnTo>
                    <a:pt x="676" y="518"/>
                  </a:lnTo>
                  <a:lnTo>
                    <a:pt x="660" y="520"/>
                  </a:lnTo>
                  <a:lnTo>
                    <a:pt x="642" y="522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74341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4" grpId="0" animBg="1"/>
      <p:bldP spid="25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r>
              <a:rPr lang="nl-BE" altLang="nl-BE" sz="2800" dirty="0">
                <a:ea typeface="Geneva"/>
                <a:cs typeface="Geneva"/>
              </a:rPr>
              <a:t>Wat nog te verwachten? </a:t>
            </a:r>
          </a:p>
        </p:txBody>
      </p:sp>
      <p:sp>
        <p:nvSpPr>
          <p:cNvPr id="112643" name="Tijdelijke aanduiding voor inhoud 2"/>
          <p:cNvSpPr>
            <a:spLocks noGrp="1"/>
          </p:cNvSpPr>
          <p:nvPr>
            <p:ph idx="1"/>
          </p:nvPr>
        </p:nvSpPr>
        <p:spPr>
          <a:xfrm>
            <a:off x="720725" y="1439863"/>
            <a:ext cx="8229600" cy="4151312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 err="1">
                <a:ea typeface="Geneva"/>
                <a:cs typeface="Geneva"/>
              </a:rPr>
              <a:t>Ultralangwerkende</a:t>
            </a:r>
            <a:r>
              <a:rPr lang="nl-BE" altLang="nl-BE" dirty="0">
                <a:ea typeface="Geneva"/>
                <a:cs typeface="Geneva"/>
              </a:rPr>
              <a:t> insuline-analoog</a:t>
            </a:r>
          </a:p>
          <a:p>
            <a:pPr>
              <a:buFont typeface="Wingdings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degludec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(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Tresiba</a:t>
            </a:r>
            <a:r>
              <a:rPr lang="nl-BE" altLang="nl-BE" sz="1600" i="1" baseline="30000" dirty="0">
                <a:ea typeface="Geneva"/>
                <a:cs typeface="Geneva"/>
                <a:sym typeface="Wingdings" panose="05000000000000000000" pitchFamily="2" charset="2"/>
              </a:rPr>
              <a:t>®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)</a:t>
            </a:r>
          </a:p>
          <a:p>
            <a:pPr marL="0" indent="0">
              <a:buNone/>
              <a:defRPr/>
            </a:pPr>
            <a:endParaRPr lang="nl-BE" altLang="nl-BE" sz="1600" i="1" dirty="0">
              <a:ea typeface="Geneva"/>
              <a:cs typeface="Geneva"/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Combinatie van langwerkende insuline + GLP-1 analoog</a:t>
            </a:r>
          </a:p>
          <a:p>
            <a:pPr marL="0" indent="0">
              <a:buNone/>
              <a:defRPr/>
            </a:pPr>
            <a:endParaRPr lang="nl-BE" altLang="nl-BE" dirty="0">
              <a:ea typeface="Geneva"/>
              <a:cs typeface="Geneva"/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nl-BE" altLang="nl-BE" dirty="0">
                <a:ea typeface="Geneva"/>
                <a:cs typeface="Geneva"/>
                <a:sym typeface="Wingdings" panose="05000000000000000000" pitchFamily="2" charset="2"/>
              </a:rPr>
              <a:t>Combinatie SGLT-2 inhibitor + DDP-4 inhibitor</a:t>
            </a:r>
          </a:p>
          <a:p>
            <a:pPr>
              <a:buFont typeface="Wingdings" panose="05000000000000000000" pitchFamily="2" charset="2"/>
              <a:buChar char="à"/>
              <a:defRPr/>
            </a:pP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saxagliptine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+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dapagliflozine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(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Qtern</a:t>
            </a:r>
            <a:r>
              <a:rPr lang="nl-BE" altLang="nl-BE" sz="1600" i="1" baseline="30000" dirty="0">
                <a:ea typeface="Geneva"/>
                <a:cs typeface="Geneva"/>
                <a:sym typeface="Wingdings" panose="05000000000000000000" pitchFamily="2" charset="2"/>
              </a:rPr>
              <a:t> ®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)</a:t>
            </a:r>
          </a:p>
          <a:p>
            <a:pPr>
              <a:buFont typeface="Wingdings" panose="05000000000000000000" pitchFamily="2" charset="2"/>
              <a:buChar char="à"/>
              <a:defRPr/>
            </a:pP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losse associatie van DDP-4 inhibitor en </a:t>
            </a:r>
            <a:r>
              <a:rPr lang="nl-BE" altLang="nl-BE" sz="1600" i="1" dirty="0" err="1">
                <a:ea typeface="Geneva"/>
                <a:cs typeface="Geneva"/>
                <a:sym typeface="Wingdings" panose="05000000000000000000" pitchFamily="2" charset="2"/>
              </a:rPr>
              <a:t>Forxiga</a:t>
            </a:r>
            <a:r>
              <a:rPr lang="nl-BE" altLang="nl-BE" sz="1600" i="1" dirty="0">
                <a:ea typeface="Geneva"/>
                <a:cs typeface="Geneva"/>
                <a:sym typeface="Wingdings" panose="05000000000000000000" pitchFamily="2" charset="2"/>
              </a:rPr>
              <a:t> reeds mogelijk</a:t>
            </a:r>
          </a:p>
          <a:p>
            <a:pPr marL="0" indent="0">
              <a:buFontTx/>
              <a:buNone/>
              <a:defRPr/>
            </a:pPr>
            <a:endParaRPr lang="nl-BE" altLang="nl-BE" sz="1600" i="1" baseline="30000" dirty="0">
              <a:ea typeface="Geneva"/>
              <a:cs typeface="Geneva"/>
            </a:endParaRPr>
          </a:p>
        </p:txBody>
      </p:sp>
      <p:sp>
        <p:nvSpPr>
          <p:cNvPr id="155652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3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3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3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3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3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12B5B2E-80C2-4FE5-AD65-148D596599D8}" type="slidenum">
              <a:rPr lang="nl-NL" altLang="nl-BE" sz="1000" smtClean="0">
                <a:solidFill>
                  <a:schemeClr val="tx1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1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989340"/>
      </p:ext>
    </p:extLst>
  </p:cSld>
  <p:clrMapOvr>
    <a:masterClrMapping/>
  </p:clrMapOvr>
  <p:transition>
    <p:fade/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Nieuw: </a:t>
            </a:r>
            <a:r>
              <a:rPr lang="nl-BE" sz="2800" dirty="0" err="1"/>
              <a:t>Xultophy</a:t>
            </a:r>
            <a:r>
              <a:rPr lang="nl-BE" sz="2800" baseline="30000" dirty="0"/>
              <a:t>®</a:t>
            </a:r>
            <a:endParaRPr lang="nl-BE" sz="2800" dirty="0"/>
          </a:p>
        </p:txBody>
      </p:sp>
      <p:pic>
        <p:nvPicPr>
          <p:cNvPr id="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48698" y="1243380"/>
            <a:ext cx="7694565" cy="4151312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6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97723976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2"/>
          <p:cNvSpPr>
            <a:spLocks noGrp="1"/>
          </p:cNvSpPr>
          <p:nvPr>
            <p:ph type="title"/>
          </p:nvPr>
        </p:nvSpPr>
        <p:spPr>
          <a:xfrm>
            <a:off x="316800" y="1131571"/>
            <a:ext cx="8510400" cy="391412"/>
          </a:xfrm>
        </p:spPr>
        <p:txBody>
          <a:bodyPr/>
          <a:lstStyle/>
          <a:p>
            <a:r>
              <a:rPr lang="en-GB" dirty="0"/>
              <a:t>Intensification with combination injectable therapy for type 2 diabet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6800" y="5658285"/>
            <a:ext cx="8522400" cy="173037"/>
          </a:xfrm>
        </p:spPr>
        <p:txBody>
          <a:bodyPr/>
          <a:lstStyle/>
          <a:p>
            <a:r>
              <a:rPr lang="en-GB" altLang="en-US" dirty="0"/>
              <a:t>GLP-1 RA, glucagon-like peptide-1 receptor agonist </a:t>
            </a:r>
            <a:br>
              <a:rPr lang="en-GB" altLang="en-US" dirty="0"/>
            </a:br>
            <a:r>
              <a:rPr lang="en-US" dirty="0">
                <a:cs typeface="Arial" pitchFamily="34" charset="0"/>
              </a:rPr>
              <a:t>American Diabetes Association, </a:t>
            </a:r>
            <a:r>
              <a:rPr lang="en-US" i="1" dirty="0">
                <a:cs typeface="Arial" pitchFamily="34" charset="0"/>
              </a:rPr>
              <a:t>Diabetes Care </a:t>
            </a:r>
            <a:r>
              <a:rPr lang="en-US" dirty="0">
                <a:cs typeface="Arial" pitchFamily="34" charset="0"/>
              </a:rPr>
              <a:t>2018 Jan; 41(Supplement 1): S73-S85. </a:t>
            </a:r>
            <a:endParaRPr lang="en-GB" dirty="0">
              <a:ea typeface="Verdana"/>
              <a:cs typeface="Verdana"/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4507811" y="2534080"/>
            <a:ext cx="0" cy="140066"/>
          </a:xfrm>
          <a:prstGeom prst="straightConnector1">
            <a:avLst/>
          </a:prstGeom>
          <a:ln w="19050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2055708" y="2696554"/>
            <a:ext cx="4905375" cy="373172"/>
          </a:xfrm>
          <a:prstGeom prst="roundRect">
            <a:avLst>
              <a:gd name="adj" fmla="val 24011"/>
            </a:avLst>
          </a:prstGeom>
          <a:solidFill>
            <a:srgbClr val="FFFFFF"/>
          </a:solidFill>
          <a:ln w="19050">
            <a:solidFill>
              <a:srgbClr val="001965"/>
            </a:solidFill>
          </a:ln>
        </p:spPr>
        <p:txBody>
          <a:bodyPr wrap="square" lIns="91426" tIns="91428" rIns="91426" bIns="91428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900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If HbA</a:t>
            </a:r>
            <a:r>
              <a:rPr lang="en-GB" sz="90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1c</a:t>
            </a:r>
            <a:r>
              <a:rPr lang="en-GB" sz="900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 not controlled, </a:t>
            </a:r>
            <a:r>
              <a:rPr lang="en-GB" sz="900" b="1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consider combination injectable therapy</a:t>
            </a:r>
          </a:p>
        </p:txBody>
      </p:sp>
      <p:cxnSp>
        <p:nvCxnSpPr>
          <p:cNvPr id="54" name="Straight Arrow Connector 53"/>
          <p:cNvCxnSpPr/>
          <p:nvPr/>
        </p:nvCxnSpPr>
        <p:spPr>
          <a:xfrm>
            <a:off x="4507811" y="3092964"/>
            <a:ext cx="0" cy="292608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558543" y="2041788"/>
            <a:ext cx="6023148" cy="446542"/>
          </a:xfrm>
          <a:prstGeom prst="roundRect">
            <a:avLst>
              <a:gd name="adj" fmla="val 19087"/>
            </a:avLst>
          </a:prstGeom>
          <a:solidFill>
            <a:srgbClr val="001965"/>
          </a:solidFill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en-GB" sz="10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Initiate basal Insulin</a:t>
            </a:r>
          </a:p>
          <a:p>
            <a:pPr algn="ctr"/>
            <a:r>
              <a:rPr lang="en-GB" sz="10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Usually with metformin +/- other noninsulin agen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73455" y="3533823"/>
            <a:ext cx="2743200" cy="553881"/>
          </a:xfrm>
          <a:prstGeom prst="roundRect">
            <a:avLst>
              <a:gd name="adj" fmla="val 19087"/>
            </a:avLst>
          </a:prstGeom>
          <a:solidFill>
            <a:srgbClr val="001965"/>
          </a:solidFill>
        </p:spPr>
        <p:txBody>
          <a:bodyPr wrap="square" lIns="91428" tIns="91428" rIns="91426" bIns="91428" rtlCol="0" anchor="ctr">
            <a:spAutoFit/>
          </a:bodyPr>
          <a:lstStyle/>
          <a:p>
            <a:pPr algn="ctr"/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Add 1 </a:t>
            </a:r>
            <a:r>
              <a:rPr lang="en-GB" sz="11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rapid-acting insulin</a:t>
            </a:r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 injection before largest meal</a:t>
            </a:r>
          </a:p>
        </p:txBody>
      </p:sp>
      <p:cxnSp>
        <p:nvCxnSpPr>
          <p:cNvPr id="51" name="Straight Connector 50"/>
          <p:cNvCxnSpPr/>
          <p:nvPr/>
        </p:nvCxnSpPr>
        <p:spPr>
          <a:xfrm>
            <a:off x="1562311" y="3170245"/>
            <a:ext cx="6019382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6212799" y="3533823"/>
            <a:ext cx="2743200" cy="553881"/>
          </a:xfrm>
          <a:prstGeom prst="roundRect">
            <a:avLst>
              <a:gd name="adj" fmla="val 19087"/>
            </a:avLst>
          </a:prstGeom>
          <a:solidFill>
            <a:srgbClr val="001965"/>
          </a:solidFill>
        </p:spPr>
        <p:txBody>
          <a:bodyPr wrap="square" lIns="91428" tIns="91428" rIns="91426" bIns="91428" rtlCol="0" anchor="ctr">
            <a:spAutoFit/>
          </a:bodyPr>
          <a:lstStyle/>
          <a:p>
            <a:pPr algn="ctr"/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Change to </a:t>
            </a:r>
            <a:r>
              <a:rPr lang="en-GB" sz="11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premixed insulin</a:t>
            </a:r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 twice daily (before breakfast and supper)</a:t>
            </a: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562309" y="3170245"/>
            <a:ext cx="0" cy="277166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/>
          <p:nvPr/>
        </p:nvCxnSpPr>
        <p:spPr>
          <a:xfrm>
            <a:off x="7581691" y="3170245"/>
            <a:ext cx="0" cy="277166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6211825" y="4886656"/>
            <a:ext cx="2743200" cy="609704"/>
          </a:xfrm>
          <a:prstGeom prst="roundRect">
            <a:avLst>
              <a:gd name="adj" fmla="val 19087"/>
            </a:avLst>
          </a:prstGeom>
          <a:solidFill>
            <a:srgbClr val="001965"/>
          </a:solidFill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Change to </a:t>
            </a:r>
            <a:r>
              <a:rPr lang="en-GB" sz="11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premixed insulin</a:t>
            </a:r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 </a:t>
            </a:r>
          </a:p>
          <a:p>
            <a:pPr algn="ctr"/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3 times daily (breakfast, lunch, supper)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77799" y="4914567"/>
            <a:ext cx="2761488" cy="553881"/>
          </a:xfrm>
          <a:prstGeom prst="roundRect">
            <a:avLst>
              <a:gd name="adj" fmla="val 19087"/>
            </a:avLst>
          </a:prstGeom>
          <a:solidFill>
            <a:srgbClr val="001965"/>
          </a:solidFill>
        </p:spPr>
        <p:txBody>
          <a:bodyPr wrap="square" lIns="91428" tIns="91428" rIns="91426" bIns="91428" rtlCol="0" anchor="ctr">
            <a:spAutoFit/>
          </a:bodyPr>
          <a:lstStyle/>
          <a:p>
            <a:pPr algn="ctr"/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Add ≥ 2 </a:t>
            </a:r>
            <a:r>
              <a:rPr lang="en-GB" sz="11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rapid-acting insulin</a:t>
            </a:r>
            <a:r>
              <a:rPr lang="en-GB" sz="9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 injection before meals (‘basal-bolus’)</a:t>
            </a: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1562176" y="4175763"/>
            <a:ext cx="0" cy="182901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/>
          <p:cNvCxnSpPr/>
          <p:nvPr/>
        </p:nvCxnSpPr>
        <p:spPr>
          <a:xfrm>
            <a:off x="7581558" y="4175763"/>
            <a:ext cx="0" cy="182901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85305" y="4376167"/>
            <a:ext cx="2224144" cy="399824"/>
          </a:xfrm>
          <a:prstGeom prst="roundRect">
            <a:avLst>
              <a:gd name="adj" fmla="val 24011"/>
            </a:avLst>
          </a:prstGeom>
          <a:solidFill>
            <a:srgbClr val="FFFFFF"/>
          </a:solidFill>
          <a:ln w="19050">
            <a:solidFill>
              <a:srgbClr val="001965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800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If HbA</a:t>
            </a:r>
            <a:r>
              <a:rPr lang="en-GB" sz="80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1c</a:t>
            </a:r>
            <a:r>
              <a:rPr lang="en-GB" sz="800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 is not controlled, </a:t>
            </a:r>
            <a:r>
              <a:rPr lang="en-GB" sz="800" b="1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advance to basal bolu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514623" y="4376167"/>
            <a:ext cx="2224144" cy="399824"/>
          </a:xfrm>
          <a:prstGeom prst="roundRect">
            <a:avLst>
              <a:gd name="adj" fmla="val 24011"/>
            </a:avLst>
          </a:prstGeom>
          <a:solidFill>
            <a:srgbClr val="FFFFFF"/>
          </a:solidFill>
          <a:ln w="19050">
            <a:solidFill>
              <a:srgbClr val="001965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800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If HbA</a:t>
            </a:r>
            <a:r>
              <a:rPr lang="en-GB" sz="80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1c</a:t>
            </a:r>
            <a:r>
              <a:rPr lang="en-GB" sz="800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 is not controlled, </a:t>
            </a:r>
            <a:r>
              <a:rPr lang="en-GB" sz="800" b="1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advance to 3</a:t>
            </a:r>
            <a:r>
              <a:rPr lang="en-GB" sz="800" b="1" baseline="3000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rd</a:t>
            </a:r>
            <a:r>
              <a:rPr lang="en-GB" sz="800" b="1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 injection</a:t>
            </a:r>
          </a:p>
        </p:txBody>
      </p:sp>
      <p:sp>
        <p:nvSpPr>
          <p:cNvPr id="70" name="Right Brace 69"/>
          <p:cNvSpPr/>
          <p:nvPr/>
        </p:nvSpPr>
        <p:spPr>
          <a:xfrm flipH="1">
            <a:off x="3095713" y="3412837"/>
            <a:ext cx="207182" cy="777240"/>
          </a:xfrm>
          <a:prstGeom prst="rightBrace">
            <a:avLst>
              <a:gd name="adj1" fmla="val 45112"/>
              <a:gd name="adj2" fmla="val 50000"/>
            </a:avLst>
          </a:prstGeom>
          <a:noFill/>
          <a:ln w="12700" cap="sq">
            <a:solidFill>
              <a:srgbClr val="82786F">
                <a:alpha val="7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70" tIns="34289" rIns="68570" bIns="3428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aseline="0" dirty="0">
              <a:solidFill>
                <a:srgbClr val="001965"/>
              </a:solidFill>
              <a:latin typeface="Verdana"/>
              <a:ea typeface="+mn-ea"/>
              <a:cs typeface="Arial" charset="0"/>
            </a:endParaRPr>
          </a:p>
        </p:txBody>
      </p:sp>
      <p:sp>
        <p:nvSpPr>
          <p:cNvPr id="71" name="Right Brace 70"/>
          <p:cNvSpPr/>
          <p:nvPr/>
        </p:nvSpPr>
        <p:spPr>
          <a:xfrm>
            <a:off x="5832844" y="3412837"/>
            <a:ext cx="207182" cy="777240"/>
          </a:xfrm>
          <a:prstGeom prst="rightBrace">
            <a:avLst>
              <a:gd name="adj1" fmla="val 45112"/>
              <a:gd name="adj2" fmla="val 50000"/>
            </a:avLst>
          </a:prstGeom>
          <a:noFill/>
          <a:ln w="12700" cap="sq">
            <a:solidFill>
              <a:srgbClr val="82786F">
                <a:alpha val="7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70" tIns="34289" rIns="68570" bIns="34289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aseline="0" dirty="0">
              <a:solidFill>
                <a:srgbClr val="001965"/>
              </a:solidFill>
              <a:latin typeface="Verdana"/>
              <a:ea typeface="+mn-ea"/>
              <a:cs typeface="Arial" charset="0"/>
            </a:endParaRPr>
          </a:p>
        </p:txBody>
      </p:sp>
      <p:cxnSp>
        <p:nvCxnSpPr>
          <p:cNvPr id="76" name="Straight Arrow Connector 75"/>
          <p:cNvCxnSpPr/>
          <p:nvPr/>
        </p:nvCxnSpPr>
        <p:spPr>
          <a:xfrm>
            <a:off x="6037751" y="3801457"/>
            <a:ext cx="160950" cy="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>
          <a:xfrm flipH="1">
            <a:off x="2924832" y="3801457"/>
            <a:ext cx="160950" cy="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294939" y="3450317"/>
            <a:ext cx="2554125" cy="306530"/>
          </a:xfrm>
          <a:prstGeom prst="roundRect">
            <a:avLst>
              <a:gd name="adj" fmla="val 24011"/>
            </a:avLst>
          </a:prstGeom>
          <a:solidFill>
            <a:srgbClr val="72B5CC"/>
          </a:solidFill>
          <a:ln w="19050">
            <a:solidFill>
              <a:srgbClr val="001965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100" b="1" baseline="0" dirty="0">
                <a:solidFill>
                  <a:srgbClr val="FFFFFF"/>
                </a:solidFill>
                <a:latin typeface="Verdana" pitchFamily="34" charset="0"/>
                <a:ea typeface="+mn-ea"/>
                <a:cs typeface="Arial" charset="0"/>
              </a:rPr>
              <a:t>Add GLP-1 RA</a:t>
            </a:r>
            <a:endParaRPr lang="en-GB" sz="1100" baseline="0" dirty="0">
              <a:solidFill>
                <a:srgbClr val="FFFFFF"/>
              </a:solidFill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294939" y="3797110"/>
            <a:ext cx="2554126" cy="399824"/>
          </a:xfrm>
          <a:prstGeom prst="roundRect">
            <a:avLst>
              <a:gd name="adj" fmla="val 24011"/>
            </a:avLst>
          </a:prstGeom>
          <a:solidFill>
            <a:srgbClr val="FFFFFF"/>
          </a:solidFill>
          <a:ln w="19050">
            <a:solidFill>
              <a:srgbClr val="001965"/>
            </a:solidFill>
          </a:ln>
        </p:spPr>
        <p:txBody>
          <a:bodyPr wrap="square" lIns="45714" tIns="45714" rIns="91426" bIns="45714" rtlCol="0" anchor="ctr">
            <a:spAutoFit/>
          </a:bodyPr>
          <a:lstStyle/>
          <a:p>
            <a:pPr algn="ctr" fontAlgn="t"/>
            <a:r>
              <a:rPr lang="en-GB" sz="800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If not tolerated or </a:t>
            </a:r>
            <a:r>
              <a:rPr lang="en-GB" sz="800" baseline="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HbA</a:t>
            </a:r>
            <a:r>
              <a:rPr lang="en-GB" sz="800" dirty="0">
                <a:solidFill>
                  <a:srgbClr val="001965"/>
                </a:solidFill>
                <a:latin typeface="Verdana" pitchFamily="34" charset="0"/>
                <a:ea typeface="+mn-ea"/>
                <a:cs typeface="Arial" charset="0"/>
              </a:rPr>
              <a:t>1c</a:t>
            </a:r>
            <a:r>
              <a:rPr lang="en-GB" sz="800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 target not reached, </a:t>
            </a:r>
            <a:r>
              <a:rPr lang="en-GB" sz="800" b="1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change to 2 insulin injection regimen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298673" y="4989229"/>
            <a:ext cx="2551176" cy="399824"/>
          </a:xfrm>
          <a:prstGeom prst="roundRect">
            <a:avLst>
              <a:gd name="adj" fmla="val 24011"/>
            </a:avLst>
          </a:prstGeom>
          <a:solidFill>
            <a:srgbClr val="FFFFFF"/>
          </a:solidFill>
          <a:ln w="19050">
            <a:solidFill>
              <a:srgbClr val="001965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800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If goals are not met, </a:t>
            </a:r>
            <a:r>
              <a:rPr lang="en-GB" sz="800" b="1" baseline="0" dirty="0">
                <a:solidFill>
                  <a:srgbClr val="002060"/>
                </a:solidFill>
                <a:latin typeface="Verdana" pitchFamily="34" charset="0"/>
                <a:ea typeface="+mn-ea"/>
                <a:cs typeface="Arial" charset="0"/>
              </a:rPr>
              <a:t>consider changing to alternative insulin regimen</a:t>
            </a:r>
          </a:p>
        </p:txBody>
      </p:sp>
      <p:cxnSp>
        <p:nvCxnSpPr>
          <p:cNvPr id="89" name="Straight Arrow Connector 88"/>
          <p:cNvCxnSpPr/>
          <p:nvPr/>
        </p:nvCxnSpPr>
        <p:spPr>
          <a:xfrm flipH="1">
            <a:off x="2924832" y="5189139"/>
            <a:ext cx="359442" cy="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5849063" y="5189139"/>
            <a:ext cx="359442" cy="0"/>
          </a:xfrm>
          <a:prstGeom prst="straightConnector1">
            <a:avLst/>
          </a:prstGeom>
          <a:ln w="1905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8303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55" grpId="0" animBg="1"/>
      <p:bldP spid="38" grpId="0" animBg="1"/>
      <p:bldP spid="57" grpId="0" animBg="1"/>
      <p:bldP spid="37" grpId="0" animBg="1"/>
      <p:bldP spid="42" grpId="0" animBg="1"/>
      <p:bldP spid="70" grpId="0" animBg="1"/>
      <p:bldP spid="71" grpId="0" animBg="1"/>
      <p:bldP spid="41" grpId="0" animBg="1"/>
      <p:bldP spid="43" grpId="0" animBg="1"/>
      <p:bldP spid="86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ine 11"/>
          <p:cNvSpPr>
            <a:spLocks noChangeShapeType="1"/>
          </p:cNvSpPr>
          <p:nvPr/>
        </p:nvSpPr>
        <p:spPr bwMode="auto">
          <a:xfrm>
            <a:off x="0" y="3699268"/>
            <a:ext cx="9144000" cy="0"/>
          </a:xfrm>
          <a:prstGeom prst="line">
            <a:avLst/>
          </a:prstGeom>
          <a:noFill/>
          <a:ln w="6350" cap="flat">
            <a:solidFill>
              <a:srgbClr val="82786F">
                <a:alpha val="50000"/>
              </a:srgb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70" tIns="34289" rIns="68570" bIns="34289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7660" name="Group 77"/>
          <p:cNvGrpSpPr>
            <a:grpSpLocks noChangeAspect="1"/>
          </p:cNvGrpSpPr>
          <p:nvPr/>
        </p:nvGrpSpPr>
        <p:grpSpPr bwMode="auto">
          <a:xfrm>
            <a:off x="4398594" y="2581116"/>
            <a:ext cx="313816" cy="2258715"/>
            <a:chOff x="3505" y="-244"/>
            <a:chExt cx="668" cy="4808"/>
          </a:xfrm>
          <a:solidFill>
            <a:srgbClr val="82786F"/>
          </a:solidFill>
        </p:grpSpPr>
        <p:sp>
          <p:nvSpPr>
            <p:cNvPr id="27662" name="Freeform 78"/>
            <p:cNvSpPr>
              <a:spLocks/>
            </p:cNvSpPr>
            <p:nvPr/>
          </p:nvSpPr>
          <p:spPr bwMode="auto">
            <a:xfrm>
              <a:off x="3505" y="4165"/>
              <a:ext cx="668" cy="399"/>
            </a:xfrm>
            <a:custGeom>
              <a:avLst/>
              <a:gdLst>
                <a:gd name="T0" fmla="*/ 240 w 280"/>
                <a:gd name="T1" fmla="*/ 0 h 169"/>
                <a:gd name="T2" fmla="*/ 240 w 280"/>
                <a:gd name="T3" fmla="*/ 0 h 169"/>
                <a:gd name="T4" fmla="*/ 232 w 280"/>
                <a:gd name="T5" fmla="*/ 21 h 169"/>
                <a:gd name="T6" fmla="*/ 140 w 280"/>
                <a:gd name="T7" fmla="*/ 113 h 169"/>
                <a:gd name="T8" fmla="*/ 49 w 280"/>
                <a:gd name="T9" fmla="*/ 21 h 169"/>
                <a:gd name="T10" fmla="*/ 40 w 280"/>
                <a:gd name="T11" fmla="*/ 0 h 169"/>
                <a:gd name="T12" fmla="*/ 40 w 280"/>
                <a:gd name="T13" fmla="*/ 0 h 169"/>
                <a:gd name="T14" fmla="*/ 0 w 280"/>
                <a:gd name="T15" fmla="*/ 0 h 169"/>
                <a:gd name="T16" fmla="*/ 21 w 280"/>
                <a:gd name="T17" fmla="*/ 50 h 169"/>
                <a:gd name="T18" fmla="*/ 140 w 280"/>
                <a:gd name="T19" fmla="*/ 169 h 169"/>
                <a:gd name="T20" fmla="*/ 260 w 280"/>
                <a:gd name="T21" fmla="*/ 50 h 169"/>
                <a:gd name="T22" fmla="*/ 280 w 280"/>
                <a:gd name="T23" fmla="*/ 0 h 169"/>
                <a:gd name="T24" fmla="*/ 240 w 280"/>
                <a:gd name="T2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0" h="169">
                  <a:moveTo>
                    <a:pt x="240" y="0"/>
                  </a:moveTo>
                  <a:cubicBezTo>
                    <a:pt x="240" y="0"/>
                    <a:pt x="240" y="0"/>
                    <a:pt x="240" y="0"/>
                  </a:cubicBezTo>
                  <a:cubicBezTo>
                    <a:pt x="240" y="8"/>
                    <a:pt x="237" y="16"/>
                    <a:pt x="232" y="21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4" y="16"/>
                    <a:pt x="40" y="8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8" y="37"/>
                    <a:pt x="21" y="50"/>
                  </a:cubicBezTo>
                  <a:cubicBezTo>
                    <a:pt x="140" y="169"/>
                    <a:pt x="140" y="169"/>
                    <a:pt x="140" y="169"/>
                  </a:cubicBezTo>
                  <a:cubicBezTo>
                    <a:pt x="260" y="50"/>
                    <a:pt x="260" y="50"/>
                    <a:pt x="260" y="50"/>
                  </a:cubicBezTo>
                  <a:cubicBezTo>
                    <a:pt x="273" y="37"/>
                    <a:pt x="280" y="19"/>
                    <a:pt x="280" y="0"/>
                  </a:cubicBezTo>
                  <a:lnTo>
                    <a:pt x="240" y="0"/>
                  </a:lnTo>
                  <a:close/>
                </a:path>
              </a:pathLst>
            </a:custGeom>
            <a:grpFill/>
            <a:ln w="9525">
              <a:solidFill>
                <a:srgbClr val="82786F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63" name="Freeform 79"/>
            <p:cNvSpPr>
              <a:spLocks/>
            </p:cNvSpPr>
            <p:nvPr/>
          </p:nvSpPr>
          <p:spPr bwMode="auto">
            <a:xfrm>
              <a:off x="3505" y="-244"/>
              <a:ext cx="668" cy="399"/>
            </a:xfrm>
            <a:custGeom>
              <a:avLst/>
              <a:gdLst>
                <a:gd name="T0" fmla="*/ 260 w 280"/>
                <a:gd name="T1" fmla="*/ 120 h 169"/>
                <a:gd name="T2" fmla="*/ 140 w 280"/>
                <a:gd name="T3" fmla="*/ 0 h 169"/>
                <a:gd name="T4" fmla="*/ 21 w 280"/>
                <a:gd name="T5" fmla="*/ 120 h 169"/>
                <a:gd name="T6" fmla="*/ 0 w 280"/>
                <a:gd name="T7" fmla="*/ 169 h 169"/>
                <a:gd name="T8" fmla="*/ 40 w 280"/>
                <a:gd name="T9" fmla="*/ 169 h 169"/>
                <a:gd name="T10" fmla="*/ 49 w 280"/>
                <a:gd name="T11" fmla="*/ 148 h 169"/>
                <a:gd name="T12" fmla="*/ 140 w 280"/>
                <a:gd name="T13" fmla="*/ 57 h 169"/>
                <a:gd name="T14" fmla="*/ 232 w 280"/>
                <a:gd name="T15" fmla="*/ 148 h 169"/>
                <a:gd name="T16" fmla="*/ 240 w 280"/>
                <a:gd name="T17" fmla="*/ 169 h 169"/>
                <a:gd name="T18" fmla="*/ 280 w 280"/>
                <a:gd name="T19" fmla="*/ 169 h 169"/>
                <a:gd name="T20" fmla="*/ 260 w 280"/>
                <a:gd name="T21" fmla="*/ 12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169">
                  <a:moveTo>
                    <a:pt x="260" y="120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8" y="133"/>
                    <a:pt x="0" y="150"/>
                    <a:pt x="0" y="169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40" y="161"/>
                    <a:pt x="44" y="154"/>
                    <a:pt x="49" y="148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232" y="148"/>
                    <a:pt x="232" y="148"/>
                    <a:pt x="232" y="148"/>
                  </a:cubicBezTo>
                  <a:cubicBezTo>
                    <a:pt x="237" y="154"/>
                    <a:pt x="240" y="161"/>
                    <a:pt x="240" y="169"/>
                  </a:cubicBezTo>
                  <a:cubicBezTo>
                    <a:pt x="280" y="169"/>
                    <a:pt x="280" y="169"/>
                    <a:pt x="280" y="169"/>
                  </a:cubicBezTo>
                  <a:cubicBezTo>
                    <a:pt x="280" y="150"/>
                    <a:pt x="273" y="133"/>
                    <a:pt x="260" y="120"/>
                  </a:cubicBezTo>
                  <a:close/>
                </a:path>
              </a:pathLst>
            </a:custGeom>
            <a:grpFill/>
            <a:ln w="9525">
              <a:solidFill>
                <a:srgbClr val="82786F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69" name="Line 84"/>
            <p:cNvSpPr>
              <a:spLocks noChangeShapeType="1"/>
            </p:cNvSpPr>
            <p:nvPr/>
          </p:nvSpPr>
          <p:spPr bwMode="auto">
            <a:xfrm flipV="1">
              <a:off x="3839" y="129"/>
              <a:ext cx="0" cy="4036"/>
            </a:xfrm>
            <a:prstGeom prst="line">
              <a:avLst/>
            </a:prstGeom>
            <a:grpFill/>
            <a:ln w="30163" cap="flat">
              <a:solidFill>
                <a:srgbClr val="82786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7650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hat can we expect when combining a GLP-1 RA and a basal insulin in one pen?</a:t>
            </a:r>
          </a:p>
        </p:txBody>
      </p:sp>
      <p:sp>
        <p:nvSpPr>
          <p:cNvPr id="41" name="Rectangle 4"/>
          <p:cNvSpPr>
            <a:spLocks noChangeArrowheads="1"/>
          </p:cNvSpPr>
          <p:nvPr/>
        </p:nvSpPr>
        <p:spPr bwMode="auto">
          <a:xfrm>
            <a:off x="246232" y="5493661"/>
            <a:ext cx="7368461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90" tIns="71990" rIns="71990" bIns="7199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800" dirty="0">
              <a:solidFill>
                <a:srgbClr val="001965"/>
              </a:solidFill>
            </a:endParaRPr>
          </a:p>
        </p:txBody>
      </p:sp>
      <p:sp>
        <p:nvSpPr>
          <p:cNvPr id="85" name="Rectangle 58"/>
          <p:cNvSpPr>
            <a:spLocks noChangeArrowheads="1"/>
          </p:cNvSpPr>
          <p:nvPr/>
        </p:nvSpPr>
        <p:spPr bwMode="auto">
          <a:xfrm>
            <a:off x="4564882" y="3643425"/>
            <a:ext cx="65" cy="112851"/>
          </a:xfrm>
          <a:prstGeom prst="rect">
            <a:avLst/>
          </a:prstGeom>
          <a:solidFill>
            <a:srgbClr val="82786F"/>
          </a:solidFill>
          <a:ln w="9525">
            <a:solidFill>
              <a:srgbClr val="82786F"/>
            </a:solidFill>
            <a:miter lim="800000"/>
            <a:headEnd/>
            <a:tailEnd/>
          </a:ln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681"/>
            <a:endParaRPr lang="en-US" altLang="en-US" sz="1100" dirty="0"/>
          </a:p>
        </p:txBody>
      </p:sp>
      <p:sp>
        <p:nvSpPr>
          <p:cNvPr id="113" name="Rectangle 45"/>
          <p:cNvSpPr>
            <a:spLocks noChangeArrowheads="1"/>
          </p:cNvSpPr>
          <p:nvPr/>
        </p:nvSpPr>
        <p:spPr bwMode="auto">
          <a:xfrm>
            <a:off x="678212" y="3345085"/>
            <a:ext cx="52257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spc="-75" dirty="0"/>
              <a:t>HbA1c</a:t>
            </a:r>
          </a:p>
        </p:txBody>
      </p:sp>
      <p:sp>
        <p:nvSpPr>
          <p:cNvPr id="114" name="Rectangle 46"/>
          <p:cNvSpPr>
            <a:spLocks noChangeArrowheads="1"/>
          </p:cNvSpPr>
          <p:nvPr/>
        </p:nvSpPr>
        <p:spPr bwMode="auto">
          <a:xfrm>
            <a:off x="2176675" y="3345085"/>
            <a:ext cx="31739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spc="-75" dirty="0"/>
              <a:t>FPG</a:t>
            </a:r>
          </a:p>
        </p:txBody>
      </p:sp>
      <p:sp>
        <p:nvSpPr>
          <p:cNvPr id="115" name="Rectangle 47"/>
          <p:cNvSpPr>
            <a:spLocks noChangeArrowheads="1"/>
          </p:cNvSpPr>
          <p:nvPr/>
        </p:nvSpPr>
        <p:spPr bwMode="auto">
          <a:xfrm>
            <a:off x="3439032" y="3345085"/>
            <a:ext cx="3302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spc="-75" dirty="0"/>
              <a:t>PPG</a:t>
            </a:r>
          </a:p>
        </p:txBody>
      </p:sp>
      <p:sp>
        <p:nvSpPr>
          <p:cNvPr id="116" name="Rectangle 48"/>
          <p:cNvSpPr>
            <a:spLocks noChangeArrowheads="1"/>
          </p:cNvSpPr>
          <p:nvPr/>
        </p:nvSpPr>
        <p:spPr bwMode="auto">
          <a:xfrm>
            <a:off x="5516141" y="3476859"/>
            <a:ext cx="402353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100" b="1" spc="-75" dirty="0"/>
              <a:t>WEIGHT</a:t>
            </a:r>
          </a:p>
        </p:txBody>
      </p:sp>
      <p:sp>
        <p:nvSpPr>
          <p:cNvPr id="117" name="Rectangle 49"/>
          <p:cNvSpPr>
            <a:spLocks noChangeArrowheads="1"/>
          </p:cNvSpPr>
          <p:nvPr/>
        </p:nvSpPr>
        <p:spPr bwMode="auto">
          <a:xfrm>
            <a:off x="6490768" y="3767109"/>
            <a:ext cx="838370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100" b="1" spc="-75" dirty="0"/>
              <a:t>HYPOGLYCAEMIA</a:t>
            </a:r>
          </a:p>
        </p:txBody>
      </p:sp>
      <p:sp>
        <p:nvSpPr>
          <p:cNvPr id="118" name="Rectangle 35"/>
          <p:cNvSpPr>
            <a:spLocks noChangeArrowheads="1"/>
          </p:cNvSpPr>
          <p:nvPr/>
        </p:nvSpPr>
        <p:spPr bwMode="auto">
          <a:xfrm>
            <a:off x="8012433" y="3767109"/>
            <a:ext cx="397545" cy="11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100" b="1" spc="-75" dirty="0"/>
              <a:t>NAUSEA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174069" y="5333615"/>
            <a:ext cx="2162051" cy="236459"/>
            <a:chOff x="7694908" y="4983999"/>
            <a:chExt cx="2882734" cy="315278"/>
          </a:xfrm>
        </p:grpSpPr>
        <p:sp>
          <p:nvSpPr>
            <p:cNvPr id="120" name="Freeform 66"/>
            <p:cNvSpPr>
              <a:spLocks/>
            </p:cNvSpPr>
            <p:nvPr/>
          </p:nvSpPr>
          <p:spPr bwMode="auto">
            <a:xfrm>
              <a:off x="7852547" y="4983999"/>
              <a:ext cx="2725095" cy="315278"/>
            </a:xfrm>
            <a:custGeom>
              <a:avLst/>
              <a:gdLst>
                <a:gd name="T0" fmla="*/ 1626 w 1732"/>
                <a:gd name="T1" fmla="*/ 200 h 200"/>
                <a:gd name="T2" fmla="*/ 0 w 1732"/>
                <a:gd name="T3" fmla="*/ 200 h 200"/>
                <a:gd name="T4" fmla="*/ 0 w 1732"/>
                <a:gd name="T5" fmla="*/ 0 h 200"/>
                <a:gd name="T6" fmla="*/ 1696 w 1732"/>
                <a:gd name="T7" fmla="*/ 0 h 200"/>
                <a:gd name="T8" fmla="*/ 1723 w 1732"/>
                <a:gd name="T9" fmla="*/ 43 h 200"/>
                <a:gd name="T10" fmla="*/ 1653 w 1732"/>
                <a:gd name="T11" fmla="*/ 183 h 200"/>
                <a:gd name="T12" fmla="*/ 1626 w 1732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2" h="200">
                  <a:moveTo>
                    <a:pt x="1626" y="200"/>
                  </a:moveTo>
                  <a:cubicBezTo>
                    <a:pt x="0" y="200"/>
                    <a:pt x="0" y="200"/>
                    <a:pt x="0" y="2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96" y="0"/>
                    <a:pt x="1696" y="0"/>
                    <a:pt x="1696" y="0"/>
                  </a:cubicBezTo>
                  <a:cubicBezTo>
                    <a:pt x="1718" y="0"/>
                    <a:pt x="1732" y="23"/>
                    <a:pt x="1723" y="43"/>
                  </a:cubicBezTo>
                  <a:cubicBezTo>
                    <a:pt x="1653" y="183"/>
                    <a:pt x="1653" y="183"/>
                    <a:pt x="1653" y="183"/>
                  </a:cubicBezTo>
                  <a:cubicBezTo>
                    <a:pt x="1647" y="193"/>
                    <a:pt x="1637" y="200"/>
                    <a:pt x="1626" y="200"/>
                  </a:cubicBezTo>
                  <a:close/>
                </a:path>
              </a:pathLst>
            </a:custGeom>
            <a:solidFill>
              <a:srgbClr val="001965">
                <a:alpha val="5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100" spc="-38" dirty="0">
                  <a:solidFill>
                    <a:schemeClr val="bg1"/>
                  </a:solidFill>
                </a:rPr>
                <a:t>Basal insulin</a:t>
              </a:r>
            </a:p>
          </p:txBody>
        </p:sp>
        <p:sp>
          <p:nvSpPr>
            <p:cNvPr id="123" name="Oval 69"/>
            <p:cNvSpPr>
              <a:spLocks noChangeArrowheads="1"/>
            </p:cNvSpPr>
            <p:nvPr/>
          </p:nvSpPr>
          <p:spPr bwMode="auto">
            <a:xfrm>
              <a:off x="7694908" y="4983999"/>
              <a:ext cx="314613" cy="315278"/>
            </a:xfrm>
            <a:prstGeom prst="ellipse">
              <a:avLst/>
            </a:prstGeom>
            <a:solidFill>
              <a:srgbClr val="99AF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Oval 70"/>
            <p:cNvSpPr>
              <a:spLocks noChangeArrowheads="1"/>
            </p:cNvSpPr>
            <p:nvPr/>
          </p:nvSpPr>
          <p:spPr bwMode="auto">
            <a:xfrm>
              <a:off x="7726835" y="5015261"/>
              <a:ext cx="251424" cy="252755"/>
            </a:xfrm>
            <a:prstGeom prst="ellipse">
              <a:avLst/>
            </a:prstGeom>
            <a:solidFill>
              <a:srgbClr val="0019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179064" y="5024063"/>
            <a:ext cx="2162051" cy="236459"/>
            <a:chOff x="7694908" y="4619500"/>
            <a:chExt cx="2882734" cy="315278"/>
          </a:xfrm>
        </p:grpSpPr>
        <p:sp>
          <p:nvSpPr>
            <p:cNvPr id="121" name="Freeform 67"/>
            <p:cNvSpPr>
              <a:spLocks/>
            </p:cNvSpPr>
            <p:nvPr/>
          </p:nvSpPr>
          <p:spPr bwMode="auto">
            <a:xfrm>
              <a:off x="7852547" y="4619500"/>
              <a:ext cx="2725095" cy="315278"/>
            </a:xfrm>
            <a:custGeom>
              <a:avLst/>
              <a:gdLst>
                <a:gd name="T0" fmla="*/ 1626 w 1732"/>
                <a:gd name="T1" fmla="*/ 200 h 200"/>
                <a:gd name="T2" fmla="*/ 0 w 1732"/>
                <a:gd name="T3" fmla="*/ 200 h 200"/>
                <a:gd name="T4" fmla="*/ 0 w 1732"/>
                <a:gd name="T5" fmla="*/ 0 h 200"/>
                <a:gd name="T6" fmla="*/ 1696 w 1732"/>
                <a:gd name="T7" fmla="*/ 0 h 200"/>
                <a:gd name="T8" fmla="*/ 1723 w 1732"/>
                <a:gd name="T9" fmla="*/ 43 h 200"/>
                <a:gd name="T10" fmla="*/ 1653 w 1732"/>
                <a:gd name="T11" fmla="*/ 183 h 200"/>
                <a:gd name="T12" fmla="*/ 1626 w 1732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2" h="200">
                  <a:moveTo>
                    <a:pt x="1626" y="200"/>
                  </a:moveTo>
                  <a:cubicBezTo>
                    <a:pt x="0" y="200"/>
                    <a:pt x="0" y="200"/>
                    <a:pt x="0" y="2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96" y="0"/>
                    <a:pt x="1696" y="0"/>
                    <a:pt x="1696" y="0"/>
                  </a:cubicBezTo>
                  <a:cubicBezTo>
                    <a:pt x="1718" y="0"/>
                    <a:pt x="1732" y="23"/>
                    <a:pt x="1723" y="43"/>
                  </a:cubicBezTo>
                  <a:cubicBezTo>
                    <a:pt x="1653" y="183"/>
                    <a:pt x="1653" y="183"/>
                    <a:pt x="1653" y="183"/>
                  </a:cubicBezTo>
                  <a:cubicBezTo>
                    <a:pt x="1647" y="194"/>
                    <a:pt x="1637" y="200"/>
                    <a:pt x="1626" y="200"/>
                  </a:cubicBezTo>
                  <a:close/>
                </a:path>
              </a:pathLst>
            </a:custGeom>
            <a:solidFill>
              <a:srgbClr val="AEA79F">
                <a:alpha val="5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100" spc="-38" dirty="0">
                  <a:solidFill>
                    <a:srgbClr val="001965"/>
                  </a:solidFill>
                </a:rPr>
                <a:t>GLP-1 RA monotherapy</a:t>
              </a:r>
            </a:p>
          </p:txBody>
        </p:sp>
        <p:sp>
          <p:nvSpPr>
            <p:cNvPr id="125" name="Oval 71"/>
            <p:cNvSpPr>
              <a:spLocks noChangeArrowheads="1"/>
            </p:cNvSpPr>
            <p:nvPr/>
          </p:nvSpPr>
          <p:spPr bwMode="auto">
            <a:xfrm>
              <a:off x="7694908" y="4619500"/>
              <a:ext cx="314613" cy="315278"/>
            </a:xfrm>
            <a:prstGeom prst="ellipse">
              <a:avLst/>
            </a:prstGeom>
            <a:solidFill>
              <a:srgbClr val="DAD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Oval 72"/>
            <p:cNvSpPr>
              <a:spLocks noChangeArrowheads="1"/>
            </p:cNvSpPr>
            <p:nvPr/>
          </p:nvSpPr>
          <p:spPr bwMode="auto">
            <a:xfrm>
              <a:off x="7726835" y="4650762"/>
              <a:ext cx="251424" cy="252755"/>
            </a:xfrm>
            <a:prstGeom prst="ellipse">
              <a:avLst/>
            </a:prstGeom>
            <a:solidFill>
              <a:srgbClr val="AEA7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179064" y="5640211"/>
            <a:ext cx="2162051" cy="236459"/>
            <a:chOff x="7694908" y="5347168"/>
            <a:chExt cx="2882734" cy="315278"/>
          </a:xfrm>
        </p:grpSpPr>
        <p:sp>
          <p:nvSpPr>
            <p:cNvPr id="122" name="Freeform 68"/>
            <p:cNvSpPr>
              <a:spLocks/>
            </p:cNvSpPr>
            <p:nvPr/>
          </p:nvSpPr>
          <p:spPr bwMode="auto">
            <a:xfrm>
              <a:off x="7852547" y="5347168"/>
              <a:ext cx="2725095" cy="315278"/>
            </a:xfrm>
            <a:custGeom>
              <a:avLst/>
              <a:gdLst>
                <a:gd name="T0" fmla="*/ 1626 w 1732"/>
                <a:gd name="T1" fmla="*/ 200 h 200"/>
                <a:gd name="T2" fmla="*/ 0 w 1732"/>
                <a:gd name="T3" fmla="*/ 200 h 200"/>
                <a:gd name="T4" fmla="*/ 0 w 1732"/>
                <a:gd name="T5" fmla="*/ 0 h 200"/>
                <a:gd name="T6" fmla="*/ 1696 w 1732"/>
                <a:gd name="T7" fmla="*/ 0 h 200"/>
                <a:gd name="T8" fmla="*/ 1723 w 1732"/>
                <a:gd name="T9" fmla="*/ 44 h 200"/>
                <a:gd name="T10" fmla="*/ 1653 w 1732"/>
                <a:gd name="T11" fmla="*/ 184 h 200"/>
                <a:gd name="T12" fmla="*/ 1626 w 1732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2" h="200">
                  <a:moveTo>
                    <a:pt x="1626" y="200"/>
                  </a:moveTo>
                  <a:cubicBezTo>
                    <a:pt x="0" y="200"/>
                    <a:pt x="0" y="200"/>
                    <a:pt x="0" y="2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96" y="0"/>
                    <a:pt x="1696" y="0"/>
                    <a:pt x="1696" y="0"/>
                  </a:cubicBezTo>
                  <a:cubicBezTo>
                    <a:pt x="1718" y="0"/>
                    <a:pt x="1732" y="24"/>
                    <a:pt x="1723" y="44"/>
                  </a:cubicBezTo>
                  <a:cubicBezTo>
                    <a:pt x="1653" y="184"/>
                    <a:pt x="1653" y="184"/>
                    <a:pt x="1653" y="184"/>
                  </a:cubicBezTo>
                  <a:cubicBezTo>
                    <a:pt x="1647" y="194"/>
                    <a:pt x="1637" y="200"/>
                    <a:pt x="1626" y="200"/>
                  </a:cubicBezTo>
                  <a:close/>
                </a:path>
              </a:pathLst>
            </a:custGeom>
            <a:solidFill>
              <a:srgbClr val="72B5CC">
                <a:alpha val="5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altLang="en-US" sz="1100" spc="-38" dirty="0">
                  <a:solidFill>
                    <a:srgbClr val="001965"/>
                  </a:solidFill>
                </a:rPr>
                <a:t>GLP-1 RA/insulin combined</a:t>
              </a:r>
            </a:p>
          </p:txBody>
        </p:sp>
        <p:sp>
          <p:nvSpPr>
            <p:cNvPr id="127" name="Oval 73"/>
            <p:cNvSpPr>
              <a:spLocks noChangeArrowheads="1"/>
            </p:cNvSpPr>
            <p:nvPr/>
          </p:nvSpPr>
          <p:spPr bwMode="auto">
            <a:xfrm>
              <a:off x="7694908" y="5347168"/>
              <a:ext cx="314613" cy="315278"/>
            </a:xfrm>
            <a:prstGeom prst="ellipse">
              <a:avLst/>
            </a:prstGeom>
            <a:solidFill>
              <a:srgbClr val="C1E2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48" name="Oval 74"/>
            <p:cNvSpPr>
              <a:spLocks noChangeArrowheads="1"/>
            </p:cNvSpPr>
            <p:nvPr/>
          </p:nvSpPr>
          <p:spPr bwMode="auto">
            <a:xfrm>
              <a:off x="7726835" y="5378429"/>
              <a:ext cx="251424" cy="252755"/>
            </a:xfrm>
            <a:prstGeom prst="ellipse">
              <a:avLst/>
            </a:prstGeom>
            <a:solidFill>
              <a:srgbClr val="72B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000" tIns="27000" rIns="68580" bIns="2700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7" name="Up Arrow 146"/>
          <p:cNvSpPr/>
          <p:nvPr/>
        </p:nvSpPr>
        <p:spPr>
          <a:xfrm rot="10800000">
            <a:off x="670083" y="3699274"/>
            <a:ext cx="540000" cy="1127381"/>
          </a:xfrm>
          <a:prstGeom prst="upArrow">
            <a:avLst/>
          </a:prstGeom>
          <a:solidFill>
            <a:srgbClr val="72B5CC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27651" name="Down Arrow 27650"/>
          <p:cNvSpPr/>
          <p:nvPr/>
        </p:nvSpPr>
        <p:spPr>
          <a:xfrm rot="10800000" flipV="1">
            <a:off x="402219" y="3699267"/>
            <a:ext cx="540000" cy="667612"/>
          </a:xfrm>
          <a:prstGeom prst="downArrow">
            <a:avLst/>
          </a:prstGeom>
          <a:solidFill>
            <a:srgbClr val="001965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46" name="Up Arrow 145"/>
          <p:cNvSpPr/>
          <p:nvPr/>
        </p:nvSpPr>
        <p:spPr>
          <a:xfrm rot="10800000">
            <a:off x="937948" y="3699267"/>
            <a:ext cx="540000" cy="667612"/>
          </a:xfrm>
          <a:prstGeom prst="upArrow">
            <a:avLst/>
          </a:prstGeom>
          <a:solidFill>
            <a:srgbClr val="AEA79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1" name="Up Arrow 160"/>
          <p:cNvSpPr/>
          <p:nvPr/>
        </p:nvSpPr>
        <p:spPr>
          <a:xfrm rot="10800000">
            <a:off x="2071613" y="3699274"/>
            <a:ext cx="540000" cy="1127381"/>
          </a:xfrm>
          <a:prstGeom prst="upArrow">
            <a:avLst/>
          </a:prstGeom>
          <a:solidFill>
            <a:srgbClr val="72B5CC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2" name="Up Arrow 161"/>
          <p:cNvSpPr/>
          <p:nvPr/>
        </p:nvSpPr>
        <p:spPr>
          <a:xfrm rot="10800000">
            <a:off x="1803749" y="3699267"/>
            <a:ext cx="540000" cy="667612"/>
          </a:xfrm>
          <a:prstGeom prst="upArrow">
            <a:avLst/>
          </a:prstGeom>
          <a:solidFill>
            <a:srgbClr val="001965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3" name="Up Arrow 162"/>
          <p:cNvSpPr/>
          <p:nvPr/>
        </p:nvSpPr>
        <p:spPr>
          <a:xfrm rot="10800000">
            <a:off x="2339478" y="3699267"/>
            <a:ext cx="540000" cy="667612"/>
          </a:xfrm>
          <a:prstGeom prst="upArrow">
            <a:avLst/>
          </a:prstGeom>
          <a:solidFill>
            <a:srgbClr val="AEA79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4" name="Up Arrow 163"/>
          <p:cNvSpPr/>
          <p:nvPr/>
        </p:nvSpPr>
        <p:spPr>
          <a:xfrm rot="10800000">
            <a:off x="3334645" y="3699266"/>
            <a:ext cx="540000" cy="580500"/>
          </a:xfrm>
          <a:prstGeom prst="upArrow">
            <a:avLst/>
          </a:prstGeom>
          <a:solidFill>
            <a:srgbClr val="72B5CC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5" name="Up Arrow 164"/>
          <p:cNvSpPr/>
          <p:nvPr/>
        </p:nvSpPr>
        <p:spPr>
          <a:xfrm rot="10800000">
            <a:off x="3603200" y="3699267"/>
            <a:ext cx="540000" cy="581432"/>
          </a:xfrm>
          <a:prstGeom prst="upArrow">
            <a:avLst/>
          </a:prstGeom>
          <a:solidFill>
            <a:srgbClr val="AEA79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6" name="Up Arrow 165"/>
          <p:cNvSpPr/>
          <p:nvPr/>
        </p:nvSpPr>
        <p:spPr>
          <a:xfrm rot="10800000">
            <a:off x="5235311" y="3699267"/>
            <a:ext cx="540000" cy="428806"/>
          </a:xfrm>
          <a:prstGeom prst="upArrow">
            <a:avLst/>
          </a:prstGeom>
          <a:solidFill>
            <a:srgbClr val="72B5CC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8" name="Up Arrow 167"/>
          <p:cNvSpPr/>
          <p:nvPr/>
        </p:nvSpPr>
        <p:spPr>
          <a:xfrm rot="10800000">
            <a:off x="5502522" y="3699267"/>
            <a:ext cx="540000" cy="667612"/>
          </a:xfrm>
          <a:prstGeom prst="upArrow">
            <a:avLst/>
          </a:prstGeom>
          <a:solidFill>
            <a:srgbClr val="AEA79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7" name="Up Arrow 166"/>
          <p:cNvSpPr/>
          <p:nvPr/>
        </p:nvSpPr>
        <p:spPr>
          <a:xfrm rot="10800000" flipV="1">
            <a:off x="4958799" y="3031657"/>
            <a:ext cx="540000" cy="667610"/>
          </a:xfrm>
          <a:prstGeom prst="upArrow">
            <a:avLst/>
          </a:prstGeom>
          <a:solidFill>
            <a:srgbClr val="001965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0" name="Up Arrow 169"/>
          <p:cNvSpPr/>
          <p:nvPr/>
        </p:nvSpPr>
        <p:spPr>
          <a:xfrm rot="10800000" flipV="1">
            <a:off x="6640438" y="3497286"/>
            <a:ext cx="540000" cy="201982"/>
          </a:xfrm>
          <a:prstGeom prst="upArrow">
            <a:avLst/>
          </a:prstGeom>
          <a:solidFill>
            <a:srgbClr val="72B5CC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1" name="Up Arrow 170"/>
          <p:cNvSpPr/>
          <p:nvPr/>
        </p:nvSpPr>
        <p:spPr>
          <a:xfrm rot="10800000" flipV="1">
            <a:off x="6371027" y="3031657"/>
            <a:ext cx="540000" cy="667610"/>
          </a:xfrm>
          <a:prstGeom prst="upArrow">
            <a:avLst/>
          </a:prstGeom>
          <a:solidFill>
            <a:srgbClr val="001965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69" name="Up Arrow 168"/>
          <p:cNvSpPr/>
          <p:nvPr/>
        </p:nvSpPr>
        <p:spPr>
          <a:xfrm rot="10800000" flipV="1">
            <a:off x="6903520" y="3606715"/>
            <a:ext cx="540000" cy="92552"/>
          </a:xfrm>
          <a:prstGeom prst="upArrow">
            <a:avLst/>
          </a:prstGeom>
          <a:solidFill>
            <a:srgbClr val="AEA79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2" name="Up Arrow 171"/>
          <p:cNvSpPr/>
          <p:nvPr/>
        </p:nvSpPr>
        <p:spPr>
          <a:xfrm rot="10800000" flipV="1">
            <a:off x="7929803" y="3451369"/>
            <a:ext cx="540000" cy="247898"/>
          </a:xfrm>
          <a:prstGeom prst="upArrow">
            <a:avLst/>
          </a:prstGeom>
          <a:solidFill>
            <a:srgbClr val="72B5CC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3" name="Up Arrow 172"/>
          <p:cNvSpPr/>
          <p:nvPr/>
        </p:nvSpPr>
        <p:spPr>
          <a:xfrm rot="10800000" flipV="1">
            <a:off x="8202200" y="3103212"/>
            <a:ext cx="540000" cy="596063"/>
          </a:xfrm>
          <a:prstGeom prst="upArrow">
            <a:avLst/>
          </a:prstGeom>
          <a:solidFill>
            <a:srgbClr val="AEA79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27675" name="Oval 27674"/>
          <p:cNvSpPr/>
          <p:nvPr/>
        </p:nvSpPr>
        <p:spPr>
          <a:xfrm>
            <a:off x="611403" y="3638449"/>
            <a:ext cx="121649" cy="121649"/>
          </a:xfrm>
          <a:prstGeom prst="ellipse">
            <a:avLst/>
          </a:prstGeom>
          <a:solidFill>
            <a:srgbClr val="00196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6" name="Oval 175"/>
          <p:cNvSpPr/>
          <p:nvPr/>
        </p:nvSpPr>
        <p:spPr>
          <a:xfrm>
            <a:off x="1147131" y="3638449"/>
            <a:ext cx="121649" cy="121649"/>
          </a:xfrm>
          <a:prstGeom prst="ellipse">
            <a:avLst/>
          </a:prstGeom>
          <a:solidFill>
            <a:srgbClr val="AEA79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7" name="Oval 176"/>
          <p:cNvSpPr/>
          <p:nvPr/>
        </p:nvSpPr>
        <p:spPr>
          <a:xfrm>
            <a:off x="879267" y="3638449"/>
            <a:ext cx="121649" cy="121649"/>
          </a:xfrm>
          <a:prstGeom prst="ellipse">
            <a:avLst/>
          </a:prstGeom>
          <a:solidFill>
            <a:srgbClr val="72B5CC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8" name="Oval 177"/>
          <p:cNvSpPr/>
          <p:nvPr/>
        </p:nvSpPr>
        <p:spPr>
          <a:xfrm>
            <a:off x="2012933" y="3638449"/>
            <a:ext cx="121649" cy="121649"/>
          </a:xfrm>
          <a:prstGeom prst="ellipse">
            <a:avLst/>
          </a:prstGeom>
          <a:solidFill>
            <a:srgbClr val="00196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79" name="Oval 178"/>
          <p:cNvSpPr/>
          <p:nvPr/>
        </p:nvSpPr>
        <p:spPr>
          <a:xfrm>
            <a:off x="2548660" y="3638449"/>
            <a:ext cx="121649" cy="121649"/>
          </a:xfrm>
          <a:prstGeom prst="ellipse">
            <a:avLst/>
          </a:prstGeom>
          <a:solidFill>
            <a:srgbClr val="AEA79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80" name="Oval 179"/>
          <p:cNvSpPr/>
          <p:nvPr/>
        </p:nvSpPr>
        <p:spPr>
          <a:xfrm>
            <a:off x="2280797" y="3638449"/>
            <a:ext cx="121649" cy="121649"/>
          </a:xfrm>
          <a:prstGeom prst="ellipse">
            <a:avLst/>
          </a:prstGeom>
          <a:solidFill>
            <a:srgbClr val="72B5CC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89" name="Oval 188"/>
          <p:cNvSpPr/>
          <p:nvPr/>
        </p:nvSpPr>
        <p:spPr>
          <a:xfrm>
            <a:off x="3811134" y="3638449"/>
            <a:ext cx="121649" cy="121649"/>
          </a:xfrm>
          <a:prstGeom prst="ellipse">
            <a:avLst/>
          </a:prstGeom>
          <a:solidFill>
            <a:srgbClr val="AEA79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2" name="Oval 191"/>
          <p:cNvSpPr/>
          <p:nvPr/>
        </p:nvSpPr>
        <p:spPr>
          <a:xfrm>
            <a:off x="5167408" y="3638449"/>
            <a:ext cx="121649" cy="121649"/>
          </a:xfrm>
          <a:prstGeom prst="ellipse">
            <a:avLst/>
          </a:prstGeom>
          <a:solidFill>
            <a:srgbClr val="00196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3" name="Oval 192"/>
          <p:cNvSpPr/>
          <p:nvPr/>
        </p:nvSpPr>
        <p:spPr>
          <a:xfrm>
            <a:off x="5712274" y="3638449"/>
            <a:ext cx="121649" cy="121649"/>
          </a:xfrm>
          <a:prstGeom prst="ellipse">
            <a:avLst/>
          </a:prstGeom>
          <a:solidFill>
            <a:srgbClr val="AEA79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4" name="Oval 193"/>
          <p:cNvSpPr/>
          <p:nvPr/>
        </p:nvSpPr>
        <p:spPr>
          <a:xfrm>
            <a:off x="5445069" y="3638449"/>
            <a:ext cx="121649" cy="121649"/>
          </a:xfrm>
          <a:prstGeom prst="ellipse">
            <a:avLst/>
          </a:prstGeom>
          <a:solidFill>
            <a:srgbClr val="72B5CC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6" name="Oval 195"/>
          <p:cNvSpPr/>
          <p:nvPr/>
        </p:nvSpPr>
        <p:spPr>
          <a:xfrm>
            <a:off x="6577052" y="3638449"/>
            <a:ext cx="121649" cy="121649"/>
          </a:xfrm>
          <a:prstGeom prst="ellipse">
            <a:avLst/>
          </a:prstGeom>
          <a:solidFill>
            <a:srgbClr val="00196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7" name="Oval 196"/>
          <p:cNvSpPr/>
          <p:nvPr/>
        </p:nvSpPr>
        <p:spPr>
          <a:xfrm>
            <a:off x="7112780" y="3638449"/>
            <a:ext cx="121649" cy="121649"/>
          </a:xfrm>
          <a:prstGeom prst="ellipse">
            <a:avLst/>
          </a:prstGeom>
          <a:solidFill>
            <a:srgbClr val="AEA79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8" name="Oval 197"/>
          <p:cNvSpPr/>
          <p:nvPr/>
        </p:nvSpPr>
        <p:spPr>
          <a:xfrm>
            <a:off x="6854713" y="3638449"/>
            <a:ext cx="121649" cy="121649"/>
          </a:xfrm>
          <a:prstGeom prst="ellipse">
            <a:avLst/>
          </a:prstGeom>
          <a:solidFill>
            <a:srgbClr val="72B5CC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200" name="Oval 199"/>
          <p:cNvSpPr/>
          <p:nvPr/>
        </p:nvSpPr>
        <p:spPr>
          <a:xfrm>
            <a:off x="7854569" y="3638449"/>
            <a:ext cx="121649" cy="121649"/>
          </a:xfrm>
          <a:prstGeom prst="ellipse">
            <a:avLst/>
          </a:prstGeom>
          <a:solidFill>
            <a:srgbClr val="00196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201" name="Oval 200"/>
          <p:cNvSpPr/>
          <p:nvPr/>
        </p:nvSpPr>
        <p:spPr>
          <a:xfrm>
            <a:off x="8409891" y="3638449"/>
            <a:ext cx="121649" cy="121649"/>
          </a:xfrm>
          <a:prstGeom prst="ellipse">
            <a:avLst/>
          </a:prstGeom>
          <a:solidFill>
            <a:srgbClr val="AEA79F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202" name="Oval 201"/>
          <p:cNvSpPr/>
          <p:nvPr/>
        </p:nvSpPr>
        <p:spPr>
          <a:xfrm>
            <a:off x="8151825" y="3638449"/>
            <a:ext cx="121649" cy="121649"/>
          </a:xfrm>
          <a:prstGeom prst="ellipse">
            <a:avLst/>
          </a:prstGeom>
          <a:solidFill>
            <a:srgbClr val="72B5CC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75" name="Up Arrow 74"/>
          <p:cNvSpPr/>
          <p:nvPr/>
        </p:nvSpPr>
        <p:spPr>
          <a:xfrm rot="10800000">
            <a:off x="3058206" y="3700597"/>
            <a:ext cx="547187" cy="113174"/>
          </a:xfrm>
          <a:prstGeom prst="upArrow">
            <a:avLst/>
          </a:prstGeom>
          <a:solidFill>
            <a:srgbClr val="001965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88" name="Oval 187"/>
          <p:cNvSpPr/>
          <p:nvPr/>
        </p:nvSpPr>
        <p:spPr>
          <a:xfrm>
            <a:off x="3266262" y="3651289"/>
            <a:ext cx="121649" cy="121649"/>
          </a:xfrm>
          <a:prstGeom prst="ellipse">
            <a:avLst/>
          </a:prstGeom>
          <a:solidFill>
            <a:srgbClr val="00196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190" name="Oval 189"/>
          <p:cNvSpPr/>
          <p:nvPr/>
        </p:nvSpPr>
        <p:spPr>
          <a:xfrm>
            <a:off x="3543924" y="3638449"/>
            <a:ext cx="121649" cy="121649"/>
          </a:xfrm>
          <a:prstGeom prst="ellipse">
            <a:avLst/>
          </a:prstGeom>
          <a:solidFill>
            <a:srgbClr val="72B5CC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774521" y="2461579"/>
            <a:ext cx="3359543" cy="256103"/>
          </a:xfrm>
          <a:prstGeom prst="roundRect">
            <a:avLst>
              <a:gd name="adj" fmla="val 48635"/>
            </a:avLst>
          </a:prstGeom>
          <a:solidFill>
            <a:srgbClr val="82786F"/>
          </a:solidFill>
        </p:spPr>
        <p:txBody>
          <a:bodyPr wrap="square" lIns="91426" tIns="0" rIns="91426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Efficacy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981572" y="2448613"/>
            <a:ext cx="3359543" cy="256103"/>
          </a:xfrm>
          <a:prstGeom prst="roundRect">
            <a:avLst>
              <a:gd name="adj" fmla="val 48635"/>
            </a:avLst>
          </a:prstGeom>
          <a:solidFill>
            <a:srgbClr val="82786F"/>
          </a:solidFill>
        </p:spPr>
        <p:txBody>
          <a:bodyPr wrap="square" lIns="91426" tIns="0" rIns="91426" bIns="0" rtlCol="0" anchor="ctr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ide effects</a:t>
            </a:r>
          </a:p>
        </p:txBody>
      </p:sp>
      <p:sp>
        <p:nvSpPr>
          <p:cNvPr id="71" name="Rectangle 4"/>
          <p:cNvSpPr>
            <a:spLocks noChangeArrowheads="1"/>
          </p:cNvSpPr>
          <p:nvPr/>
        </p:nvSpPr>
        <p:spPr bwMode="auto">
          <a:xfrm>
            <a:off x="246231" y="5493653"/>
            <a:ext cx="8294755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90" tIns="71990" rIns="71990" bIns="71990" anchor="b"/>
          <a:lstStyle/>
          <a:p>
            <a:r>
              <a:rPr lang="en-US" altLang="en-US" sz="700" dirty="0">
                <a:solidFill>
                  <a:schemeClr val="bg1">
                    <a:lumMod val="50000"/>
                  </a:schemeClr>
                </a:solidFill>
                <a:ea typeface="ヒラギノ角ゴ Pro W3"/>
                <a:cs typeface="ヒラギノ角ゴ Pro W3"/>
              </a:rPr>
              <a:t>For illustrative purposes only, not drawn to scale</a:t>
            </a:r>
          </a:p>
          <a:p>
            <a:r>
              <a:rPr lang="en-US" altLang="en-US" sz="700" dirty="0">
                <a:solidFill>
                  <a:schemeClr val="bg1">
                    <a:lumMod val="50000"/>
                  </a:schemeClr>
                </a:solidFill>
                <a:ea typeface="ヒラギノ角ゴ Pro W3"/>
                <a:cs typeface="ヒラギノ角ゴ Pro W3"/>
              </a:rPr>
              <a:t>FPG, fasting plasma glucose; GLP-1 RA, glucagon-like peptide-1 receptor agonist; PPG, postprandial glucose</a:t>
            </a:r>
          </a:p>
        </p:txBody>
      </p:sp>
    </p:spTree>
    <p:extLst>
      <p:ext uri="{BB962C8B-B14F-4D97-AF65-F5344CB8AC3E}">
        <p14:creationId xmlns:p14="http://schemas.microsoft.com/office/powerpoint/2010/main" val="125603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0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500"/>
                            </p:stCondLst>
                            <p:childTnLst>
                              <p:par>
                                <p:cTn id="1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8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/>
      <p:bldP spid="117" grpId="0"/>
      <p:bldP spid="118" grpId="0"/>
      <p:bldP spid="147" grpId="0" animBg="1"/>
      <p:bldP spid="146" grpId="0" animBg="1"/>
      <p:bldP spid="161" grpId="0" animBg="1"/>
      <p:bldP spid="163" grpId="0" animBg="1"/>
      <p:bldP spid="164" grpId="0" animBg="1"/>
      <p:bldP spid="165" grpId="0" animBg="1"/>
      <p:bldP spid="166" grpId="0" animBg="1"/>
      <p:bldP spid="168" grpId="0" animBg="1"/>
      <p:bldP spid="167" grpId="0" animBg="1"/>
      <p:bldP spid="170" grpId="0" animBg="1"/>
      <p:bldP spid="171" grpId="0" animBg="1"/>
      <p:bldP spid="169" grpId="0" animBg="1"/>
      <p:bldP spid="172" grpId="0" animBg="1"/>
      <p:bldP spid="173" grpId="0" animBg="1"/>
      <p:bldP spid="176" grpId="0" animBg="1"/>
      <p:bldP spid="177" grpId="0" animBg="1"/>
      <p:bldP spid="179" grpId="0" animBg="1"/>
      <p:bldP spid="180" grpId="0" animBg="1"/>
      <p:bldP spid="189" grpId="0" animBg="1"/>
      <p:bldP spid="192" grpId="0" animBg="1"/>
      <p:bldP spid="193" grpId="0" animBg="1"/>
      <p:bldP spid="194" grpId="0" animBg="1"/>
      <p:bldP spid="196" grpId="0" animBg="1"/>
      <p:bldP spid="197" grpId="0" animBg="1"/>
      <p:bldP spid="198" grpId="0" animBg="1"/>
      <p:bldP spid="200" grpId="0" animBg="1"/>
      <p:bldP spid="201" grpId="0" animBg="1"/>
      <p:bldP spid="202" grpId="0" animBg="1"/>
      <p:bldP spid="190" grpId="0" animBg="1"/>
      <p:bldP spid="77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2"/>
          <p:cNvGraphicFramePr>
            <a:graphicFrameLocks noGrp="1"/>
          </p:cNvGraphicFramePr>
          <p:nvPr>
            <p:ph idx="1"/>
            <p:extLst/>
          </p:nvPr>
        </p:nvGraphicFramePr>
        <p:xfrm>
          <a:off x="211255" y="2222035"/>
          <a:ext cx="6362844" cy="27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1" name="Straight Connector 30"/>
          <p:cNvCxnSpPr/>
          <p:nvPr/>
        </p:nvCxnSpPr>
        <p:spPr bwMode="auto">
          <a:xfrm>
            <a:off x="1046599" y="3654851"/>
            <a:ext cx="536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2786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/>
        </p:nvCxnSpPr>
        <p:spPr bwMode="auto">
          <a:xfrm>
            <a:off x="1040208" y="3971024"/>
            <a:ext cx="536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2786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2" y="1325892"/>
            <a:ext cx="8509000" cy="390525"/>
          </a:xfrm>
        </p:spPr>
        <p:txBody>
          <a:bodyPr/>
          <a:lstStyle/>
          <a:p>
            <a:r>
              <a:rPr lang="da-DK" dirty="0"/>
              <a:t>DUAL V</a:t>
            </a:r>
            <a:br>
              <a:rPr lang="da-DK" dirty="0"/>
            </a:br>
            <a:r>
              <a:rPr lang="en-GB" sz="1600" i="1" dirty="0">
                <a:solidFill>
                  <a:srgbClr val="72B5CC"/>
                </a:solidFill>
              </a:rPr>
              <a:t>Post hoc </a:t>
            </a:r>
            <a:r>
              <a:rPr lang="en-GB" sz="1600" dirty="0">
                <a:solidFill>
                  <a:srgbClr val="72B5CC"/>
                </a:solidFill>
              </a:rPr>
              <a:t>analysis of HbA</a:t>
            </a:r>
            <a:r>
              <a:rPr lang="en-GB" sz="1600" baseline="-25000" dirty="0">
                <a:solidFill>
                  <a:srgbClr val="72B5CC"/>
                </a:solidFill>
              </a:rPr>
              <a:t>1c</a:t>
            </a:r>
            <a:r>
              <a:rPr lang="en-GB" sz="1600" dirty="0">
                <a:solidFill>
                  <a:srgbClr val="72B5CC"/>
                </a:solidFill>
              </a:rPr>
              <a:t> reductions at weeks 4, 8 and 12</a:t>
            </a:r>
          </a:p>
        </p:txBody>
      </p:sp>
      <p:sp>
        <p:nvSpPr>
          <p:cNvPr id="7" name="TextBox 17"/>
          <p:cNvSpPr txBox="1">
            <a:spLocks noChangeArrowheads="1"/>
          </p:cNvSpPr>
          <p:nvPr/>
        </p:nvSpPr>
        <p:spPr bwMode="auto">
          <a:xfrm>
            <a:off x="7640692" y="3450292"/>
            <a:ext cx="47314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8B7D70"/>
                </a:solidFill>
              </a:rPr>
              <a:t>7.1%</a:t>
            </a:r>
          </a:p>
        </p:txBody>
      </p:sp>
      <p:sp>
        <p:nvSpPr>
          <p:cNvPr id="8" name="TextBox 17"/>
          <p:cNvSpPr txBox="1">
            <a:spLocks noChangeArrowheads="1"/>
          </p:cNvSpPr>
          <p:nvPr/>
        </p:nvSpPr>
        <p:spPr bwMode="auto">
          <a:xfrm>
            <a:off x="7633039" y="3797980"/>
            <a:ext cx="47314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72B5CC"/>
                </a:solidFill>
              </a:rPr>
              <a:t>6.6%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936061" y="4639776"/>
            <a:ext cx="332414" cy="309562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1976" tIns="71976" rIns="71976" bIns="71976" anchor="ctr"/>
          <a:lstStyle/>
          <a:p>
            <a:pPr algn="ctr">
              <a:spcBef>
                <a:spcPct val="50000"/>
              </a:spcBef>
              <a:defRPr/>
            </a:pPr>
            <a:endParaRPr lang="en-CA" sz="1100" b="1" dirty="0">
              <a:solidFill>
                <a:srgbClr val="001965"/>
              </a:solidFill>
              <a:latin typeface="Verdana" charset="0"/>
            </a:endParaRPr>
          </a:p>
        </p:txBody>
      </p:sp>
      <p:grpSp>
        <p:nvGrpSpPr>
          <p:cNvPr id="10" name="Group 8"/>
          <p:cNvGrpSpPr>
            <a:grpSpLocks/>
          </p:cNvGrpSpPr>
          <p:nvPr/>
        </p:nvGrpSpPr>
        <p:grpSpPr bwMode="auto">
          <a:xfrm rot="540000">
            <a:off x="915318" y="4383561"/>
            <a:ext cx="226552" cy="138478"/>
            <a:chOff x="1172224" y="4819950"/>
            <a:chExt cx="227873" cy="185084"/>
          </a:xfrm>
        </p:grpSpPr>
        <p:cxnSp>
          <p:nvCxnSpPr>
            <p:cNvPr id="11" name="Straight Connector 9"/>
            <p:cNvCxnSpPr>
              <a:cxnSpLocks noChangeShapeType="1"/>
            </p:cNvCxnSpPr>
            <p:nvPr/>
          </p:nvCxnSpPr>
          <p:spPr bwMode="auto">
            <a:xfrm flipV="1">
              <a:off x="1188562" y="4833037"/>
              <a:ext cx="135466" cy="135467"/>
            </a:xfrm>
            <a:prstGeom prst="line">
              <a:avLst/>
            </a:prstGeom>
            <a:noFill/>
            <a:ln w="28575" algn="ctr">
              <a:solidFill>
                <a:srgbClr val="00196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10"/>
            <p:cNvCxnSpPr>
              <a:cxnSpLocks noChangeShapeType="1"/>
            </p:cNvCxnSpPr>
            <p:nvPr/>
          </p:nvCxnSpPr>
          <p:spPr bwMode="auto">
            <a:xfrm flipV="1">
              <a:off x="1223952" y="4869566"/>
              <a:ext cx="135466" cy="135468"/>
            </a:xfrm>
            <a:prstGeom prst="line">
              <a:avLst/>
            </a:prstGeom>
            <a:noFill/>
            <a:ln w="28575" algn="ctr">
              <a:solidFill>
                <a:srgbClr val="00196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11"/>
            <p:cNvCxnSpPr>
              <a:cxnSpLocks noChangeShapeType="1"/>
            </p:cNvCxnSpPr>
            <p:nvPr/>
          </p:nvCxnSpPr>
          <p:spPr bwMode="auto">
            <a:xfrm rot="21060000" flipV="1">
              <a:off x="1172224" y="4819950"/>
              <a:ext cx="227873" cy="161963"/>
            </a:xfrm>
            <a:prstGeom prst="line">
              <a:avLst/>
            </a:prstGeom>
            <a:noFill/>
            <a:ln w="25400" algn="ctr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" name="TextBox 18"/>
          <p:cNvSpPr txBox="1">
            <a:spLocks noChangeArrowheads="1"/>
          </p:cNvSpPr>
          <p:nvPr/>
        </p:nvSpPr>
        <p:spPr bwMode="auto">
          <a:xfrm rot="16200000">
            <a:off x="-801931" y="3435312"/>
            <a:ext cx="228669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HbA1c (%)</a:t>
            </a:r>
          </a:p>
        </p:txBody>
      </p:sp>
      <p:sp>
        <p:nvSpPr>
          <p:cNvPr id="19" name="TextBox 7"/>
          <p:cNvSpPr txBox="1">
            <a:spLocks noChangeArrowheads="1"/>
          </p:cNvSpPr>
          <p:nvPr/>
        </p:nvSpPr>
        <p:spPr bwMode="auto">
          <a:xfrm>
            <a:off x="2954101" y="4861105"/>
            <a:ext cx="208791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Time (weeks)</a:t>
            </a:r>
          </a:p>
        </p:txBody>
      </p:sp>
      <p:grpSp>
        <p:nvGrpSpPr>
          <p:cNvPr id="20" name="Group 30"/>
          <p:cNvGrpSpPr>
            <a:grpSpLocks/>
          </p:cNvGrpSpPr>
          <p:nvPr/>
        </p:nvGrpSpPr>
        <p:grpSpPr bwMode="auto">
          <a:xfrm>
            <a:off x="6971363" y="1874508"/>
            <a:ext cx="1188981" cy="400742"/>
            <a:chOff x="2613553" y="6022809"/>
            <a:chExt cx="1188443" cy="535393"/>
          </a:xfrm>
        </p:grpSpPr>
        <p:grpSp>
          <p:nvGrpSpPr>
            <p:cNvPr id="21" name="Group 24"/>
            <p:cNvGrpSpPr>
              <a:grpSpLocks/>
            </p:cNvGrpSpPr>
            <p:nvPr/>
          </p:nvGrpSpPr>
          <p:grpSpPr bwMode="auto">
            <a:xfrm>
              <a:off x="2613553" y="6022809"/>
              <a:ext cx="1084295" cy="270094"/>
              <a:chOff x="2613553" y="6022809"/>
              <a:chExt cx="1084295" cy="270094"/>
            </a:xfrm>
          </p:grpSpPr>
          <p:sp>
            <p:nvSpPr>
              <p:cNvPr id="30" name="Diamond 38"/>
              <p:cNvSpPr>
                <a:spLocks noChangeArrowheads="1"/>
              </p:cNvSpPr>
              <p:nvPr/>
            </p:nvSpPr>
            <p:spPr bwMode="auto">
              <a:xfrm>
                <a:off x="2613553" y="6100518"/>
                <a:ext cx="143935" cy="192385"/>
              </a:xfrm>
              <a:prstGeom prst="ellipse">
                <a:avLst/>
              </a:prstGeom>
              <a:solidFill>
                <a:srgbClr val="72B5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857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28" name="TextBox 27"/>
              <p:cNvSpPr txBox="1">
                <a:spLocks noChangeArrowheads="1"/>
              </p:cNvSpPr>
              <p:nvPr/>
            </p:nvSpPr>
            <p:spPr bwMode="auto">
              <a:xfrm>
                <a:off x="2752183" y="6022809"/>
                <a:ext cx="945665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>
                    <a:solidFill>
                      <a:srgbClr val="72B5CC"/>
                    </a:solidFill>
                  </a:rPr>
                  <a:t>IDegLira (n=278)</a:t>
                </a:r>
              </a:p>
            </p:txBody>
          </p:sp>
        </p:grpSp>
        <p:grpSp>
          <p:nvGrpSpPr>
            <p:cNvPr id="22" name="Group 25"/>
            <p:cNvGrpSpPr>
              <a:grpSpLocks/>
            </p:cNvGrpSpPr>
            <p:nvPr/>
          </p:nvGrpSpPr>
          <p:grpSpPr bwMode="auto">
            <a:xfrm>
              <a:off x="2613553" y="6297781"/>
              <a:ext cx="1188443" cy="260421"/>
              <a:chOff x="2698223" y="6297781"/>
              <a:chExt cx="1188443" cy="260421"/>
            </a:xfrm>
          </p:grpSpPr>
          <p:sp>
            <p:nvSpPr>
              <p:cNvPr id="26" name="Rectangle 34"/>
              <p:cNvSpPr>
                <a:spLocks noChangeArrowheads="1"/>
              </p:cNvSpPr>
              <p:nvPr/>
            </p:nvSpPr>
            <p:spPr bwMode="auto">
              <a:xfrm>
                <a:off x="2698223" y="6352908"/>
                <a:ext cx="143935" cy="192385"/>
              </a:xfrm>
              <a:prstGeom prst="triangle">
                <a:avLst>
                  <a:gd name="adj" fmla="val 50000"/>
                </a:avLst>
              </a:prstGeom>
              <a:solidFill>
                <a:srgbClr val="8B7D70"/>
              </a:solidFill>
              <a:ln w="28575">
                <a:noFill/>
                <a:round/>
                <a:headEnd/>
                <a:tailEnd/>
              </a:ln>
              <a:extLst/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24" name="TextBox 34"/>
              <p:cNvSpPr txBox="1">
                <a:spLocks noChangeArrowheads="1"/>
              </p:cNvSpPr>
              <p:nvPr/>
            </p:nvSpPr>
            <p:spPr bwMode="auto">
              <a:xfrm>
                <a:off x="2836853" y="6297781"/>
                <a:ext cx="1049813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 err="1">
                    <a:solidFill>
                      <a:srgbClr val="8B7D70"/>
                    </a:solidFill>
                  </a:rPr>
                  <a:t>IGlar</a:t>
                </a:r>
                <a:r>
                  <a:rPr lang="en-GB" sz="1000" dirty="0">
                    <a:solidFill>
                      <a:srgbClr val="8B7D70"/>
                    </a:solidFill>
                  </a:rPr>
                  <a:t> U100 (n=279)</a:t>
                </a:r>
              </a:p>
            </p:txBody>
          </p:sp>
        </p:grpSp>
      </p:grpSp>
      <p:sp>
        <p:nvSpPr>
          <p:cNvPr id="33" name="TextBox 17"/>
          <p:cNvSpPr txBox="1">
            <a:spLocks noChangeArrowheads="1"/>
          </p:cNvSpPr>
          <p:nvPr/>
        </p:nvSpPr>
        <p:spPr bwMode="auto">
          <a:xfrm>
            <a:off x="7624351" y="3210937"/>
            <a:ext cx="39299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AEA79F"/>
                </a:solidFill>
              </a:rPr>
              <a:t>EOT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094689" y="3203442"/>
            <a:ext cx="1065440" cy="205170"/>
          </a:xfrm>
          <a:prstGeom prst="rect">
            <a:avLst/>
          </a:prstGeom>
          <a:noFill/>
        </p:spPr>
        <p:txBody>
          <a:bodyPr wrap="square" lIns="91426" tIns="45713" rIns="91426" bIns="45713" rtlCol="0">
            <a:spAutoFit/>
          </a:bodyPr>
          <a:lstStyle/>
          <a:p>
            <a:pPr algn="ctr"/>
            <a:r>
              <a:rPr lang="en-GB" sz="1100" b="1" dirty="0">
                <a:solidFill>
                  <a:srgbClr val="AEA79F"/>
                </a:solidFill>
              </a:rPr>
              <a:t>ET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05777" y="4504830"/>
            <a:ext cx="335582" cy="276985"/>
          </a:xfrm>
          <a:prstGeom prst="rect">
            <a:avLst/>
          </a:prstGeom>
          <a:solidFill>
            <a:srgbClr val="FFFFFF"/>
          </a:solidFill>
        </p:spPr>
        <p:txBody>
          <a:bodyPr wrap="square" lIns="91426" tIns="45713" rIns="91426" bIns="45713" rtlCol="0">
            <a:spAutoFit/>
          </a:bodyPr>
          <a:lstStyle/>
          <a:p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17" name="TextBox 21"/>
          <p:cNvSpPr txBox="1">
            <a:spLocks noChangeArrowheads="1"/>
          </p:cNvSpPr>
          <p:nvPr/>
        </p:nvSpPr>
        <p:spPr bwMode="auto">
          <a:xfrm>
            <a:off x="540535" y="4463059"/>
            <a:ext cx="433694" cy="20517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GB" sz="1100" dirty="0">
                <a:solidFill>
                  <a:srgbClr val="001965"/>
                </a:solidFill>
              </a:rPr>
              <a:t>0.0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7560889" y="3443930"/>
            <a:ext cx="521230" cy="0"/>
          </a:xfrm>
          <a:prstGeom prst="line">
            <a:avLst/>
          </a:prstGeom>
          <a:ln>
            <a:solidFill>
              <a:srgbClr val="AEA7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8094690" y="3445436"/>
            <a:ext cx="1115805" cy="307762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en-GB" sz="700" dirty="0">
                <a:solidFill>
                  <a:srgbClr val="001965"/>
                </a:solidFill>
              </a:rPr>
              <a:t>–0.59%</a:t>
            </a:r>
            <a:br>
              <a:rPr lang="en-GB" sz="700" dirty="0">
                <a:solidFill>
                  <a:srgbClr val="001965"/>
                </a:solidFill>
              </a:rPr>
            </a:br>
            <a:r>
              <a:rPr lang="en-GB" sz="700" dirty="0">
                <a:solidFill>
                  <a:srgbClr val="001965"/>
                </a:solidFill>
              </a:rPr>
              <a:t>[–0.74; –0.45]95% CI,</a:t>
            </a:r>
            <a:br>
              <a:rPr lang="en-GB" sz="700" dirty="0">
                <a:solidFill>
                  <a:srgbClr val="001965"/>
                </a:solidFill>
              </a:rPr>
            </a:br>
            <a:r>
              <a:rPr lang="en-GB" sz="700" i="1" dirty="0">
                <a:solidFill>
                  <a:srgbClr val="001965"/>
                </a:solidFill>
              </a:rPr>
              <a:t>p</a:t>
            </a:r>
            <a:r>
              <a:rPr lang="en-GB" sz="700" dirty="0">
                <a:solidFill>
                  <a:srgbClr val="001965"/>
                </a:solidFill>
              </a:rPr>
              <a:t>&lt;0.001 </a:t>
            </a:r>
          </a:p>
        </p:txBody>
      </p:sp>
      <p:sp>
        <p:nvSpPr>
          <p:cNvPr id="34" name="Rectangle 4"/>
          <p:cNvSpPr>
            <a:spLocks noChangeArrowheads="1"/>
          </p:cNvSpPr>
          <p:nvPr/>
        </p:nvSpPr>
        <p:spPr bwMode="auto">
          <a:xfrm>
            <a:off x="246223" y="5493661"/>
            <a:ext cx="8198426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90" tIns="71990" rIns="71990" bIns="71990" anchor="b"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Mean observed values with error bars (95% CI) based on FAS and last observation carried forward-imputed data 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Treatment difference is estimated from an ANCOVA analysis </a:t>
            </a:r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while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∆ 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  <a:ea typeface="Verdana" pitchFamily="34" charset="0"/>
                <a:cs typeface="Verdana" pitchFamily="34" charset="0"/>
              </a:rPr>
              <a:t>values are observed last observation carried forward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---ADA/EASD HbA1c target &lt;7.0%; AACE HbA1c target ≤6.5% 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AACE, American Association of Clinical Endocrinologists; ADA, American Diabetes Association; ANCOVA, analysis of covariance; EASD, European Association for </a:t>
            </a:r>
          </a:p>
          <a:p>
            <a:pPr defTabSz="91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the Study of Diabetes; EOT, end of treatment; FAS, full analysis set; IDegLira, insulin degludec/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liraglutide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; 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IGlar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 U100, insulin glargine 100 units/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mL.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Lingvay </a:t>
            </a:r>
            <a:r>
              <a:rPr lang="fr-FR" sz="700" i="1" dirty="0">
                <a:solidFill>
                  <a:srgbClr val="FFFFFF">
                    <a:lumMod val="50000"/>
                  </a:srgbClr>
                </a:solidFill>
              </a:rPr>
              <a:t>et al. JAMA</a:t>
            </a: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2016;315:898-907; Lingvay </a:t>
            </a:r>
            <a:r>
              <a:rPr lang="en-US" sz="700" i="1" dirty="0">
                <a:solidFill>
                  <a:srgbClr val="FFFFFF">
                    <a:lumMod val="50000"/>
                  </a:srgbClr>
                </a:solidFill>
              </a:rPr>
              <a:t>et al.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Diabetes 2016;65 (Suppl.1):A63 (Abstract 239-OR) presented at ADA 76th Scientific Sessions.</a:t>
            </a:r>
            <a:endParaRPr lang="fr-FR" sz="7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0" name="Title 1"/>
          <p:cNvSpPr txBox="1">
            <a:spLocks/>
          </p:cNvSpPr>
          <p:nvPr/>
        </p:nvSpPr>
        <p:spPr bwMode="auto">
          <a:xfrm>
            <a:off x="317502" y="1187619"/>
            <a:ext cx="8509000" cy="66202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r>
              <a:rPr lang="da-DK" dirty="0">
                <a:solidFill>
                  <a:srgbClr val="001965"/>
                </a:solidFill>
              </a:rPr>
              <a:t>DUAL V</a:t>
            </a:r>
            <a:br>
              <a:rPr lang="da-DK" dirty="0">
                <a:solidFill>
                  <a:srgbClr val="001965"/>
                </a:solidFill>
              </a:rPr>
            </a:br>
            <a:r>
              <a:rPr lang="en-GB" sz="1600" dirty="0">
                <a:solidFill>
                  <a:srgbClr val="72B5CC"/>
                </a:solidFill>
              </a:rPr>
              <a:t>HbA1c over time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8159968" y="3442815"/>
            <a:ext cx="969043" cy="0"/>
          </a:xfrm>
          <a:prstGeom prst="line">
            <a:avLst/>
          </a:prstGeom>
          <a:ln>
            <a:solidFill>
              <a:srgbClr val="AEA7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Down Arrow 40"/>
          <p:cNvSpPr/>
          <p:nvPr/>
        </p:nvSpPr>
        <p:spPr>
          <a:xfrm>
            <a:off x="6475751" y="2781805"/>
            <a:ext cx="1081534" cy="1189220"/>
          </a:xfrm>
          <a:prstGeom prst="downArrow">
            <a:avLst>
              <a:gd name="adj1" fmla="val 50000"/>
              <a:gd name="adj2" fmla="val 29458"/>
            </a:avLst>
          </a:prstGeom>
          <a:gradFill>
            <a:gsLst>
              <a:gs pos="0">
                <a:schemeClr val="bg1"/>
              </a:gs>
              <a:gs pos="100000">
                <a:srgbClr val="72B5CC">
                  <a:alpha val="74000"/>
                </a:srgb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/>
          <p:cNvSpPr/>
          <p:nvPr/>
        </p:nvSpPr>
        <p:spPr>
          <a:xfrm>
            <a:off x="6604390" y="3128236"/>
            <a:ext cx="838875" cy="200041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en-GB" sz="1050" b="1" dirty="0">
                <a:solidFill>
                  <a:srgbClr val="001965"/>
                </a:solidFill>
              </a:rPr>
              <a:t>-1.8%</a:t>
            </a:r>
          </a:p>
        </p:txBody>
      </p:sp>
      <p:cxnSp>
        <p:nvCxnSpPr>
          <p:cNvPr id="43" name="Straight Connector 42"/>
          <p:cNvCxnSpPr/>
          <p:nvPr/>
        </p:nvCxnSpPr>
        <p:spPr bwMode="auto">
          <a:xfrm>
            <a:off x="1046599" y="2781804"/>
            <a:ext cx="536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82786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246741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2" y="1333776"/>
            <a:ext cx="8509000" cy="390525"/>
          </a:xfrm>
        </p:spPr>
        <p:txBody>
          <a:bodyPr/>
          <a:lstStyle/>
          <a:p>
            <a:r>
              <a:rPr lang="en-GB" dirty="0"/>
              <a:t>DUAL V</a:t>
            </a:r>
            <a:br>
              <a:rPr lang="en-GB" dirty="0"/>
            </a:br>
            <a:r>
              <a:rPr lang="en-GB" sz="1600" dirty="0">
                <a:solidFill>
                  <a:srgbClr val="72B5CC"/>
                </a:solidFill>
              </a:rPr>
              <a:t>Daily insulin dose</a:t>
            </a:r>
            <a:endParaRPr lang="en-GB" sz="1600" dirty="0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246223" y="5493661"/>
            <a:ext cx="8198426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90" tIns="71990" rIns="71990" bIns="71990" anchor="b"/>
          <a:lstStyle/>
          <a:p>
            <a:pPr defTabSz="913995"/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*There was no maximum dose for </a:t>
            </a:r>
            <a:r>
              <a:rPr lang="en-US" altLang="en-US" sz="700" dirty="0" err="1">
                <a:solidFill>
                  <a:srgbClr val="FFFFFF">
                    <a:lumMod val="50000"/>
                  </a:srgbClr>
                </a:solidFill>
              </a:rPr>
              <a:t>IGlar</a:t>
            </a:r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 U100</a:t>
            </a:r>
          </a:p>
          <a:p>
            <a:pPr defTabSz="913995"/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Mean observed values with error bars (95% CI) based on SAS and LOCF imputed data</a:t>
            </a:r>
          </a:p>
          <a:p>
            <a:pPr defTabSz="913995"/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T</a:t>
            </a:r>
            <a:r>
              <a:rPr lang="en-US" altLang="en-US" sz="700" dirty="0" err="1">
                <a:solidFill>
                  <a:srgbClr val="FFFFFF">
                    <a:lumMod val="50000"/>
                  </a:srgbClr>
                </a:solidFill>
              </a:rPr>
              <a:t>reatment</a:t>
            </a:r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 difference is estimated from an ANCOVA analysis</a:t>
            </a:r>
          </a:p>
          <a:p>
            <a:pPr defTabSz="91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ANCOVA, analysis of covariance; IDegLira, insulin degludec/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liraglutide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; 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IGlar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 U100, insulin glargine 100 units/mL; LOCF, last observation carried forward; 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SAS, safety analysis set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Lingvay </a:t>
            </a:r>
            <a:r>
              <a:rPr lang="fr-FR" sz="700" i="1" dirty="0">
                <a:solidFill>
                  <a:srgbClr val="FFFFFF">
                    <a:lumMod val="50000"/>
                  </a:srgbClr>
                </a:solidFill>
              </a:rPr>
              <a:t>et al. JAMA</a:t>
            </a: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2016;315:898-907</a:t>
            </a:r>
            <a:endParaRPr lang="fr-FR" sz="7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4" name="Group 30"/>
          <p:cNvGrpSpPr>
            <a:grpSpLocks/>
          </p:cNvGrpSpPr>
          <p:nvPr/>
        </p:nvGrpSpPr>
        <p:grpSpPr bwMode="auto">
          <a:xfrm>
            <a:off x="6971363" y="1874508"/>
            <a:ext cx="1188981" cy="400742"/>
            <a:chOff x="2613553" y="6022809"/>
            <a:chExt cx="1188443" cy="535393"/>
          </a:xfrm>
        </p:grpSpPr>
        <p:grpSp>
          <p:nvGrpSpPr>
            <p:cNvPr id="28" name="Group 24"/>
            <p:cNvGrpSpPr>
              <a:grpSpLocks/>
            </p:cNvGrpSpPr>
            <p:nvPr/>
          </p:nvGrpSpPr>
          <p:grpSpPr bwMode="auto">
            <a:xfrm>
              <a:off x="2613553" y="6022809"/>
              <a:ext cx="1084295" cy="270094"/>
              <a:chOff x="2613553" y="6022809"/>
              <a:chExt cx="1084295" cy="270094"/>
            </a:xfrm>
          </p:grpSpPr>
          <p:sp>
            <p:nvSpPr>
              <p:cNvPr id="32" name="Diamond 38"/>
              <p:cNvSpPr>
                <a:spLocks noChangeArrowheads="1"/>
              </p:cNvSpPr>
              <p:nvPr/>
            </p:nvSpPr>
            <p:spPr bwMode="auto">
              <a:xfrm>
                <a:off x="2613553" y="6100518"/>
                <a:ext cx="143935" cy="192385"/>
              </a:xfrm>
              <a:prstGeom prst="ellipse">
                <a:avLst/>
              </a:prstGeom>
              <a:solidFill>
                <a:srgbClr val="72B5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857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34" name="TextBox 33"/>
              <p:cNvSpPr txBox="1">
                <a:spLocks noChangeArrowheads="1"/>
              </p:cNvSpPr>
              <p:nvPr/>
            </p:nvSpPr>
            <p:spPr bwMode="auto">
              <a:xfrm>
                <a:off x="2752183" y="6022809"/>
                <a:ext cx="945665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>
                    <a:solidFill>
                      <a:srgbClr val="72B5CC"/>
                    </a:solidFill>
                  </a:rPr>
                  <a:t>IDegLira (n=278)</a:t>
                </a:r>
              </a:p>
            </p:txBody>
          </p:sp>
        </p:grpSp>
        <p:grpSp>
          <p:nvGrpSpPr>
            <p:cNvPr id="29" name="Group 25"/>
            <p:cNvGrpSpPr>
              <a:grpSpLocks/>
            </p:cNvGrpSpPr>
            <p:nvPr/>
          </p:nvGrpSpPr>
          <p:grpSpPr bwMode="auto">
            <a:xfrm>
              <a:off x="2613553" y="6297781"/>
              <a:ext cx="1188443" cy="260421"/>
              <a:chOff x="2698223" y="6297781"/>
              <a:chExt cx="1188443" cy="260421"/>
            </a:xfrm>
          </p:grpSpPr>
          <p:sp>
            <p:nvSpPr>
              <p:cNvPr id="30" name="Rectangle 34"/>
              <p:cNvSpPr>
                <a:spLocks noChangeArrowheads="1"/>
              </p:cNvSpPr>
              <p:nvPr/>
            </p:nvSpPr>
            <p:spPr bwMode="auto">
              <a:xfrm>
                <a:off x="2698223" y="6352908"/>
                <a:ext cx="143935" cy="192385"/>
              </a:xfrm>
              <a:prstGeom prst="triangle">
                <a:avLst>
                  <a:gd name="adj" fmla="val 50000"/>
                </a:avLst>
              </a:prstGeom>
              <a:solidFill>
                <a:srgbClr val="8B7D70"/>
              </a:solidFill>
              <a:ln w="28575">
                <a:noFill/>
                <a:round/>
                <a:headEnd/>
                <a:tailEnd/>
              </a:ln>
              <a:extLst/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31" name="TextBox 34"/>
              <p:cNvSpPr txBox="1">
                <a:spLocks noChangeArrowheads="1"/>
              </p:cNvSpPr>
              <p:nvPr/>
            </p:nvSpPr>
            <p:spPr bwMode="auto">
              <a:xfrm>
                <a:off x="2836853" y="6297781"/>
                <a:ext cx="1049813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 err="1">
                    <a:solidFill>
                      <a:srgbClr val="8B7D70"/>
                    </a:solidFill>
                  </a:rPr>
                  <a:t>IGlar</a:t>
                </a:r>
                <a:r>
                  <a:rPr lang="en-GB" sz="1000" dirty="0">
                    <a:solidFill>
                      <a:srgbClr val="8B7D70"/>
                    </a:solidFill>
                  </a:rPr>
                  <a:t> U100 (n=279)</a:t>
                </a:r>
              </a:p>
            </p:txBody>
          </p:sp>
        </p:grpSp>
      </p:grpSp>
      <p:graphicFrame>
        <p:nvGraphicFramePr>
          <p:cNvPr id="27" name="Content Placeholder 2"/>
          <p:cNvGraphicFramePr>
            <a:graphicFrameLocks/>
          </p:cNvGraphicFramePr>
          <p:nvPr>
            <p:extLst/>
          </p:nvPr>
        </p:nvGraphicFramePr>
        <p:xfrm>
          <a:off x="-18712" y="2202819"/>
          <a:ext cx="6970784" cy="27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TextBox 18"/>
          <p:cNvSpPr txBox="1">
            <a:spLocks noChangeArrowheads="1"/>
          </p:cNvSpPr>
          <p:nvPr/>
        </p:nvSpPr>
        <p:spPr bwMode="auto">
          <a:xfrm rot="16200000">
            <a:off x="-585818" y="3385929"/>
            <a:ext cx="228669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Dose (units)</a:t>
            </a:r>
          </a:p>
        </p:txBody>
      </p:sp>
      <p:sp>
        <p:nvSpPr>
          <p:cNvPr id="40" name="TextBox 39"/>
          <p:cNvSpPr txBox="1">
            <a:spLocks noChangeArrowheads="1"/>
          </p:cNvSpPr>
          <p:nvPr/>
        </p:nvSpPr>
        <p:spPr bwMode="auto">
          <a:xfrm>
            <a:off x="6717398" y="3167392"/>
            <a:ext cx="84654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72B5CC"/>
                </a:solidFill>
              </a:rPr>
              <a:t>41 U</a:t>
            </a:r>
          </a:p>
        </p:txBody>
      </p:sp>
      <p:sp>
        <p:nvSpPr>
          <p:cNvPr id="41" name="TextBox 40"/>
          <p:cNvSpPr txBox="1">
            <a:spLocks noChangeArrowheads="1"/>
          </p:cNvSpPr>
          <p:nvPr/>
        </p:nvSpPr>
        <p:spPr bwMode="auto">
          <a:xfrm>
            <a:off x="6717399" y="2345161"/>
            <a:ext cx="84654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8B7D70"/>
                </a:solidFill>
              </a:rPr>
              <a:t>66 U</a:t>
            </a:r>
          </a:p>
        </p:txBody>
      </p:sp>
      <p:sp>
        <p:nvSpPr>
          <p:cNvPr id="47" name="TextBox 7"/>
          <p:cNvSpPr txBox="1">
            <a:spLocks noChangeArrowheads="1"/>
          </p:cNvSpPr>
          <p:nvPr/>
        </p:nvSpPr>
        <p:spPr bwMode="auto">
          <a:xfrm>
            <a:off x="2954101" y="4861105"/>
            <a:ext cx="208791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Time (weeks)</a:t>
            </a:r>
          </a:p>
        </p:txBody>
      </p:sp>
      <p:sp>
        <p:nvSpPr>
          <p:cNvPr id="3" name="Down Arrow 2"/>
          <p:cNvSpPr/>
          <p:nvPr/>
        </p:nvSpPr>
        <p:spPr>
          <a:xfrm>
            <a:off x="7307026" y="2480877"/>
            <a:ext cx="1229872" cy="819243"/>
          </a:xfrm>
          <a:prstGeom prst="downArrow">
            <a:avLst>
              <a:gd name="adj1" fmla="val 50000"/>
              <a:gd name="adj2" fmla="val 29458"/>
            </a:avLst>
          </a:prstGeom>
          <a:gradFill>
            <a:gsLst>
              <a:gs pos="0">
                <a:srgbClr val="82786F">
                  <a:alpha val="35000"/>
                </a:srgbClr>
              </a:gs>
              <a:gs pos="100000">
                <a:srgbClr val="72B5CC">
                  <a:alpha val="74000"/>
                </a:srgb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/>
          <p:cNvSpPr/>
          <p:nvPr/>
        </p:nvSpPr>
        <p:spPr>
          <a:xfrm>
            <a:off x="7502525" y="2572896"/>
            <a:ext cx="838875" cy="338540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en-GB" sz="800" b="1" dirty="0">
                <a:solidFill>
                  <a:srgbClr val="001965"/>
                </a:solidFill>
              </a:rPr>
              <a:t>25 insulin units less </a:t>
            </a:r>
          </a:p>
          <a:p>
            <a:pPr algn="ctr"/>
            <a:endParaRPr lang="en-GB" sz="800" b="1" i="1" dirty="0">
              <a:solidFill>
                <a:srgbClr val="001965"/>
              </a:solidFill>
            </a:endParaRPr>
          </a:p>
          <a:p>
            <a:pPr algn="ctr"/>
            <a:r>
              <a:rPr lang="en-GB" sz="700" b="1" i="1" dirty="0">
                <a:solidFill>
                  <a:srgbClr val="001965"/>
                </a:solidFill>
              </a:rPr>
              <a:t>p</a:t>
            </a:r>
            <a:r>
              <a:rPr lang="en-GB" sz="700" b="1" dirty="0">
                <a:solidFill>
                  <a:srgbClr val="001965"/>
                </a:solidFill>
              </a:rPr>
              <a:t>&lt;0.001</a:t>
            </a:r>
            <a:r>
              <a:rPr lang="en-GB" sz="800" b="1" dirty="0">
                <a:solidFill>
                  <a:srgbClr val="001965"/>
                </a:solidFill>
              </a:rPr>
              <a:t> </a:t>
            </a:r>
            <a:endParaRPr lang="en-US" sz="800" b="1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9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2" y="1325610"/>
            <a:ext cx="8509000" cy="390525"/>
          </a:xfrm>
        </p:spPr>
        <p:txBody>
          <a:bodyPr/>
          <a:lstStyle/>
          <a:p>
            <a:r>
              <a:rPr lang="en-GB" dirty="0"/>
              <a:t>DUAL V</a:t>
            </a:r>
            <a:br>
              <a:rPr lang="en-GB" dirty="0"/>
            </a:br>
            <a:r>
              <a:rPr lang="en-GB" sz="1600" dirty="0">
                <a:solidFill>
                  <a:srgbClr val="72B5CC"/>
                </a:solidFill>
              </a:rPr>
              <a:t>Change in body weight over time</a:t>
            </a: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auto">
          <a:xfrm>
            <a:off x="246223" y="5493661"/>
            <a:ext cx="8198426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90" tIns="71990" rIns="71990" bIns="71990" anchor="b"/>
          <a:lstStyle/>
          <a:p>
            <a:pPr defTabSz="91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Mean observed values with error bars (95% CI) based on FAS and LOCF imputed data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Treatment difference is estimated from an ANCOVA analysis </a:t>
            </a:r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while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∆ 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  <a:ea typeface="Verdana" pitchFamily="34" charset="0"/>
                <a:cs typeface="Verdana" pitchFamily="34" charset="0"/>
              </a:rPr>
              <a:t>values are observed LOCF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ANCOVA, analysis of covariance; FAS, full analysis set; IDegLira, insulin degludec/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liraglutide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; 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IGlar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 U100, insulin glargine 100 units/mL; 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LOCF, last observation carried forward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Lingvay </a:t>
            </a:r>
            <a:r>
              <a:rPr lang="fr-FR" sz="700" i="1" dirty="0">
                <a:solidFill>
                  <a:srgbClr val="FFFFFF">
                    <a:lumMod val="50000"/>
                  </a:srgbClr>
                </a:solidFill>
              </a:rPr>
              <a:t>et al. JAMA</a:t>
            </a: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2016;315:898-907</a:t>
            </a:r>
            <a:endParaRPr lang="fr-FR" sz="7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8" name="Group 30"/>
          <p:cNvGrpSpPr>
            <a:grpSpLocks/>
          </p:cNvGrpSpPr>
          <p:nvPr/>
        </p:nvGrpSpPr>
        <p:grpSpPr bwMode="auto">
          <a:xfrm>
            <a:off x="6971363" y="1874508"/>
            <a:ext cx="1188981" cy="400742"/>
            <a:chOff x="2613553" y="6022809"/>
            <a:chExt cx="1188443" cy="535393"/>
          </a:xfrm>
        </p:grpSpPr>
        <p:grpSp>
          <p:nvGrpSpPr>
            <p:cNvPr id="29" name="Group 24"/>
            <p:cNvGrpSpPr>
              <a:grpSpLocks/>
            </p:cNvGrpSpPr>
            <p:nvPr/>
          </p:nvGrpSpPr>
          <p:grpSpPr bwMode="auto">
            <a:xfrm>
              <a:off x="2613553" y="6022809"/>
              <a:ext cx="1084295" cy="270094"/>
              <a:chOff x="2613553" y="6022809"/>
              <a:chExt cx="1084295" cy="270094"/>
            </a:xfrm>
          </p:grpSpPr>
          <p:sp>
            <p:nvSpPr>
              <p:cNvPr id="41" name="Diamond 38"/>
              <p:cNvSpPr>
                <a:spLocks noChangeArrowheads="1"/>
              </p:cNvSpPr>
              <p:nvPr/>
            </p:nvSpPr>
            <p:spPr bwMode="auto">
              <a:xfrm>
                <a:off x="2613553" y="6100518"/>
                <a:ext cx="143935" cy="192385"/>
              </a:xfrm>
              <a:prstGeom prst="ellipse">
                <a:avLst/>
              </a:prstGeom>
              <a:solidFill>
                <a:srgbClr val="72B5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857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42" name="TextBox 41"/>
              <p:cNvSpPr txBox="1">
                <a:spLocks noChangeArrowheads="1"/>
              </p:cNvSpPr>
              <p:nvPr/>
            </p:nvSpPr>
            <p:spPr bwMode="auto">
              <a:xfrm>
                <a:off x="2752183" y="6022809"/>
                <a:ext cx="945665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>
                    <a:solidFill>
                      <a:srgbClr val="72B5CC"/>
                    </a:solidFill>
                  </a:rPr>
                  <a:t>IDegLira (n=278)</a:t>
                </a:r>
              </a:p>
            </p:txBody>
          </p:sp>
        </p:grpSp>
        <p:grpSp>
          <p:nvGrpSpPr>
            <p:cNvPr id="31" name="Group 25"/>
            <p:cNvGrpSpPr>
              <a:grpSpLocks/>
            </p:cNvGrpSpPr>
            <p:nvPr/>
          </p:nvGrpSpPr>
          <p:grpSpPr bwMode="auto">
            <a:xfrm>
              <a:off x="2613553" y="6297781"/>
              <a:ext cx="1188443" cy="260421"/>
              <a:chOff x="2698223" y="6297781"/>
              <a:chExt cx="1188443" cy="260421"/>
            </a:xfrm>
          </p:grpSpPr>
          <p:sp>
            <p:nvSpPr>
              <p:cNvPr id="39" name="Rectangle 34"/>
              <p:cNvSpPr>
                <a:spLocks noChangeArrowheads="1"/>
              </p:cNvSpPr>
              <p:nvPr/>
            </p:nvSpPr>
            <p:spPr bwMode="auto">
              <a:xfrm>
                <a:off x="2698223" y="6352908"/>
                <a:ext cx="143935" cy="192385"/>
              </a:xfrm>
              <a:prstGeom prst="triangle">
                <a:avLst>
                  <a:gd name="adj" fmla="val 50000"/>
                </a:avLst>
              </a:prstGeom>
              <a:solidFill>
                <a:srgbClr val="8B7D70"/>
              </a:solidFill>
              <a:ln w="28575">
                <a:noFill/>
                <a:round/>
                <a:headEnd/>
                <a:tailEnd/>
              </a:ln>
              <a:extLst/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40" name="TextBox 34"/>
              <p:cNvSpPr txBox="1">
                <a:spLocks noChangeArrowheads="1"/>
              </p:cNvSpPr>
              <p:nvPr/>
            </p:nvSpPr>
            <p:spPr bwMode="auto">
              <a:xfrm>
                <a:off x="2836853" y="6297781"/>
                <a:ext cx="1049813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 err="1">
                    <a:solidFill>
                      <a:srgbClr val="8B7D70"/>
                    </a:solidFill>
                  </a:rPr>
                  <a:t>IGlar</a:t>
                </a:r>
                <a:r>
                  <a:rPr lang="en-GB" sz="1000" dirty="0">
                    <a:solidFill>
                      <a:srgbClr val="8B7D70"/>
                    </a:solidFill>
                  </a:rPr>
                  <a:t> U100 (n=279)</a:t>
                </a:r>
              </a:p>
            </p:txBody>
          </p:sp>
        </p:grpSp>
      </p:grpSp>
      <p:graphicFrame>
        <p:nvGraphicFramePr>
          <p:cNvPr id="33" name="Content Placeholder 2"/>
          <p:cNvGraphicFramePr>
            <a:graphicFrameLocks noGrp="1"/>
          </p:cNvGraphicFramePr>
          <p:nvPr>
            <p:ph idx="1"/>
            <p:extLst/>
          </p:nvPr>
        </p:nvGraphicFramePr>
        <p:xfrm>
          <a:off x="71989" y="2216985"/>
          <a:ext cx="7213201" cy="279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4" name="Straight Connector 33"/>
          <p:cNvCxnSpPr/>
          <p:nvPr/>
        </p:nvCxnSpPr>
        <p:spPr bwMode="auto">
          <a:xfrm>
            <a:off x="1022946" y="3609328"/>
            <a:ext cx="5948410" cy="3642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1965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TextBox 18"/>
          <p:cNvSpPr txBox="1">
            <a:spLocks noChangeArrowheads="1"/>
          </p:cNvSpPr>
          <p:nvPr/>
        </p:nvSpPr>
        <p:spPr bwMode="auto">
          <a:xfrm rot="16200000">
            <a:off x="-777164" y="3413405"/>
            <a:ext cx="228669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Change in body weight (kg)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7425009" y="4516002"/>
            <a:ext cx="457200" cy="186036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1976" tIns="71976" rIns="71976" bIns="71976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</a:pPr>
            <a:endParaRPr lang="en-CA" b="1" dirty="0">
              <a:solidFill>
                <a:srgbClr val="001965"/>
              </a:solidFill>
              <a:latin typeface="Verdana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871873" y="4611636"/>
            <a:ext cx="457200" cy="309449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1976" tIns="71976" rIns="71976" bIns="71976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</a:pPr>
            <a:endParaRPr lang="en-CA" b="1" dirty="0">
              <a:solidFill>
                <a:srgbClr val="001965"/>
              </a:solidFill>
              <a:latin typeface="Verdana" charset="0"/>
            </a:endParaRPr>
          </a:p>
        </p:txBody>
      </p:sp>
      <p:sp>
        <p:nvSpPr>
          <p:cNvPr id="47" name="TextBox 7"/>
          <p:cNvSpPr txBox="1">
            <a:spLocks noChangeArrowheads="1"/>
          </p:cNvSpPr>
          <p:nvPr/>
        </p:nvSpPr>
        <p:spPr bwMode="auto">
          <a:xfrm>
            <a:off x="6231305" y="2619763"/>
            <a:ext cx="208791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8B7D70"/>
                </a:solidFill>
              </a:rPr>
              <a:t>+1.8 kg</a:t>
            </a:r>
          </a:p>
        </p:txBody>
      </p:sp>
      <p:sp>
        <p:nvSpPr>
          <p:cNvPr id="48" name="TextBox 7"/>
          <p:cNvSpPr txBox="1">
            <a:spLocks noChangeArrowheads="1"/>
          </p:cNvSpPr>
          <p:nvPr/>
        </p:nvSpPr>
        <p:spPr bwMode="auto">
          <a:xfrm>
            <a:off x="6238369" y="4156687"/>
            <a:ext cx="208791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b="1" dirty="0">
                <a:solidFill>
                  <a:srgbClr val="72B5CC"/>
                </a:solidFill>
              </a:rPr>
              <a:t>–1.4 kg</a:t>
            </a:r>
          </a:p>
        </p:txBody>
      </p:sp>
      <p:sp>
        <p:nvSpPr>
          <p:cNvPr id="3" name="Up-Down Arrow 2"/>
          <p:cNvSpPr/>
          <p:nvPr/>
        </p:nvSpPr>
        <p:spPr>
          <a:xfrm>
            <a:off x="7200159" y="2885217"/>
            <a:ext cx="1166542" cy="1329830"/>
          </a:xfrm>
          <a:prstGeom prst="upDownArrow">
            <a:avLst>
              <a:gd name="adj1" fmla="val 50000"/>
              <a:gd name="adj2" fmla="val 36529"/>
            </a:avLst>
          </a:prstGeom>
          <a:gradFill>
            <a:gsLst>
              <a:gs pos="0">
                <a:srgbClr val="82786F">
                  <a:alpha val="35000"/>
                </a:srgbClr>
              </a:gs>
              <a:gs pos="100000">
                <a:srgbClr val="72B5CC">
                  <a:alpha val="74000"/>
                </a:srgb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/>
          <p:cNvSpPr/>
          <p:nvPr/>
        </p:nvSpPr>
        <p:spPr>
          <a:xfrm>
            <a:off x="7361197" y="3241922"/>
            <a:ext cx="838875" cy="420614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en-GB" sz="800" b="1" dirty="0">
                <a:solidFill>
                  <a:srgbClr val="001965"/>
                </a:solidFill>
              </a:rPr>
              <a:t>3.2 kg weight difference</a:t>
            </a:r>
          </a:p>
          <a:p>
            <a:pPr algn="ctr"/>
            <a:endParaRPr lang="en-GB" sz="800" b="1" i="1" dirty="0">
              <a:solidFill>
                <a:srgbClr val="001965"/>
              </a:solidFill>
            </a:endParaRPr>
          </a:p>
          <a:p>
            <a:pPr algn="ctr"/>
            <a:r>
              <a:rPr lang="en-GB" sz="700" b="1" i="1" dirty="0">
                <a:solidFill>
                  <a:srgbClr val="001965"/>
                </a:solidFill>
              </a:rPr>
              <a:t>p</a:t>
            </a:r>
            <a:r>
              <a:rPr lang="en-GB" sz="700" b="1" dirty="0">
                <a:solidFill>
                  <a:srgbClr val="001965"/>
                </a:solidFill>
              </a:rPr>
              <a:t>&lt;0.001</a:t>
            </a:r>
            <a:r>
              <a:rPr lang="en-GB" sz="800" b="1" dirty="0">
                <a:solidFill>
                  <a:srgbClr val="001965"/>
                </a:solidFill>
              </a:rPr>
              <a:t> </a:t>
            </a:r>
            <a:endParaRPr lang="en-US" sz="800" b="1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217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2" y="1333776"/>
            <a:ext cx="8509000" cy="390525"/>
          </a:xfrm>
        </p:spPr>
        <p:txBody>
          <a:bodyPr/>
          <a:lstStyle/>
          <a:p>
            <a:r>
              <a:rPr lang="en-GB" dirty="0"/>
              <a:t>DUAL V</a:t>
            </a:r>
            <a:br>
              <a:rPr lang="en-GB" dirty="0"/>
            </a:br>
            <a:r>
              <a:rPr lang="en-GB" sz="1600" dirty="0">
                <a:solidFill>
                  <a:srgbClr val="72B5CC"/>
                </a:solidFill>
              </a:rPr>
              <a:t>Confirmed hypoglycaemia</a:t>
            </a:r>
            <a:endParaRPr lang="en-GB" sz="1600" dirty="0"/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350688" y="1929243"/>
          <a:ext cx="7053964" cy="3077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8"/>
          <p:cNvSpPr txBox="1">
            <a:spLocks noChangeArrowheads="1"/>
          </p:cNvSpPr>
          <p:nvPr/>
        </p:nvSpPr>
        <p:spPr bwMode="auto">
          <a:xfrm rot="16200000">
            <a:off x="-860518" y="3477527"/>
            <a:ext cx="2554282" cy="20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Number of episodes per subject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1103721" y="2567049"/>
            <a:ext cx="2973947" cy="654322"/>
          </a:xfrm>
          <a:prstGeom prst="roundRect">
            <a:avLst>
              <a:gd name="adj" fmla="val 8459"/>
            </a:avLst>
          </a:prstGeom>
          <a:solidFill>
            <a:schemeClr val="bg1"/>
          </a:solidFill>
          <a:ln>
            <a:noFill/>
          </a:ln>
          <a:effectLst>
            <a:innerShdw blurRad="76200" dist="19050" dir="13800000">
              <a:prstClr val="black">
                <a:alpha val="1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1965"/>
              </a:solidFill>
            </a:endParaRPr>
          </a:p>
        </p:txBody>
      </p:sp>
      <p:graphicFrame>
        <p:nvGraphicFramePr>
          <p:cNvPr id="45" name="Table 44"/>
          <p:cNvGraphicFramePr>
            <a:graphicFrameLocks noGrp="1"/>
          </p:cNvGraphicFramePr>
          <p:nvPr>
            <p:extLst/>
          </p:nvPr>
        </p:nvGraphicFramePr>
        <p:xfrm>
          <a:off x="1168716" y="2597055"/>
          <a:ext cx="2908947" cy="518350"/>
        </p:xfrm>
        <a:graphic>
          <a:graphicData uri="http://schemas.openxmlformats.org/drawingml/2006/table">
            <a:tbl>
              <a:tblPr firstRow="1" bandRow="1"/>
              <a:tblGrid>
                <a:gridCol w="11787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50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50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9175">
                <a:tc>
                  <a:txBody>
                    <a:bodyPr/>
                    <a:lstStyle/>
                    <a:p>
                      <a:pPr algn="l"/>
                      <a:endParaRPr lang="en-US" sz="1100" baseline="-25000" dirty="0">
                        <a:solidFill>
                          <a:srgbClr val="001965"/>
                        </a:solidFill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spc="-50" baseline="0" dirty="0">
                          <a:solidFill>
                            <a:srgbClr val="72B5CC"/>
                          </a:solidFill>
                        </a:rPr>
                        <a:t>IDegLira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spc="-50" baseline="0" dirty="0" err="1">
                          <a:solidFill>
                            <a:srgbClr val="8B7D70"/>
                          </a:solidFill>
                        </a:rPr>
                        <a:t>IGlar</a:t>
                      </a:r>
                      <a:r>
                        <a:rPr lang="en-US" sz="1100" b="1" spc="-50" baseline="0" dirty="0">
                          <a:solidFill>
                            <a:srgbClr val="8B7D70"/>
                          </a:solidFill>
                        </a:rPr>
                        <a:t> U100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175"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100" spc="-50" dirty="0">
                          <a:solidFill>
                            <a:srgbClr val="8C7E76"/>
                          </a:solidFill>
                        </a:rPr>
                        <a:t>HbA</a:t>
                      </a:r>
                      <a:r>
                        <a:rPr lang="en-US" sz="1100" spc="-50" baseline="-25000" dirty="0">
                          <a:solidFill>
                            <a:srgbClr val="8C7E76"/>
                          </a:solidFill>
                        </a:rPr>
                        <a:t>1c </a:t>
                      </a:r>
                      <a:r>
                        <a:rPr lang="en-US" sz="1100" spc="-50" baseline="0" dirty="0">
                          <a:solidFill>
                            <a:srgbClr val="8C7E76"/>
                          </a:solidFill>
                        </a:rPr>
                        <a:t>at week 26</a:t>
                      </a:r>
                      <a:endParaRPr lang="en-US" sz="1100" spc="-50" baseline="-25000" dirty="0">
                        <a:solidFill>
                          <a:srgbClr val="8C7E76"/>
                        </a:solidFill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100" b="0" kern="1200" spc="0" baseline="0" dirty="0">
                          <a:solidFill>
                            <a:srgbClr val="72B5CC"/>
                          </a:solidFill>
                          <a:latin typeface="+mn-lt"/>
                          <a:ea typeface="+mn-ea"/>
                          <a:cs typeface="+mn-cs"/>
                        </a:rPr>
                        <a:t>6.6</a:t>
                      </a:r>
                      <a:r>
                        <a:rPr lang="en-US" sz="800" b="0" kern="1200" spc="0" baseline="0" dirty="0">
                          <a:solidFill>
                            <a:srgbClr val="72B5CC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18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378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566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754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5943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132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320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509" algn="l" defTabSz="914378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100" b="0" kern="1200" spc="0" baseline="0" dirty="0">
                          <a:solidFill>
                            <a:srgbClr val="8B7D70"/>
                          </a:solidFill>
                          <a:latin typeface="+mn-lt"/>
                          <a:ea typeface="+mn-ea"/>
                          <a:cs typeface="+mn-cs"/>
                        </a:rPr>
                        <a:t>7.1</a:t>
                      </a:r>
                      <a:r>
                        <a:rPr lang="en-US" sz="800" b="0" kern="1200" spc="0" baseline="0" dirty="0">
                          <a:solidFill>
                            <a:srgbClr val="8B7D70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TextBox 7"/>
          <p:cNvSpPr txBox="1">
            <a:spLocks noChangeArrowheads="1"/>
          </p:cNvSpPr>
          <p:nvPr/>
        </p:nvSpPr>
        <p:spPr bwMode="auto">
          <a:xfrm>
            <a:off x="2954101" y="4861105"/>
            <a:ext cx="2087915" cy="205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sz="1100" dirty="0">
                <a:solidFill>
                  <a:srgbClr val="001965"/>
                </a:solidFill>
              </a:rPr>
              <a:t>Time (weeks)</a:t>
            </a: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246223" y="5493661"/>
            <a:ext cx="8198426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1990" tIns="71990" rIns="71990" bIns="71990" anchor="b"/>
          <a:lstStyle/>
          <a:p>
            <a:pPr defTabSz="913995"/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Mean cumulative function based on SAS</a:t>
            </a:r>
          </a:p>
          <a:p>
            <a:r>
              <a:rPr lang="en-US" altLang="en-US" sz="700" dirty="0">
                <a:solidFill>
                  <a:srgbClr val="FFFFFF">
                    <a:lumMod val="50000"/>
                  </a:srgbClr>
                </a:solidFill>
              </a:rPr>
              <a:t>Treatment ratio is estimated from a negative binomial model based on FAS</a:t>
            </a:r>
          </a:p>
          <a:p>
            <a:pPr defTabSz="91404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ERR, estimated rate ratio; FAS, full analysis set; IDegLira, insulin degludec/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liraglutide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; </a:t>
            </a:r>
            <a:r>
              <a:rPr lang="en-GB" sz="700" dirty="0" err="1">
                <a:solidFill>
                  <a:srgbClr val="FFFFFF">
                    <a:lumMod val="50000"/>
                  </a:srgbClr>
                </a:solidFill>
              </a:rPr>
              <a:t>IGlar</a:t>
            </a:r>
            <a:r>
              <a:rPr lang="en-GB" sz="700" dirty="0">
                <a:solidFill>
                  <a:srgbClr val="FFFFFF">
                    <a:lumMod val="50000"/>
                  </a:srgbClr>
                </a:solidFill>
              </a:rPr>
              <a:t> U100, insulin glargine 100 units/mL; SAS, safety analysis set</a:t>
            </a:r>
            <a:br>
              <a:rPr lang="en-GB" sz="700" dirty="0">
                <a:solidFill>
                  <a:srgbClr val="FFFFFF">
                    <a:lumMod val="50000"/>
                  </a:srgbClr>
                </a:solidFill>
              </a:rPr>
            </a:b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Lingvay </a:t>
            </a:r>
            <a:r>
              <a:rPr lang="fr-FR" sz="700" i="1" dirty="0">
                <a:solidFill>
                  <a:srgbClr val="FFFFFF">
                    <a:lumMod val="50000"/>
                  </a:srgbClr>
                </a:solidFill>
              </a:rPr>
              <a:t>et al. JAMA</a:t>
            </a:r>
            <a:r>
              <a:rPr lang="fr-FR" sz="700" dirty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</a:rPr>
              <a:t>2016;315:898-907</a:t>
            </a:r>
            <a:endParaRPr lang="fr-FR" sz="7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5" name="Group 30"/>
          <p:cNvGrpSpPr>
            <a:grpSpLocks/>
          </p:cNvGrpSpPr>
          <p:nvPr/>
        </p:nvGrpSpPr>
        <p:grpSpPr bwMode="auto">
          <a:xfrm>
            <a:off x="6971363" y="1874508"/>
            <a:ext cx="1188981" cy="400742"/>
            <a:chOff x="2613553" y="6022809"/>
            <a:chExt cx="1188443" cy="535393"/>
          </a:xfrm>
        </p:grpSpPr>
        <p:grpSp>
          <p:nvGrpSpPr>
            <p:cNvPr id="34" name="Group 24"/>
            <p:cNvGrpSpPr>
              <a:grpSpLocks/>
            </p:cNvGrpSpPr>
            <p:nvPr/>
          </p:nvGrpSpPr>
          <p:grpSpPr bwMode="auto">
            <a:xfrm>
              <a:off x="2613553" y="6022809"/>
              <a:ext cx="1084295" cy="270094"/>
              <a:chOff x="2613553" y="6022809"/>
              <a:chExt cx="1084295" cy="270094"/>
            </a:xfrm>
          </p:grpSpPr>
          <p:sp>
            <p:nvSpPr>
              <p:cNvPr id="38" name="Diamond 38"/>
              <p:cNvSpPr>
                <a:spLocks noChangeArrowheads="1"/>
              </p:cNvSpPr>
              <p:nvPr/>
            </p:nvSpPr>
            <p:spPr bwMode="auto">
              <a:xfrm>
                <a:off x="2613553" y="6100518"/>
                <a:ext cx="143935" cy="192385"/>
              </a:xfrm>
              <a:prstGeom prst="ellipse">
                <a:avLst/>
              </a:prstGeom>
              <a:solidFill>
                <a:srgbClr val="72B5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857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39" name="TextBox 38"/>
              <p:cNvSpPr txBox="1">
                <a:spLocks noChangeArrowheads="1"/>
              </p:cNvSpPr>
              <p:nvPr/>
            </p:nvSpPr>
            <p:spPr bwMode="auto">
              <a:xfrm>
                <a:off x="2752183" y="6022809"/>
                <a:ext cx="945665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>
                    <a:solidFill>
                      <a:srgbClr val="72B5CC"/>
                    </a:solidFill>
                  </a:rPr>
                  <a:t>IDegLira (n=278)</a:t>
                </a:r>
              </a:p>
            </p:txBody>
          </p:sp>
        </p:grpSp>
        <p:grpSp>
          <p:nvGrpSpPr>
            <p:cNvPr id="35" name="Group 25"/>
            <p:cNvGrpSpPr>
              <a:grpSpLocks/>
            </p:cNvGrpSpPr>
            <p:nvPr/>
          </p:nvGrpSpPr>
          <p:grpSpPr bwMode="auto">
            <a:xfrm>
              <a:off x="2613553" y="6297781"/>
              <a:ext cx="1188443" cy="260421"/>
              <a:chOff x="2698223" y="6297781"/>
              <a:chExt cx="1188443" cy="260421"/>
            </a:xfrm>
          </p:grpSpPr>
          <p:sp>
            <p:nvSpPr>
              <p:cNvPr id="36" name="Rectangle 34"/>
              <p:cNvSpPr>
                <a:spLocks noChangeArrowheads="1"/>
              </p:cNvSpPr>
              <p:nvPr/>
            </p:nvSpPr>
            <p:spPr bwMode="auto">
              <a:xfrm>
                <a:off x="2698223" y="6352908"/>
                <a:ext cx="143935" cy="192385"/>
              </a:xfrm>
              <a:prstGeom prst="triangle">
                <a:avLst>
                  <a:gd name="adj" fmla="val 50000"/>
                </a:avLst>
              </a:prstGeom>
              <a:solidFill>
                <a:srgbClr val="8B7D70"/>
              </a:solidFill>
              <a:ln w="28575">
                <a:noFill/>
                <a:round/>
                <a:headEnd/>
                <a:tailEnd/>
              </a:ln>
              <a:extLst/>
            </p:spPr>
            <p:txBody>
              <a:bodyPr anchor="ctr"/>
              <a:lstStyle/>
              <a:p>
                <a:pPr algn="ctr">
                  <a:defRPr/>
                </a:pPr>
                <a:endParaRPr lang="en-GB" sz="1100" dirty="0">
                  <a:solidFill>
                    <a:srgbClr val="001965"/>
                  </a:solidFill>
                  <a:latin typeface="Verdana"/>
                </a:endParaRPr>
              </a:p>
            </p:txBody>
          </p:sp>
          <p:sp>
            <p:nvSpPr>
              <p:cNvPr id="37" name="TextBox 34"/>
              <p:cNvSpPr txBox="1">
                <a:spLocks noChangeArrowheads="1"/>
              </p:cNvSpPr>
              <p:nvPr/>
            </p:nvSpPr>
            <p:spPr bwMode="auto">
              <a:xfrm>
                <a:off x="2836853" y="6297781"/>
                <a:ext cx="1049813" cy="2604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pitchFamily="34" charset="0"/>
                  </a:defRPr>
                </a:lvl9pPr>
              </a:lstStyle>
              <a:p>
                <a:pPr eaLnBrk="1" hangingPunct="1"/>
                <a:r>
                  <a:rPr lang="en-GB" sz="1000" dirty="0" err="1">
                    <a:solidFill>
                      <a:srgbClr val="8B7D70"/>
                    </a:solidFill>
                  </a:rPr>
                  <a:t>IGlar</a:t>
                </a:r>
                <a:r>
                  <a:rPr lang="en-GB" sz="1000" dirty="0">
                    <a:solidFill>
                      <a:srgbClr val="8B7D70"/>
                    </a:solidFill>
                  </a:rPr>
                  <a:t> U100 (n=279)</a:t>
                </a:r>
              </a:p>
            </p:txBody>
          </p:sp>
        </p:grpSp>
      </p:grpSp>
      <p:sp>
        <p:nvSpPr>
          <p:cNvPr id="21" name="Down Arrow 20"/>
          <p:cNvSpPr/>
          <p:nvPr/>
        </p:nvSpPr>
        <p:spPr>
          <a:xfrm>
            <a:off x="7013553" y="2567049"/>
            <a:ext cx="1229872" cy="1095442"/>
          </a:xfrm>
          <a:prstGeom prst="downArrow">
            <a:avLst>
              <a:gd name="adj1" fmla="val 50000"/>
              <a:gd name="adj2" fmla="val 29458"/>
            </a:avLst>
          </a:prstGeom>
          <a:gradFill>
            <a:gsLst>
              <a:gs pos="0">
                <a:srgbClr val="82786F">
                  <a:alpha val="35000"/>
                </a:srgbClr>
              </a:gs>
              <a:gs pos="100000">
                <a:srgbClr val="72B5CC">
                  <a:alpha val="74000"/>
                </a:srgb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/>
        </p:nvSpPr>
        <p:spPr>
          <a:xfrm>
            <a:off x="7209053" y="2760271"/>
            <a:ext cx="838875" cy="338540"/>
          </a:xfrm>
          <a:prstGeom prst="rect">
            <a:avLst/>
          </a:prstGeom>
        </p:spPr>
        <p:txBody>
          <a:bodyPr wrap="square" lIns="91426" tIns="45713" rIns="91426" bIns="45713">
            <a:spAutoFit/>
          </a:bodyPr>
          <a:lstStyle/>
          <a:p>
            <a:pPr algn="ctr"/>
            <a:r>
              <a:rPr lang="en-GB" sz="800" b="1" dirty="0">
                <a:solidFill>
                  <a:srgbClr val="001965"/>
                </a:solidFill>
              </a:rPr>
              <a:t>57% less hypo’s </a:t>
            </a:r>
          </a:p>
          <a:p>
            <a:pPr algn="ctr"/>
            <a:endParaRPr lang="en-GB" sz="800" b="1" i="1" dirty="0">
              <a:solidFill>
                <a:srgbClr val="001965"/>
              </a:solidFill>
            </a:endParaRPr>
          </a:p>
          <a:p>
            <a:pPr algn="ctr"/>
            <a:r>
              <a:rPr lang="en-GB" sz="700" b="1" i="1" dirty="0">
                <a:solidFill>
                  <a:srgbClr val="001965"/>
                </a:solidFill>
              </a:rPr>
              <a:t>p</a:t>
            </a:r>
            <a:r>
              <a:rPr lang="en-GB" sz="700" b="1" dirty="0">
                <a:solidFill>
                  <a:srgbClr val="001965"/>
                </a:solidFill>
              </a:rPr>
              <a:t>&lt;0.001</a:t>
            </a:r>
            <a:r>
              <a:rPr lang="en-GB" sz="800" b="1" dirty="0">
                <a:solidFill>
                  <a:srgbClr val="001965"/>
                </a:solidFill>
              </a:rPr>
              <a:t> </a:t>
            </a:r>
            <a:endParaRPr lang="en-US" sz="800" b="1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52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800" y="1063626"/>
            <a:ext cx="8510400" cy="391412"/>
          </a:xfrm>
        </p:spPr>
        <p:txBody>
          <a:bodyPr/>
          <a:lstStyle/>
          <a:p>
            <a:r>
              <a:rPr lang="en-GB" dirty="0" err="1">
                <a:solidFill>
                  <a:srgbClr val="72B5CC"/>
                </a:solidFill>
              </a:rPr>
              <a:t>Terugbetalingscriteria</a:t>
            </a:r>
            <a:r>
              <a:rPr lang="en-GB" dirty="0">
                <a:solidFill>
                  <a:srgbClr val="72B5CC"/>
                </a:solidFill>
              </a:rPr>
              <a:t> </a:t>
            </a:r>
            <a:r>
              <a:rPr lang="en-GB" dirty="0" err="1">
                <a:solidFill>
                  <a:srgbClr val="72B5CC"/>
                </a:solidFill>
              </a:rPr>
              <a:t>Xultophy</a:t>
            </a:r>
            <a:r>
              <a:rPr lang="en-GB" baseline="30000" dirty="0">
                <a:solidFill>
                  <a:srgbClr val="72B5CC"/>
                </a:solidFill>
              </a:rPr>
              <a:t>®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9FAB3-31B1-409E-92E4-4C0885D0CD84}" type="slidenum">
              <a:rPr lang="en-GB" smtClean="0">
                <a:solidFill>
                  <a:srgbClr val="82786F"/>
                </a:solidFill>
              </a:rPr>
              <a:pPr>
                <a:defRPr/>
              </a:pPr>
              <a:t>69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9665" y="5769918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l-NL" sz="900" dirty="0">
                <a:solidFill>
                  <a:schemeClr val="bg1">
                    <a:lumMod val="50000"/>
                  </a:schemeClr>
                </a:solidFill>
              </a:rPr>
              <a:t>*www.riziv.be geraadpleegd op 1 september 2018</a:t>
            </a:r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46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052" y="1589993"/>
            <a:ext cx="6846914" cy="417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34931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r>
              <a:rPr lang="nl-BE" altLang="nl-BE">
                <a:ea typeface="Geneva"/>
                <a:cs typeface="Geneva"/>
              </a:rPr>
              <a:t>Vermindering van vasculaire </a:t>
            </a:r>
            <a:r>
              <a:rPr lang="nl-BE" altLang="nl-BE" sz="2800">
                <a:ea typeface="Geneva"/>
                <a:cs typeface="Geneva"/>
              </a:rPr>
              <a:t>complicaties</a:t>
            </a:r>
          </a:p>
        </p:txBody>
      </p:sp>
      <p:sp>
        <p:nvSpPr>
          <p:cNvPr id="53251" name="Tijdelijke aanduiding voor dianummer 3"/>
          <p:cNvSpPr>
            <a:spLocks noGrp="1"/>
          </p:cNvSpPr>
          <p:nvPr>
            <p:ph type="sldNum" sz="quarter" idx="10"/>
          </p:nvPr>
        </p:nvSpPr>
        <p:spPr>
          <a:xfrm>
            <a:off x="6340475" y="6400800"/>
            <a:ext cx="2651125" cy="3429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nl-NL" altLang="nl-BE" sz="1000">
                <a:solidFill>
                  <a:srgbClr val="191919"/>
                </a:solidFill>
                <a:latin typeface="Arial" panose="020B0604020202020204" pitchFamily="34" charset="0"/>
              </a:rPr>
              <a:t>EW. Gregg et al., NEJM 370;1514-1523</a:t>
            </a:r>
          </a:p>
        </p:txBody>
      </p:sp>
      <p:pic>
        <p:nvPicPr>
          <p:cNvPr id="5325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06575" y="1470025"/>
            <a:ext cx="4838700" cy="50673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9085013"/>
      </p:ext>
    </p:extLst>
  </p:cSld>
  <p:clrMapOvr>
    <a:masterClrMapping/>
  </p:clrMapOvr>
  <p:transition>
    <p:fade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2" y="1392501"/>
            <a:ext cx="8509000" cy="390525"/>
          </a:xfrm>
        </p:spPr>
        <p:txBody>
          <a:bodyPr>
            <a:normAutofit/>
          </a:bodyPr>
          <a:lstStyle/>
          <a:p>
            <a:r>
              <a:rPr lang="en-GB" dirty="0" err="1">
                <a:solidFill>
                  <a:srgbClr val="001965"/>
                </a:solidFill>
              </a:rPr>
              <a:t>Xultophy</a:t>
            </a:r>
            <a:r>
              <a:rPr lang="en-GB" baseline="30000" dirty="0">
                <a:solidFill>
                  <a:srgbClr val="001965"/>
                </a:solidFill>
              </a:rPr>
              <a:t>®</a:t>
            </a:r>
            <a:r>
              <a:rPr lang="en-GB" dirty="0">
                <a:solidFill>
                  <a:srgbClr val="001965"/>
                </a:solidFill>
              </a:rPr>
              <a:t> : </a:t>
            </a:r>
            <a:r>
              <a:rPr lang="en-GB" dirty="0" err="1">
                <a:solidFill>
                  <a:srgbClr val="001965"/>
                </a:solidFill>
              </a:rPr>
              <a:t>Praktisch</a:t>
            </a:r>
            <a:r>
              <a:rPr lang="en-GB" dirty="0">
                <a:solidFill>
                  <a:srgbClr val="001965"/>
                </a:solidFill>
              </a:rPr>
              <a:t> </a:t>
            </a:r>
            <a:r>
              <a:rPr lang="en-GB" dirty="0" err="1">
                <a:solidFill>
                  <a:srgbClr val="001965"/>
                </a:solidFill>
              </a:rPr>
              <a:t>gebrui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596" y="2076454"/>
            <a:ext cx="4409104" cy="2796779"/>
          </a:xfrm>
        </p:spPr>
        <p:txBody>
          <a:bodyPr/>
          <a:lstStyle/>
          <a:p>
            <a:r>
              <a:rPr lang="en-GB" sz="1600" b="1" dirty="0" err="1"/>
              <a:t>Posologie</a:t>
            </a:r>
            <a:endParaRPr lang="en-GB" sz="1600" b="1" dirty="0"/>
          </a:p>
          <a:p>
            <a:pPr lvl="1"/>
            <a:r>
              <a:rPr lang="en-GB" sz="1400" dirty="0" err="1"/>
              <a:t>Xultophy</a:t>
            </a:r>
            <a:r>
              <a:rPr lang="en-GB" sz="1400" baseline="30000" dirty="0"/>
              <a:t>®</a:t>
            </a:r>
            <a:r>
              <a:rPr lang="en-GB" sz="1400" dirty="0"/>
              <a:t> </a:t>
            </a:r>
            <a:r>
              <a:rPr lang="en-GB" sz="1400" dirty="0" err="1"/>
              <a:t>wordt</a:t>
            </a:r>
            <a:r>
              <a:rPr lang="en-GB" sz="1400" dirty="0"/>
              <a:t> </a:t>
            </a:r>
            <a:r>
              <a:rPr lang="en-GB" sz="1400" dirty="0" err="1"/>
              <a:t>toegediend</a:t>
            </a:r>
            <a:r>
              <a:rPr lang="en-GB" sz="1400" dirty="0"/>
              <a:t> in </a:t>
            </a:r>
            <a:r>
              <a:rPr lang="en-GB" sz="1400" dirty="0" err="1"/>
              <a:t>dosiseenheden</a:t>
            </a:r>
            <a:r>
              <a:rPr lang="en-GB" sz="1400" dirty="0"/>
              <a:t> </a:t>
            </a:r>
            <a:endParaRPr lang="en-GB" sz="1400" b="1" dirty="0"/>
          </a:p>
        </p:txBody>
      </p:sp>
      <p:sp>
        <p:nvSpPr>
          <p:cNvPr id="9" name="Line 30"/>
          <p:cNvSpPr>
            <a:spLocks noChangeShapeType="1"/>
          </p:cNvSpPr>
          <p:nvPr/>
        </p:nvSpPr>
        <p:spPr bwMode="auto">
          <a:xfrm flipH="1">
            <a:off x="5390135" y="2530763"/>
            <a:ext cx="2178395" cy="0"/>
          </a:xfrm>
          <a:prstGeom prst="line">
            <a:avLst/>
          </a:prstGeom>
          <a:noFill/>
          <a:ln w="19050">
            <a:solidFill>
              <a:srgbClr val="001965"/>
            </a:solidFill>
            <a:prstDash val="dash"/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dirty="0">
              <a:solidFill>
                <a:srgbClr val="001965"/>
              </a:solidFill>
              <a:cs typeface="Arial" pitchFamily="34" charset="0"/>
            </a:endParaRPr>
          </a:p>
        </p:txBody>
      </p:sp>
      <p:sp>
        <p:nvSpPr>
          <p:cNvPr id="10" name="Line 31"/>
          <p:cNvSpPr>
            <a:spLocks noChangeShapeType="1"/>
          </p:cNvSpPr>
          <p:nvPr/>
        </p:nvSpPr>
        <p:spPr bwMode="auto">
          <a:xfrm>
            <a:off x="7568530" y="2530763"/>
            <a:ext cx="0" cy="1911764"/>
          </a:xfrm>
          <a:prstGeom prst="line">
            <a:avLst/>
          </a:prstGeom>
          <a:noFill/>
          <a:ln w="19050">
            <a:solidFill>
              <a:srgbClr val="001965"/>
            </a:solidFill>
            <a:prstDash val="dash"/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dirty="0">
              <a:solidFill>
                <a:srgbClr val="001965"/>
              </a:solidFill>
              <a:cs typeface="Arial" pitchFamily="34" charset="0"/>
            </a:endParaRPr>
          </a:p>
        </p:txBody>
      </p:sp>
      <p:sp>
        <p:nvSpPr>
          <p:cNvPr id="11" name="AutoShape 37"/>
          <p:cNvSpPr>
            <a:spLocks noChangeArrowheads="1"/>
          </p:cNvSpPr>
          <p:nvPr/>
        </p:nvSpPr>
        <p:spPr bwMode="auto">
          <a:xfrm rot="2874025">
            <a:off x="6926799" y="3185304"/>
            <a:ext cx="228172" cy="1163674"/>
          </a:xfrm>
          <a:prstGeom prst="upArrow">
            <a:avLst>
              <a:gd name="adj1" fmla="val 50000"/>
              <a:gd name="adj2" fmla="val 169968"/>
            </a:avLst>
          </a:prstGeom>
          <a:solidFill>
            <a:schemeClr val="accent1">
              <a:alpha val="10196"/>
            </a:schemeClr>
          </a:solidFill>
          <a:ln w="317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en-GB" altLang="en-US" dirty="0">
              <a:solidFill>
                <a:srgbClr val="001965"/>
              </a:solidFill>
              <a:ea typeface="MS PGothic" pitchFamily="34" charset="-128"/>
              <a:cs typeface="Arial" pitchFamily="34" charset="0"/>
            </a:endParaRPr>
          </a:p>
        </p:txBody>
      </p:sp>
      <p:grpSp>
        <p:nvGrpSpPr>
          <p:cNvPr id="12" name="Group 11"/>
          <p:cNvGrpSpPr>
            <a:grpSpLocks/>
          </p:cNvGrpSpPr>
          <p:nvPr/>
        </p:nvGrpSpPr>
        <p:grpSpPr bwMode="auto">
          <a:xfrm>
            <a:off x="7055650" y="1601062"/>
            <a:ext cx="995241" cy="795892"/>
            <a:chOff x="8041266" y="1113090"/>
            <a:chExt cx="902458" cy="856247"/>
          </a:xfrm>
        </p:grpSpPr>
        <p:sp>
          <p:nvSpPr>
            <p:cNvPr id="13" name="Down Arrow 12"/>
            <p:cNvSpPr/>
            <p:nvPr/>
          </p:nvSpPr>
          <p:spPr>
            <a:xfrm>
              <a:off x="8408518" y="1603500"/>
              <a:ext cx="169711" cy="365837"/>
            </a:xfrm>
            <a:prstGeom prst="downArrow">
              <a:avLst/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TextBox 18"/>
            <p:cNvSpPr txBox="1">
              <a:spLocks noChangeArrowheads="1"/>
            </p:cNvSpPr>
            <p:nvPr/>
          </p:nvSpPr>
          <p:spPr bwMode="auto">
            <a:xfrm>
              <a:off x="8041266" y="1113090"/>
              <a:ext cx="902458" cy="220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r>
                <a:rPr lang="en-GB" altLang="en-US" sz="1100" b="1" dirty="0" err="1">
                  <a:solidFill>
                    <a:srgbClr val="001965"/>
                  </a:solidFill>
                  <a:cs typeface="Arial" pitchFamily="34" charset="0"/>
                </a:rPr>
                <a:t>Maximale</a:t>
              </a:r>
              <a:r>
                <a:rPr lang="en-GB" altLang="en-US" sz="1100" b="1" dirty="0">
                  <a:solidFill>
                    <a:srgbClr val="001965"/>
                  </a:solidFill>
                  <a:cs typeface="Arial" pitchFamily="34" charset="0"/>
                </a:rPr>
                <a:t> </a:t>
              </a:r>
              <a:r>
                <a:rPr lang="en-GB" altLang="en-US" sz="1100" b="1" dirty="0" err="1">
                  <a:solidFill>
                    <a:srgbClr val="001965"/>
                  </a:solidFill>
                  <a:cs typeface="Arial" pitchFamily="34" charset="0"/>
                </a:rPr>
                <a:t>dosis</a:t>
              </a:r>
              <a:endParaRPr lang="en-GB" altLang="en-US" sz="1100" b="1" dirty="0">
                <a:solidFill>
                  <a:srgbClr val="001965"/>
                </a:solidFill>
                <a:cs typeface="Arial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709033" y="2170546"/>
            <a:ext cx="3236067" cy="2481007"/>
            <a:chOff x="7345995" y="1086152"/>
            <a:chExt cx="2741826" cy="2183870"/>
          </a:xfrm>
        </p:grpSpPr>
        <p:grpSp>
          <p:nvGrpSpPr>
            <p:cNvPr id="16" name="Group 15"/>
            <p:cNvGrpSpPr/>
            <p:nvPr/>
          </p:nvGrpSpPr>
          <p:grpSpPr>
            <a:xfrm>
              <a:off x="7345995" y="1086152"/>
              <a:ext cx="2741826" cy="2183870"/>
              <a:chOff x="7345995" y="1086152"/>
              <a:chExt cx="2741826" cy="2183870"/>
            </a:xfrm>
          </p:grpSpPr>
          <p:sp>
            <p:nvSpPr>
              <p:cNvPr id="18" name="Line 27"/>
              <p:cNvSpPr>
                <a:spLocks noChangeShapeType="1"/>
              </p:cNvSpPr>
              <p:nvPr/>
            </p:nvSpPr>
            <p:spPr bwMode="auto">
              <a:xfrm flipV="1">
                <a:off x="7924584" y="1086152"/>
                <a:ext cx="0" cy="1992525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CA" dirty="0">
                  <a:solidFill>
                    <a:srgbClr val="001965"/>
                  </a:solidFill>
                  <a:cs typeface="Arial" pitchFamily="34" charset="0"/>
                </a:endParaRPr>
              </a:p>
            </p:txBody>
          </p:sp>
          <p:sp>
            <p:nvSpPr>
              <p:cNvPr id="19" name="Line 28"/>
              <p:cNvSpPr>
                <a:spLocks noChangeShapeType="1"/>
              </p:cNvSpPr>
              <p:nvPr/>
            </p:nvSpPr>
            <p:spPr bwMode="auto">
              <a:xfrm>
                <a:off x="7920559" y="3078676"/>
                <a:ext cx="2167262" cy="1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CA" dirty="0">
                  <a:solidFill>
                    <a:srgbClr val="001965"/>
                  </a:solidFill>
                  <a:cs typeface="Arial" pitchFamily="34" charset="0"/>
                </a:endParaRPr>
              </a:p>
            </p:txBody>
          </p:sp>
          <p:sp>
            <p:nvSpPr>
              <p:cNvPr id="20" name="Rectangle 29"/>
              <p:cNvSpPr>
                <a:spLocks noChangeArrowheads="1"/>
              </p:cNvSpPr>
              <p:nvPr/>
            </p:nvSpPr>
            <p:spPr bwMode="auto">
              <a:xfrm rot="16200000">
                <a:off x="7022274" y="2121487"/>
                <a:ext cx="1479427" cy="2188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72000" tIns="72000" rIns="72000" bIns="7200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en-GB" altLang="en-US" sz="1100" dirty="0" err="1">
                    <a:solidFill>
                      <a:srgbClr val="001965"/>
                    </a:solidFill>
                    <a:ea typeface="MS PGothic" pitchFamily="34" charset="-128"/>
                    <a:cs typeface="Arial" pitchFamily="34" charset="0"/>
                  </a:rPr>
                  <a:t>Liraglutide</a:t>
                </a:r>
                <a:endParaRPr lang="en-GB" altLang="en-US" sz="1100" dirty="0">
                  <a:solidFill>
                    <a:srgbClr val="001965"/>
                  </a:solidFill>
                  <a:ea typeface="MS PGothic" pitchFamily="34" charset="-128"/>
                  <a:cs typeface="Arial" pitchFamily="34" charset="0"/>
                </a:endParaRPr>
              </a:p>
            </p:txBody>
          </p:sp>
          <p:sp>
            <p:nvSpPr>
              <p:cNvPr id="21" name="Text Box 32"/>
              <p:cNvSpPr txBox="1">
                <a:spLocks noChangeArrowheads="1"/>
              </p:cNvSpPr>
              <p:nvPr/>
            </p:nvSpPr>
            <p:spPr bwMode="auto">
              <a:xfrm>
                <a:off x="7345995" y="1274657"/>
                <a:ext cx="628444" cy="209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72000" tIns="72000" rIns="72000" bIns="7200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en-GB" altLang="en-US" sz="900" b="1" dirty="0">
                    <a:solidFill>
                      <a:srgbClr val="001965"/>
                    </a:solidFill>
                    <a:ea typeface="MS PGothic" pitchFamily="34" charset="-128"/>
                    <a:cs typeface="Arial" pitchFamily="34" charset="0"/>
                  </a:rPr>
                  <a:t>1,8 mg </a:t>
                </a:r>
              </a:p>
            </p:txBody>
          </p:sp>
          <p:sp>
            <p:nvSpPr>
              <p:cNvPr id="22" name="Line 33"/>
              <p:cNvSpPr>
                <a:spLocks noChangeShapeType="1"/>
              </p:cNvSpPr>
              <p:nvPr/>
            </p:nvSpPr>
            <p:spPr bwMode="auto">
              <a:xfrm flipV="1">
                <a:off x="8018582" y="1472263"/>
                <a:ext cx="1675938" cy="1503020"/>
              </a:xfrm>
              <a:prstGeom prst="line">
                <a:avLst/>
              </a:prstGeom>
              <a:noFill/>
              <a:ln w="101600" cap="rnd">
                <a:solidFill>
                  <a:schemeClr val="tx1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0" tIns="0" rIns="0" bIns="0"/>
              <a:lstStyle/>
              <a:p>
                <a:endParaRPr lang="en-CA" dirty="0">
                  <a:solidFill>
                    <a:srgbClr val="001965"/>
                  </a:solidFill>
                  <a:cs typeface="Arial" pitchFamily="34" charset="0"/>
                </a:endParaRPr>
              </a:p>
            </p:txBody>
          </p:sp>
          <p:sp>
            <p:nvSpPr>
              <p:cNvPr id="23" name="Rectangle 34"/>
              <p:cNvSpPr>
                <a:spLocks noChangeArrowheads="1"/>
              </p:cNvSpPr>
              <p:nvPr/>
            </p:nvSpPr>
            <p:spPr bwMode="auto">
              <a:xfrm>
                <a:off x="9612605" y="3147711"/>
                <a:ext cx="322188" cy="81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93663" indent="-93663" defTabSz="981075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 defTabSz="981075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 defTabSz="981075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 defTabSz="981075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 defTabSz="981075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defTabSz="9810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defTabSz="9810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defTabSz="9810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defTabSz="9810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  <a:buSzPct val="120000"/>
                </a:pPr>
                <a:r>
                  <a:rPr lang="en-GB" altLang="en-US" sz="900" b="1" dirty="0">
                    <a:solidFill>
                      <a:srgbClr val="001965"/>
                    </a:solidFill>
                    <a:ea typeface="MS PGothic" pitchFamily="34" charset="-128"/>
                    <a:cs typeface="Arial" pitchFamily="34" charset="0"/>
                  </a:rPr>
                  <a:t>50 E</a:t>
                </a:r>
              </a:p>
            </p:txBody>
          </p:sp>
          <p:sp>
            <p:nvSpPr>
              <p:cNvPr id="24" name="Rectangle 36"/>
              <p:cNvSpPr>
                <a:spLocks noChangeArrowheads="1"/>
              </p:cNvSpPr>
              <p:nvPr/>
            </p:nvSpPr>
            <p:spPr bwMode="auto">
              <a:xfrm>
                <a:off x="7950717" y="3042694"/>
                <a:ext cx="1881312" cy="2273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72000" tIns="72000" rIns="72000" bIns="7200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en-GB" altLang="en-US" sz="1100" dirty="0" err="1">
                    <a:solidFill>
                      <a:srgbClr val="001965"/>
                    </a:solidFill>
                    <a:ea typeface="MS PGothic" pitchFamily="34" charset="-128"/>
                    <a:cs typeface="Arial" pitchFamily="34" charset="0"/>
                  </a:rPr>
                  <a:t>IDeg</a:t>
                </a:r>
                <a:endParaRPr lang="en-GB" altLang="en-US" sz="1100" dirty="0">
                  <a:solidFill>
                    <a:srgbClr val="001965"/>
                  </a:solidFill>
                  <a:ea typeface="MS PGothic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17" name="TextBox 1"/>
            <p:cNvSpPr txBox="1">
              <a:spLocks noChangeArrowheads="1"/>
            </p:cNvSpPr>
            <p:nvPr/>
          </p:nvSpPr>
          <p:spPr bwMode="auto">
            <a:xfrm rot="18996388">
              <a:off x="8612786" y="2355474"/>
              <a:ext cx="1017940" cy="207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/>
              <a:r>
                <a:rPr lang="en-GB" altLang="en-US" sz="1400" dirty="0" err="1">
                  <a:solidFill>
                    <a:srgbClr val="001965"/>
                  </a:solidFill>
                  <a:cs typeface="Arial" pitchFamily="34" charset="0"/>
                </a:rPr>
                <a:t>Titratie</a:t>
              </a:r>
              <a:endParaRPr lang="en-GB" altLang="en-US" sz="1400" dirty="0">
                <a:solidFill>
                  <a:srgbClr val="001965"/>
                </a:solidFill>
                <a:cs typeface="Arial" pitchFamily="34" charset="0"/>
              </a:endParaRPr>
            </a:p>
          </p:txBody>
        </p:sp>
      </p:grpSp>
      <p:grpSp>
        <p:nvGrpSpPr>
          <p:cNvPr id="25" name="Group 2"/>
          <p:cNvGrpSpPr>
            <a:grpSpLocks/>
          </p:cNvGrpSpPr>
          <p:nvPr/>
        </p:nvGrpSpPr>
        <p:grpSpPr bwMode="auto">
          <a:xfrm>
            <a:off x="812938" y="2958988"/>
            <a:ext cx="3521902" cy="344024"/>
            <a:chOff x="4721625" y="3558396"/>
            <a:chExt cx="5525807" cy="660863"/>
          </a:xfrm>
        </p:grpSpPr>
        <p:sp>
          <p:nvSpPr>
            <p:cNvPr id="26" name="TextBox 195"/>
            <p:cNvSpPr txBox="1">
              <a:spLocks noChangeArrowheads="1"/>
            </p:cNvSpPr>
            <p:nvPr/>
          </p:nvSpPr>
          <p:spPr bwMode="auto">
            <a:xfrm>
              <a:off x="6167232" y="3558396"/>
              <a:ext cx="4080200" cy="472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1 </a:t>
              </a:r>
              <a:r>
                <a:rPr lang="en-GB" altLang="en-US" sz="1200" dirty="0" err="1">
                  <a:solidFill>
                    <a:srgbClr val="001965"/>
                  </a:solidFill>
                  <a:ea typeface="MS PGothic" pitchFamily="34" charset="-128"/>
                </a:rPr>
                <a:t>eenheden</a:t>
              </a: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 </a:t>
              </a:r>
              <a:r>
                <a:rPr lang="en-GB" altLang="en-US" sz="1200" dirty="0" err="1">
                  <a:solidFill>
                    <a:srgbClr val="001965"/>
                  </a:solidFill>
                  <a:ea typeface="MS PGothic" pitchFamily="34" charset="-128"/>
                </a:rPr>
                <a:t>insuline</a:t>
              </a: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 degludec +</a:t>
              </a:r>
              <a:b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</a:b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0,036 mg liraglutide</a:t>
              </a:r>
            </a:p>
          </p:txBody>
        </p:sp>
        <p:sp>
          <p:nvSpPr>
            <p:cNvPr id="27" name="Rounded Rectangle 1"/>
            <p:cNvSpPr>
              <a:spLocks noChangeArrowheads="1"/>
            </p:cNvSpPr>
            <p:nvPr/>
          </p:nvSpPr>
          <p:spPr bwMode="auto">
            <a:xfrm>
              <a:off x="4721625" y="3612171"/>
              <a:ext cx="1163956" cy="607088"/>
            </a:xfrm>
            <a:prstGeom prst="roundRect">
              <a:avLst>
                <a:gd name="adj" fmla="val 16667"/>
              </a:avLst>
            </a:prstGeom>
            <a:solidFill>
              <a:srgbClr val="72B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GB" altLang="en-US" sz="1000" b="1" dirty="0">
                  <a:solidFill>
                    <a:srgbClr val="FFFFFF"/>
                  </a:solidFill>
                  <a:ea typeface="MS PGothic" pitchFamily="34" charset="-128"/>
                </a:rPr>
                <a:t>1 </a:t>
              </a:r>
              <a:r>
                <a:rPr lang="en-GB" altLang="en-US" sz="1000" b="1" dirty="0" err="1">
                  <a:solidFill>
                    <a:srgbClr val="FFFFFF"/>
                  </a:solidFill>
                  <a:ea typeface="MS PGothic" pitchFamily="34" charset="-128"/>
                </a:rPr>
                <a:t>dosis</a:t>
              </a:r>
              <a:r>
                <a:rPr lang="en-GB" altLang="en-US" sz="1000" b="1" dirty="0">
                  <a:solidFill>
                    <a:srgbClr val="FFFFFF"/>
                  </a:solidFill>
                  <a:ea typeface="MS PGothic" pitchFamily="34" charset="-128"/>
                </a:rPr>
                <a:t>-</a:t>
              </a:r>
            </a:p>
            <a:p>
              <a:pPr algn="ctr">
                <a:spcBef>
                  <a:spcPts val="0"/>
                </a:spcBef>
              </a:pPr>
              <a:r>
                <a:rPr lang="en-GB" altLang="en-US" sz="1000" b="1" dirty="0" err="1">
                  <a:solidFill>
                    <a:srgbClr val="FFFFFF"/>
                  </a:solidFill>
                  <a:ea typeface="MS PGothic" pitchFamily="34" charset="-128"/>
                </a:rPr>
                <a:t>eenheid</a:t>
              </a:r>
              <a:endParaRPr lang="en-GB" altLang="en-US" sz="10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</p:grpSp>
      <p:grpSp>
        <p:nvGrpSpPr>
          <p:cNvPr id="28" name="Group 2"/>
          <p:cNvGrpSpPr>
            <a:grpSpLocks/>
          </p:cNvGrpSpPr>
          <p:nvPr/>
        </p:nvGrpSpPr>
        <p:grpSpPr bwMode="auto">
          <a:xfrm>
            <a:off x="811158" y="3582475"/>
            <a:ext cx="3514367" cy="317426"/>
            <a:chOff x="-3362827" y="-874023"/>
            <a:chExt cx="5513976" cy="609770"/>
          </a:xfrm>
        </p:grpSpPr>
        <p:sp>
          <p:nvSpPr>
            <p:cNvPr id="29" name="TextBox 195"/>
            <p:cNvSpPr txBox="1">
              <a:spLocks noChangeArrowheads="1"/>
            </p:cNvSpPr>
            <p:nvPr/>
          </p:nvSpPr>
          <p:spPr bwMode="auto">
            <a:xfrm>
              <a:off x="-1926953" y="-874023"/>
              <a:ext cx="4078102" cy="472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16 </a:t>
              </a:r>
              <a:r>
                <a:rPr lang="en-GB" altLang="en-US" sz="1200" dirty="0" err="1">
                  <a:solidFill>
                    <a:srgbClr val="001965"/>
                  </a:solidFill>
                  <a:ea typeface="MS PGothic" pitchFamily="34" charset="-128"/>
                </a:rPr>
                <a:t>eenheden</a:t>
              </a: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 </a:t>
              </a:r>
              <a:r>
                <a:rPr lang="en-GB" altLang="en-US" sz="1200" dirty="0" err="1">
                  <a:solidFill>
                    <a:srgbClr val="001965"/>
                  </a:solidFill>
                  <a:ea typeface="MS PGothic" pitchFamily="34" charset="-128"/>
                </a:rPr>
                <a:t>insuline</a:t>
              </a: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 degludec +</a:t>
              </a:r>
              <a:b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</a:b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0,58 mg liraglutide</a:t>
              </a:r>
            </a:p>
          </p:txBody>
        </p:sp>
        <p:sp>
          <p:nvSpPr>
            <p:cNvPr id="30" name="Rounded Rectangle 1"/>
            <p:cNvSpPr>
              <a:spLocks noChangeArrowheads="1"/>
            </p:cNvSpPr>
            <p:nvPr/>
          </p:nvSpPr>
          <p:spPr bwMode="auto">
            <a:xfrm>
              <a:off x="-3362827" y="-871343"/>
              <a:ext cx="1163956" cy="607090"/>
            </a:xfrm>
            <a:prstGeom prst="roundRect">
              <a:avLst>
                <a:gd name="adj" fmla="val 16667"/>
              </a:avLst>
            </a:prstGeom>
            <a:solidFill>
              <a:srgbClr val="72B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GB" altLang="en-US" sz="1000" b="1" dirty="0">
                  <a:solidFill>
                    <a:srgbClr val="FFFFFF"/>
                  </a:solidFill>
                  <a:ea typeface="MS PGothic" pitchFamily="34" charset="-128"/>
                </a:rPr>
                <a:t>16 </a:t>
              </a:r>
              <a:r>
                <a:rPr lang="en-GB" altLang="en-US" sz="1000" b="1" dirty="0" err="1">
                  <a:solidFill>
                    <a:srgbClr val="FFFFFF"/>
                  </a:solidFill>
                  <a:ea typeface="MS PGothic" pitchFamily="34" charset="-128"/>
                </a:rPr>
                <a:t>dosis</a:t>
              </a:r>
              <a:r>
                <a:rPr lang="en-GB" altLang="en-US" sz="1000" b="1" dirty="0">
                  <a:solidFill>
                    <a:srgbClr val="FFFFFF"/>
                  </a:solidFill>
                  <a:ea typeface="MS PGothic" pitchFamily="34" charset="-128"/>
                </a:rPr>
                <a:t>-</a:t>
              </a:r>
            </a:p>
            <a:p>
              <a:pPr algn="ctr">
                <a:spcBef>
                  <a:spcPts val="0"/>
                </a:spcBef>
              </a:pPr>
              <a:r>
                <a:rPr lang="en-GB" altLang="en-US" sz="1000" b="1" dirty="0" err="1">
                  <a:solidFill>
                    <a:srgbClr val="FFFFFF"/>
                  </a:solidFill>
                  <a:ea typeface="MS PGothic" pitchFamily="34" charset="-128"/>
                </a:rPr>
                <a:t>eenheden</a:t>
              </a:r>
              <a:endParaRPr lang="en-GB" altLang="en-US" sz="10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</p:grpSp>
      <p:grpSp>
        <p:nvGrpSpPr>
          <p:cNvPr id="31" name="Group 2"/>
          <p:cNvGrpSpPr>
            <a:grpSpLocks/>
          </p:cNvGrpSpPr>
          <p:nvPr/>
        </p:nvGrpSpPr>
        <p:grpSpPr bwMode="auto">
          <a:xfrm>
            <a:off x="816217" y="4157970"/>
            <a:ext cx="3509320" cy="370800"/>
            <a:chOff x="9005526" y="2272813"/>
            <a:chExt cx="5506057" cy="712300"/>
          </a:xfrm>
        </p:grpSpPr>
        <p:sp>
          <p:nvSpPr>
            <p:cNvPr id="32" name="TextBox 195"/>
            <p:cNvSpPr txBox="1">
              <a:spLocks noChangeArrowheads="1"/>
            </p:cNvSpPr>
            <p:nvPr/>
          </p:nvSpPr>
          <p:spPr bwMode="auto">
            <a:xfrm>
              <a:off x="10431375" y="2272813"/>
              <a:ext cx="4080208" cy="712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50 </a:t>
              </a:r>
              <a:r>
                <a:rPr lang="en-GB" altLang="en-US" sz="1200" dirty="0" err="1">
                  <a:solidFill>
                    <a:srgbClr val="001965"/>
                  </a:solidFill>
                  <a:ea typeface="MS PGothic" pitchFamily="34" charset="-128"/>
                </a:rPr>
                <a:t>eenheden</a:t>
              </a: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 </a:t>
              </a:r>
              <a:r>
                <a:rPr lang="en-GB" altLang="en-US" sz="1200" dirty="0" err="1">
                  <a:solidFill>
                    <a:srgbClr val="001965"/>
                  </a:solidFill>
                  <a:ea typeface="MS PGothic" pitchFamily="34" charset="-128"/>
                </a:rPr>
                <a:t>insuline</a:t>
              </a: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 degludec + </a:t>
              </a:r>
              <a:b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</a:br>
              <a:r>
                <a:rPr lang="en-GB" altLang="en-US" sz="1200" dirty="0">
                  <a:solidFill>
                    <a:srgbClr val="001965"/>
                  </a:solidFill>
                  <a:ea typeface="MS PGothic" pitchFamily="34" charset="-128"/>
                </a:rPr>
                <a:t>1,8 mg liraglutide</a:t>
              </a:r>
            </a:p>
          </p:txBody>
        </p:sp>
        <p:sp>
          <p:nvSpPr>
            <p:cNvPr id="33" name="Rounded Rectangle 1"/>
            <p:cNvSpPr>
              <a:spLocks noChangeArrowheads="1"/>
            </p:cNvSpPr>
            <p:nvPr/>
          </p:nvSpPr>
          <p:spPr bwMode="auto">
            <a:xfrm>
              <a:off x="9005526" y="2339502"/>
              <a:ext cx="1162344" cy="607088"/>
            </a:xfrm>
            <a:prstGeom prst="roundRect">
              <a:avLst>
                <a:gd name="adj" fmla="val 18174"/>
              </a:avLst>
            </a:prstGeom>
            <a:solidFill>
              <a:srgbClr val="72B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GB" altLang="en-US" sz="1000" b="1" dirty="0">
                  <a:solidFill>
                    <a:srgbClr val="FFFFFF"/>
                  </a:solidFill>
                  <a:ea typeface="MS PGothic" pitchFamily="34" charset="-128"/>
                </a:rPr>
                <a:t>50 </a:t>
              </a:r>
              <a:r>
                <a:rPr lang="en-GB" altLang="en-US" sz="1000" b="1" dirty="0" err="1">
                  <a:solidFill>
                    <a:srgbClr val="FFFFFF"/>
                  </a:solidFill>
                  <a:ea typeface="MS PGothic" pitchFamily="34" charset="-128"/>
                </a:rPr>
                <a:t>dosis</a:t>
              </a:r>
              <a:r>
                <a:rPr lang="en-GB" altLang="en-US" sz="1000" b="1" dirty="0">
                  <a:solidFill>
                    <a:srgbClr val="FFFFFF"/>
                  </a:solidFill>
                  <a:ea typeface="MS PGothic" pitchFamily="34" charset="-128"/>
                </a:rPr>
                <a:t>-</a:t>
              </a:r>
            </a:p>
            <a:p>
              <a:pPr algn="ctr">
                <a:spcBef>
                  <a:spcPts val="0"/>
                </a:spcBef>
              </a:pPr>
              <a:r>
                <a:rPr lang="en-GB" altLang="en-US" sz="1000" b="1" dirty="0" err="1">
                  <a:solidFill>
                    <a:srgbClr val="FFFFFF"/>
                  </a:solidFill>
                  <a:ea typeface="MS PGothic" pitchFamily="34" charset="-128"/>
                </a:rPr>
                <a:t>eenheden</a:t>
              </a:r>
              <a:endParaRPr lang="en-GB" altLang="en-US" sz="10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517" y="5107325"/>
            <a:ext cx="5677705" cy="751892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517" y="5107325"/>
            <a:ext cx="5677705" cy="75189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517" y="5107325"/>
            <a:ext cx="5677705" cy="751892"/>
          </a:xfrm>
          <a:prstGeom prst="rect">
            <a:avLst/>
          </a:prstGeom>
        </p:spPr>
      </p:pic>
      <p:sp>
        <p:nvSpPr>
          <p:cNvPr id="34" name="Content Placeholder 6"/>
          <p:cNvSpPr txBox="1">
            <a:spLocks/>
          </p:cNvSpPr>
          <p:nvPr/>
        </p:nvSpPr>
        <p:spPr>
          <a:xfrm>
            <a:off x="655473" y="5689600"/>
            <a:ext cx="7537450" cy="393700"/>
          </a:xfrm>
          <a:prstGeom prst="rect">
            <a:avLst/>
          </a:prstGeom>
        </p:spPr>
        <p:txBody>
          <a:bodyPr>
            <a:normAutofit/>
          </a:bodyPr>
          <a:lstStyle>
            <a:lvl1pPr marL="265113" indent="-2651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rgbClr val="009FDA"/>
              </a:buClr>
              <a:buNone/>
              <a:defRPr/>
            </a:pPr>
            <a:r>
              <a:rPr lang="en-GB" altLang="en-US" sz="700" dirty="0">
                <a:solidFill>
                  <a:srgbClr val="FFFFFF">
                    <a:lumMod val="50000"/>
                  </a:srgbClr>
                </a:solidFill>
              </a:rPr>
              <a:t>SPC </a:t>
            </a:r>
            <a:r>
              <a:rPr lang="en-GB" altLang="en-US" sz="700" dirty="0" err="1">
                <a:solidFill>
                  <a:srgbClr val="FFFFFF">
                    <a:lumMod val="50000"/>
                  </a:srgbClr>
                </a:solidFill>
              </a:rPr>
              <a:t>Xultophy</a:t>
            </a:r>
            <a:r>
              <a:rPr lang="en-GB" altLang="en-US" sz="700" baseline="30000" dirty="0">
                <a:solidFill>
                  <a:srgbClr val="FFFFFF">
                    <a:lumMod val="50000"/>
                  </a:srgbClr>
                </a:solidFill>
              </a:rPr>
              <a:t>® </a:t>
            </a:r>
            <a:r>
              <a:rPr lang="en-GB" altLang="en-US" sz="700" dirty="0">
                <a:solidFill>
                  <a:srgbClr val="FFFFFF">
                    <a:lumMod val="50000"/>
                  </a:srgbClr>
                </a:solidFill>
              </a:rPr>
              <a:t>June 2018</a:t>
            </a:r>
            <a:endParaRPr lang="en-GB" altLang="en-US" sz="700" baseline="30000" dirty="0">
              <a:solidFill>
                <a:srgbClr val="FFFFFF">
                  <a:lumMod val="50000"/>
                </a:srgbClr>
              </a:solidFill>
            </a:endParaRPr>
          </a:p>
          <a:p>
            <a:pPr marL="0" indent="0">
              <a:buClr>
                <a:srgbClr val="009FDA"/>
              </a:buClr>
              <a:buNone/>
              <a:defRPr/>
            </a:pPr>
            <a:endParaRPr lang="en-GB" altLang="en-US" sz="100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23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2" y="1392501"/>
            <a:ext cx="8509000" cy="390525"/>
          </a:xfrm>
        </p:spPr>
        <p:txBody>
          <a:bodyPr>
            <a:normAutofit/>
          </a:bodyPr>
          <a:lstStyle/>
          <a:p>
            <a:r>
              <a:rPr lang="en-GB" dirty="0" err="1">
                <a:solidFill>
                  <a:srgbClr val="001965"/>
                </a:solidFill>
              </a:rPr>
              <a:t>Xultophy</a:t>
            </a:r>
            <a:r>
              <a:rPr lang="en-GB" baseline="30000" dirty="0">
                <a:solidFill>
                  <a:srgbClr val="001965"/>
                </a:solidFill>
              </a:rPr>
              <a:t>®</a:t>
            </a:r>
            <a:r>
              <a:rPr lang="en-GB" dirty="0">
                <a:solidFill>
                  <a:srgbClr val="001965"/>
                </a:solidFill>
              </a:rPr>
              <a:t> : </a:t>
            </a:r>
            <a:r>
              <a:rPr lang="en-GB" dirty="0" err="1">
                <a:solidFill>
                  <a:srgbClr val="001965"/>
                </a:solidFill>
              </a:rPr>
              <a:t>Titratie</a:t>
            </a:r>
            <a:endParaRPr lang="en-GB" dirty="0"/>
          </a:p>
        </p:txBody>
      </p:sp>
      <p:sp>
        <p:nvSpPr>
          <p:cNvPr id="34" name="Content Placeholder 6"/>
          <p:cNvSpPr txBox="1">
            <a:spLocks/>
          </p:cNvSpPr>
          <p:nvPr/>
        </p:nvSpPr>
        <p:spPr>
          <a:xfrm>
            <a:off x="655473" y="5689600"/>
            <a:ext cx="7537450" cy="393700"/>
          </a:xfrm>
          <a:prstGeom prst="rect">
            <a:avLst/>
          </a:prstGeom>
        </p:spPr>
        <p:txBody>
          <a:bodyPr>
            <a:normAutofit/>
          </a:bodyPr>
          <a:lstStyle>
            <a:lvl1pPr marL="265113" indent="-2651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>
                <a:srgbClr val="009FDA"/>
              </a:buClr>
              <a:buNone/>
              <a:defRPr/>
            </a:pPr>
            <a:r>
              <a:rPr lang="en-GB" altLang="en-US" sz="700" dirty="0">
                <a:solidFill>
                  <a:srgbClr val="FFFFFF">
                    <a:lumMod val="50000"/>
                  </a:srgbClr>
                </a:solidFill>
              </a:rPr>
              <a:t>SPC </a:t>
            </a:r>
            <a:r>
              <a:rPr lang="en-GB" altLang="en-US" sz="700" dirty="0" err="1">
                <a:solidFill>
                  <a:srgbClr val="FFFFFF">
                    <a:lumMod val="50000"/>
                  </a:srgbClr>
                </a:solidFill>
              </a:rPr>
              <a:t>Xultophy</a:t>
            </a:r>
            <a:r>
              <a:rPr lang="en-GB" altLang="en-US" sz="700" baseline="30000" dirty="0">
                <a:solidFill>
                  <a:srgbClr val="FFFFFF">
                    <a:lumMod val="50000"/>
                  </a:srgbClr>
                </a:solidFill>
              </a:rPr>
              <a:t>® </a:t>
            </a:r>
            <a:r>
              <a:rPr lang="en-GB" altLang="en-US" sz="700" dirty="0">
                <a:solidFill>
                  <a:srgbClr val="FFFFFF">
                    <a:lumMod val="50000"/>
                  </a:srgbClr>
                </a:solidFill>
              </a:rPr>
              <a:t>June 2018</a:t>
            </a:r>
            <a:endParaRPr lang="en-GB" altLang="en-US" sz="700" baseline="30000" dirty="0">
              <a:solidFill>
                <a:srgbClr val="FFFFFF">
                  <a:lumMod val="50000"/>
                </a:srgbClr>
              </a:solidFill>
            </a:endParaRPr>
          </a:p>
          <a:p>
            <a:pPr marL="0" indent="0">
              <a:buClr>
                <a:srgbClr val="009FDA"/>
              </a:buClr>
              <a:buNone/>
              <a:defRPr/>
            </a:pPr>
            <a:endParaRPr lang="en-GB" altLang="en-US" sz="1000" dirty="0">
              <a:solidFill>
                <a:srgbClr val="001965"/>
              </a:solidFill>
            </a:endParaRPr>
          </a:p>
        </p:txBody>
      </p:sp>
      <p:pic>
        <p:nvPicPr>
          <p:cNvPr id="1218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696" y="1898583"/>
            <a:ext cx="7336717" cy="3706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81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Veranderingen diabetesconventie 2016</a:t>
            </a:r>
          </a:p>
        </p:txBody>
      </p:sp>
      <p:pic>
        <p:nvPicPr>
          <p:cNvPr id="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9356" y="1854113"/>
            <a:ext cx="8229600" cy="3156558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7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4261856"/>
      </p:ext>
    </p:extLst>
  </p:cSld>
  <p:clrMapOvr>
    <a:masterClrMapping/>
  </p:clrMapOvr>
  <p:transition>
    <p:fade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inhoud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7500" y="1820762"/>
            <a:ext cx="8509000" cy="379908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Diabetesconventi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B31B1F-EBCB-49C1-BC9C-EB8B741B3A85}" type="slidenum">
              <a:rPr lang="en-GB" altLang="en-US" sz="2400" b="1" baseline="0" smtClean="0">
                <a:solidFill>
                  <a:srgbClr val="001965"/>
                </a:solidFill>
                <a:latin typeface="Verdana" pitchFamily="34" charset="0"/>
                <a:ea typeface="MS PGothic" pitchFamily="34" charset="-128"/>
              </a:rPr>
              <a:pPr/>
              <a:t>73</a:t>
            </a:fld>
            <a:endParaRPr lang="en-GB" altLang="en-US" sz="2400" b="1" baseline="0">
              <a:solidFill>
                <a:srgbClr val="001965"/>
              </a:solidFill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498973"/>
      </p:ext>
    </p:extLst>
  </p:cSld>
  <p:clrMapOvr>
    <a:masterClrMapping/>
  </p:clrMapOvr>
  <p:transition/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b="1" dirty="0">
                <a:solidFill>
                  <a:srgbClr val="002060"/>
                </a:solidFill>
              </a:rPr>
              <a:t>Meer flexibiliteit voor diabeteseducatie</a:t>
            </a:r>
            <a:br>
              <a:rPr lang="nl-BE" dirty="0">
                <a:solidFill>
                  <a:srgbClr val="002060"/>
                </a:solidFill>
              </a:rPr>
            </a:br>
            <a:r>
              <a:rPr lang="nl-BE" dirty="0">
                <a:solidFill>
                  <a:srgbClr val="002060"/>
                </a:solidFill>
              </a:rPr>
              <a:t>Iemand die een zorgtrajectcontract heeft ondertekend en een goedkeuring heeft gekregen, heeft o.a. nog steeds recht op educatie:  5 sessies/jaar en éénmalig 5 bijkomende sessies in het eerste kalenderjaar.</a:t>
            </a:r>
            <a:br>
              <a:rPr lang="nl-BE" dirty="0">
                <a:solidFill>
                  <a:srgbClr val="002060"/>
                </a:solidFill>
              </a:rPr>
            </a:br>
            <a:r>
              <a:rPr lang="nl-BE" dirty="0">
                <a:solidFill>
                  <a:srgbClr val="002060"/>
                </a:solidFill>
              </a:rPr>
              <a:t>Ook wie overschakelt van de diabetesconventie of al educatie gekregen heeft van een referentieverpleegkundige, heeft er recht op.</a:t>
            </a:r>
            <a:br>
              <a:rPr lang="nl-BE" dirty="0">
                <a:solidFill>
                  <a:srgbClr val="002060"/>
                </a:solidFill>
              </a:rPr>
            </a:br>
            <a:r>
              <a:rPr lang="nl-BE" dirty="0">
                <a:solidFill>
                  <a:srgbClr val="002060"/>
                </a:solidFill>
              </a:rPr>
              <a:t>De sessies kunnen zowel bij de patiënt thuis als in de praktijk gegeven worden op voorwaarde dat één van de eerste 5 sessies bij de patiënt thuis gegeven wordt. Soms zijn groepseducaties mogelijk.</a:t>
            </a:r>
          </a:p>
          <a:p>
            <a:r>
              <a:rPr lang="nl-BE" b="1" dirty="0">
                <a:solidFill>
                  <a:srgbClr val="002060"/>
                </a:solidFill>
              </a:rPr>
              <a:t>Toegang tot zelfzorgmateriaal strikter</a:t>
            </a:r>
            <a:br>
              <a:rPr lang="nl-BE" dirty="0">
                <a:solidFill>
                  <a:srgbClr val="002060"/>
                </a:solidFill>
              </a:rPr>
            </a:br>
            <a:r>
              <a:rPr lang="nl-BE" dirty="0">
                <a:solidFill>
                  <a:srgbClr val="002060"/>
                </a:solidFill>
              </a:rPr>
              <a:t>Het recht op zelfzorgmateriaal (1 glucosemeter/3 jaar en 150 strips/6 maanden) geldt enkel nog voor wie een behandeling met insuline of een </a:t>
            </a:r>
            <a:r>
              <a:rPr lang="nl-BE" dirty="0" err="1">
                <a:solidFill>
                  <a:srgbClr val="002060"/>
                </a:solidFill>
              </a:rPr>
              <a:t>incretinemimeticum</a:t>
            </a:r>
            <a:r>
              <a:rPr lang="nl-BE" dirty="0">
                <a:solidFill>
                  <a:srgbClr val="002060"/>
                </a:solidFill>
              </a:rPr>
              <a:t> start of heeft.</a:t>
            </a:r>
          </a:p>
          <a:p>
            <a:endParaRPr lang="nl-B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Diabeteszorgtraject veranderingen 2018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988890"/>
      </p:ext>
    </p:extLst>
  </p:cSld>
  <p:clrMapOvr>
    <a:masterClrMapping/>
  </p:clrMapOvr>
  <p:transition/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Globaal medisch dossier</a:t>
            </a:r>
          </a:p>
        </p:txBody>
      </p:sp>
      <p:pic>
        <p:nvPicPr>
          <p:cNvPr id="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0726" y="1843915"/>
            <a:ext cx="7248446" cy="3129218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7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68310454"/>
      </p:ext>
    </p:extLst>
  </p:cSld>
  <p:clrMapOvr>
    <a:masterClrMapping/>
  </p:clrMapOvr>
  <p:transition>
    <p:fade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2800" dirty="0"/>
              <a:t>Besluit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/>
              <a:t>“Alle opties blijven open”</a:t>
            </a:r>
          </a:p>
          <a:p>
            <a:r>
              <a:rPr lang="nl-BE" dirty="0"/>
              <a:t>Streefdoel HbA1c individueel </a:t>
            </a:r>
          </a:p>
          <a:p>
            <a:r>
              <a:rPr lang="nl-BE" dirty="0"/>
              <a:t>Gewichtsreductie proberen na te streven</a:t>
            </a:r>
          </a:p>
          <a:p>
            <a:r>
              <a:rPr lang="nl-BE" dirty="0"/>
              <a:t>Cardiovasculaire </a:t>
            </a:r>
            <a:r>
              <a:rPr lang="nl-BE" dirty="0" err="1"/>
              <a:t>safety</a:t>
            </a:r>
            <a:endParaRPr lang="nl-BE" dirty="0"/>
          </a:p>
          <a:p>
            <a:r>
              <a:rPr lang="nl-BE" dirty="0"/>
              <a:t>Bij cardiovasculaire antecedenten: 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nl-BE" sz="1600" dirty="0" err="1"/>
              <a:t>Jardiance</a:t>
            </a:r>
            <a:r>
              <a:rPr lang="nl-BE" sz="1600" dirty="0"/>
              <a:t> en </a:t>
            </a:r>
            <a:r>
              <a:rPr lang="nl-BE" sz="1600" dirty="0" err="1"/>
              <a:t>Victoza</a:t>
            </a:r>
            <a:endParaRPr lang="nl-BE" sz="1600" dirty="0"/>
          </a:p>
          <a:p>
            <a:pPr>
              <a:buFont typeface="Wingdings" panose="05000000000000000000" pitchFamily="2" charset="2"/>
              <a:buChar char="à"/>
            </a:pPr>
            <a:r>
              <a:rPr lang="nl-BE" sz="1600" dirty="0" err="1"/>
              <a:t>cave</a:t>
            </a:r>
            <a:r>
              <a:rPr lang="nl-BE" sz="1600" dirty="0"/>
              <a:t> at: nierfunctie en terugbetalingscriteria</a:t>
            </a:r>
            <a:endParaRPr lang="nl-BE" dirty="0"/>
          </a:p>
          <a:p>
            <a:r>
              <a:rPr lang="nl-BE" dirty="0" err="1"/>
              <a:t>Forxiga</a:t>
            </a:r>
            <a:r>
              <a:rPr lang="nl-BE" dirty="0"/>
              <a:t> in combinatie met DDP-4 inhibitor/insuline</a:t>
            </a:r>
          </a:p>
          <a:p>
            <a:r>
              <a:rPr lang="nl-BE" dirty="0"/>
              <a:t>Nieuwe optie alvorens noodzaak uitbreiding insulinetherapie </a:t>
            </a:r>
            <a:r>
              <a:rPr lang="nl-BE" dirty="0">
                <a:sym typeface="Wingdings" panose="05000000000000000000" pitchFamily="2" charset="2"/>
              </a:rPr>
              <a:t> </a:t>
            </a:r>
            <a:r>
              <a:rPr lang="nl-BE" dirty="0" err="1">
                <a:sym typeface="Wingdings" panose="05000000000000000000" pitchFamily="2" charset="2"/>
              </a:rPr>
              <a:t>Xultophy</a:t>
            </a:r>
            <a:endParaRPr lang="nl-BE" dirty="0"/>
          </a:p>
          <a:p>
            <a:pPr marL="0" indent="0">
              <a:buNone/>
            </a:pPr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2BD8EE-E297-4A2A-B5A1-F2A9B5C8E40B}" type="slidenum">
              <a:rPr lang="nl-NL" smtClean="0"/>
              <a:pPr>
                <a:defRPr/>
              </a:pPr>
              <a:t>7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257119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el 1"/>
          <p:cNvSpPr>
            <a:spLocks noGrp="1"/>
          </p:cNvSpPr>
          <p:nvPr>
            <p:ph type="title"/>
          </p:nvPr>
        </p:nvSpPr>
        <p:spPr>
          <a:xfrm>
            <a:off x="720725" y="481013"/>
            <a:ext cx="7432675" cy="1143000"/>
          </a:xfrm>
        </p:spPr>
        <p:txBody>
          <a:bodyPr/>
          <a:lstStyle/>
          <a:p>
            <a:pPr eaLnBrk="1" hangingPunct="1"/>
            <a:endParaRPr lang="nl-BE" altLang="nl-BE">
              <a:ea typeface="Geneva"/>
              <a:cs typeface="Geneva"/>
            </a:endParaRPr>
          </a:p>
        </p:txBody>
      </p:sp>
      <p:sp>
        <p:nvSpPr>
          <p:cNvPr id="47107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799F240-3E2A-4550-98F8-CA5C1E415428}" type="slidenum">
              <a:rPr lang="nl-NL" altLang="nl-BE" sz="1000">
                <a:solidFill>
                  <a:schemeClr val="tx1"/>
                </a:solidFill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8</a:t>
            </a:fld>
            <a:endParaRPr lang="nl-NL" altLang="nl-BE" sz="10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4710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44675" y="669925"/>
            <a:ext cx="5029200" cy="54260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hoek 6"/>
          <p:cNvSpPr>
            <a:spLocks noChangeArrowheads="1"/>
          </p:cNvSpPr>
          <p:nvPr/>
        </p:nvSpPr>
        <p:spPr bwMode="auto">
          <a:xfrm>
            <a:off x="1965325" y="4846638"/>
            <a:ext cx="3825875" cy="99060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2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2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 eaLnBrk="0" hangingPunct="0">
              <a:spcBef>
                <a:spcPts val="400"/>
              </a:spcBef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2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nl-BE" altLang="nl-BE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3430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Pentagon 6"/>
          <p:cNvSpPr>
            <a:spLocks noChangeArrowheads="1"/>
          </p:cNvSpPr>
          <p:nvPr/>
        </p:nvSpPr>
        <p:spPr bwMode="auto">
          <a:xfrm>
            <a:off x="112713" y="3821113"/>
            <a:ext cx="3290887" cy="1016000"/>
          </a:xfrm>
          <a:prstGeom prst="homePlate">
            <a:avLst>
              <a:gd name="adj" fmla="val 62172"/>
            </a:avLst>
          </a:prstGeom>
          <a:solidFill>
            <a:srgbClr val="10253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1403" tIns="45702" rIns="91403" bIns="45702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nl-BE" baseline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7587" name="Subtitle 2"/>
          <p:cNvSpPr>
            <a:spLocks noGrp="1"/>
          </p:cNvSpPr>
          <p:nvPr>
            <p:ph type="subTitle" idx="4294967295"/>
          </p:nvPr>
        </p:nvSpPr>
        <p:spPr>
          <a:xfrm>
            <a:off x="341313" y="3962400"/>
            <a:ext cx="2549525" cy="873125"/>
          </a:xfrm>
        </p:spPr>
        <p:txBody>
          <a:bodyPr/>
          <a:lstStyle/>
          <a:p>
            <a:pPr marL="0" indent="0" eaLnBrk="1" hangingPunct="1"/>
            <a:r>
              <a:rPr lang="nl-BE" altLang="nl-BE" sz="1600" b="1">
                <a:solidFill>
                  <a:schemeClr val="bg1"/>
                </a:solidFill>
                <a:ea typeface="Geneva"/>
                <a:cs typeface="Geneva"/>
              </a:rPr>
              <a:t>64.2% van de type 2 diabetes patiënten hebben HbA</a:t>
            </a:r>
            <a:r>
              <a:rPr lang="nl-BE" altLang="nl-BE" sz="1600" b="1" baseline="-25000">
                <a:solidFill>
                  <a:schemeClr val="bg1"/>
                </a:solidFill>
                <a:ea typeface="Geneva"/>
                <a:cs typeface="Geneva"/>
              </a:rPr>
              <a:t>1C</a:t>
            </a:r>
            <a:r>
              <a:rPr lang="nl-BE" altLang="nl-BE" sz="1600" b="1">
                <a:solidFill>
                  <a:schemeClr val="bg1"/>
                </a:solidFill>
                <a:ea typeface="Geneva"/>
                <a:cs typeface="Geneva"/>
              </a:rPr>
              <a:t> &gt; 7.2% </a:t>
            </a:r>
            <a:r>
              <a:rPr lang="nl-BE" altLang="nl-BE" sz="1600" b="1" baseline="30000">
                <a:solidFill>
                  <a:schemeClr val="bg1"/>
                </a:solidFill>
                <a:ea typeface="Geneva"/>
                <a:cs typeface="Geneva"/>
              </a:rPr>
              <a:t>1</a:t>
            </a:r>
          </a:p>
        </p:txBody>
      </p:sp>
      <p:sp>
        <p:nvSpPr>
          <p:cNvPr id="67588" name="Pentagon 8"/>
          <p:cNvSpPr>
            <a:spLocks noChangeArrowheads="1"/>
          </p:cNvSpPr>
          <p:nvPr/>
        </p:nvSpPr>
        <p:spPr bwMode="auto">
          <a:xfrm flipH="1">
            <a:off x="4927600" y="1665288"/>
            <a:ext cx="3457575" cy="479425"/>
          </a:xfrm>
          <a:prstGeom prst="homePlate">
            <a:avLst>
              <a:gd name="adj" fmla="val 44407"/>
            </a:avLst>
          </a:prstGeom>
          <a:solidFill>
            <a:srgbClr val="10253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1403" tIns="45702" rIns="91403" bIns="45702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nl-BE" baseline="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7589" name="TextBox 7"/>
          <p:cNvSpPr txBox="1">
            <a:spLocks noChangeArrowheads="1"/>
          </p:cNvSpPr>
          <p:nvPr/>
        </p:nvSpPr>
        <p:spPr bwMode="auto">
          <a:xfrm>
            <a:off x="5178425" y="1709738"/>
            <a:ext cx="25034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800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0.1%: HbA</a:t>
            </a:r>
            <a:r>
              <a:rPr lang="en-US" altLang="nl-BE" sz="180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C </a:t>
            </a:r>
            <a:r>
              <a:rPr lang="en-US" altLang="nl-BE" sz="1800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&gt; 10% </a:t>
            </a:r>
            <a:r>
              <a:rPr lang="en-US" altLang="nl-BE" sz="1800" b="1" baseline="3000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4</a:t>
            </a:r>
            <a:endParaRPr lang="en-US" altLang="nl-BE" sz="1400" b="1" baseline="30000">
              <a:solidFill>
                <a:srgbClr val="FFFFF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514072" name="Pentagon 9"/>
          <p:cNvSpPr>
            <a:spLocks noChangeArrowheads="1"/>
          </p:cNvSpPr>
          <p:nvPr/>
        </p:nvSpPr>
        <p:spPr bwMode="auto">
          <a:xfrm flipH="1">
            <a:off x="4937125" y="2579688"/>
            <a:ext cx="3457575" cy="479425"/>
          </a:xfrm>
          <a:prstGeom prst="homePlate">
            <a:avLst>
              <a:gd name="adj" fmla="val 44407"/>
            </a:avLst>
          </a:prstGeom>
          <a:solidFill>
            <a:srgbClr val="10253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403" tIns="45702" rIns="91403" bIns="45702"/>
          <a:lstStyle/>
          <a:p>
            <a:pPr algn="ctr" eaLnBrk="1" hangingPunct="1">
              <a:defRPr/>
            </a:pPr>
            <a:endParaRPr lang="en-GB" b="1" baseline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MS PGothic" pitchFamily="34" charset="-128"/>
              <a:cs typeface="Arial" charset="0"/>
            </a:endParaRPr>
          </a:p>
        </p:txBody>
      </p:sp>
      <p:sp>
        <p:nvSpPr>
          <p:cNvPr id="67591" name="TextBox 10"/>
          <p:cNvSpPr txBox="1">
            <a:spLocks noChangeArrowheads="1"/>
          </p:cNvSpPr>
          <p:nvPr/>
        </p:nvSpPr>
        <p:spPr bwMode="auto">
          <a:xfrm>
            <a:off x="5130800" y="2622550"/>
            <a:ext cx="24590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800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20.2%: HbA</a:t>
            </a:r>
            <a:r>
              <a:rPr lang="en-US" altLang="nl-BE" sz="180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C</a:t>
            </a:r>
            <a:r>
              <a:rPr lang="en-US" altLang="nl-BE" sz="1800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&gt; 9% </a:t>
            </a:r>
            <a:r>
              <a:rPr lang="en-US" altLang="nl-BE" sz="1800" b="1" baseline="3000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</a:t>
            </a:r>
            <a:endParaRPr lang="en-US" altLang="nl-BE" sz="1400" b="1" baseline="300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14070" name="Pentagon 11"/>
          <p:cNvSpPr>
            <a:spLocks noChangeArrowheads="1"/>
          </p:cNvSpPr>
          <p:nvPr/>
        </p:nvSpPr>
        <p:spPr bwMode="auto">
          <a:xfrm flipH="1">
            <a:off x="4937125" y="3363913"/>
            <a:ext cx="3457575" cy="479425"/>
          </a:xfrm>
          <a:prstGeom prst="homePlate">
            <a:avLst>
              <a:gd name="adj" fmla="val 44407"/>
            </a:avLst>
          </a:prstGeom>
          <a:solidFill>
            <a:srgbClr val="10253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403" tIns="45702" rIns="91403" bIns="45702"/>
          <a:lstStyle/>
          <a:p>
            <a:pPr algn="ctr" eaLnBrk="1" hangingPunct="1">
              <a:defRPr/>
            </a:pPr>
            <a:endParaRPr lang="en-GB" b="1" baseline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MS PGothic" pitchFamily="34" charset="-128"/>
              <a:cs typeface="Arial" charset="0"/>
            </a:endParaRPr>
          </a:p>
        </p:txBody>
      </p:sp>
      <p:sp>
        <p:nvSpPr>
          <p:cNvPr id="67593" name="TextBox 12"/>
          <p:cNvSpPr txBox="1">
            <a:spLocks noChangeArrowheads="1"/>
          </p:cNvSpPr>
          <p:nvPr/>
        </p:nvSpPr>
        <p:spPr bwMode="auto">
          <a:xfrm>
            <a:off x="5130800" y="3397250"/>
            <a:ext cx="24590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800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37.2%: HbA</a:t>
            </a:r>
            <a:r>
              <a:rPr lang="en-US" altLang="nl-BE" sz="180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C</a:t>
            </a:r>
            <a:r>
              <a:rPr lang="en-US" altLang="nl-BE" sz="1800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&gt; 8% </a:t>
            </a:r>
            <a:r>
              <a:rPr lang="en-US" altLang="nl-BE" sz="1800" b="1" baseline="3000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</a:t>
            </a:r>
            <a:endParaRPr lang="en-US" altLang="nl-BE" sz="1400" b="1" baseline="300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7594" name="TextBox 20"/>
          <p:cNvSpPr txBox="1">
            <a:spLocks noChangeArrowheads="1"/>
          </p:cNvSpPr>
          <p:nvPr/>
        </p:nvSpPr>
        <p:spPr bwMode="auto">
          <a:xfrm>
            <a:off x="5511800" y="4443413"/>
            <a:ext cx="2608263" cy="33813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600" b="1" baseline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DA doelwaarde (&lt; 7%) </a:t>
            </a:r>
            <a:r>
              <a:rPr lang="en-US" altLang="nl-BE" sz="1600" b="1" baseline="300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2</a:t>
            </a:r>
          </a:p>
        </p:txBody>
      </p:sp>
      <p:cxnSp>
        <p:nvCxnSpPr>
          <p:cNvPr id="67595" name="Straight Arrow Connector 26"/>
          <p:cNvCxnSpPr>
            <a:cxnSpLocks noChangeShapeType="1"/>
          </p:cNvCxnSpPr>
          <p:nvPr/>
        </p:nvCxnSpPr>
        <p:spPr bwMode="auto">
          <a:xfrm flipH="1">
            <a:off x="4837113" y="4621213"/>
            <a:ext cx="592137" cy="0"/>
          </a:xfrm>
          <a:prstGeom prst="straightConnector1">
            <a:avLst/>
          </a:prstGeom>
          <a:noFill/>
          <a:ln w="762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596" name="TextBox 21"/>
          <p:cNvSpPr txBox="1">
            <a:spLocks noChangeArrowheads="1"/>
          </p:cNvSpPr>
          <p:nvPr/>
        </p:nvSpPr>
        <p:spPr bwMode="auto">
          <a:xfrm>
            <a:off x="5783263" y="4872038"/>
            <a:ext cx="2916237" cy="33813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600" b="1" baseline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ACE doelwaarde (≤ 6.5%) </a:t>
            </a:r>
            <a:r>
              <a:rPr lang="en-US" altLang="nl-BE" sz="1600" b="1" baseline="300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3</a:t>
            </a:r>
          </a:p>
        </p:txBody>
      </p:sp>
      <p:cxnSp>
        <p:nvCxnSpPr>
          <p:cNvPr id="67597" name="Straight Arrow Connector 28"/>
          <p:cNvCxnSpPr>
            <a:cxnSpLocks noChangeShapeType="1"/>
          </p:cNvCxnSpPr>
          <p:nvPr/>
        </p:nvCxnSpPr>
        <p:spPr bwMode="auto">
          <a:xfrm flipH="1">
            <a:off x="4851400" y="5024438"/>
            <a:ext cx="577850" cy="0"/>
          </a:xfrm>
          <a:prstGeom prst="straightConnector1">
            <a:avLst/>
          </a:prstGeom>
          <a:noFill/>
          <a:ln w="762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598" name="Pentagon 18"/>
          <p:cNvSpPr>
            <a:spLocks noChangeArrowheads="1"/>
          </p:cNvSpPr>
          <p:nvPr/>
        </p:nvSpPr>
        <p:spPr bwMode="auto">
          <a:xfrm rot="-5400000">
            <a:off x="1842294" y="2940844"/>
            <a:ext cx="4673600" cy="1303338"/>
          </a:xfrm>
          <a:prstGeom prst="homePlate">
            <a:avLst>
              <a:gd name="adj" fmla="val 59067"/>
            </a:avLst>
          </a:prstGeom>
          <a:gradFill rotWithShape="1">
            <a:gsLst>
              <a:gs pos="0">
                <a:srgbClr val="008000"/>
              </a:gs>
              <a:gs pos="100000">
                <a:schemeClr val="folHlink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eaVert" lIns="91403" tIns="45702" rIns="91403" bIns="45702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nl-BE" baseline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7599" name="TextBox 13"/>
          <p:cNvSpPr txBox="1">
            <a:spLocks noChangeArrowheads="1"/>
          </p:cNvSpPr>
          <p:nvPr/>
        </p:nvSpPr>
        <p:spPr bwMode="auto">
          <a:xfrm>
            <a:off x="3841750" y="1951038"/>
            <a:ext cx="6826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0.0</a:t>
            </a:r>
          </a:p>
        </p:txBody>
      </p:sp>
      <p:sp>
        <p:nvSpPr>
          <p:cNvPr id="67600" name="TextBox 14"/>
          <p:cNvSpPr txBox="1">
            <a:spLocks noChangeArrowheads="1"/>
          </p:cNvSpPr>
          <p:nvPr/>
        </p:nvSpPr>
        <p:spPr bwMode="auto">
          <a:xfrm>
            <a:off x="3749675" y="2757488"/>
            <a:ext cx="8588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9.0</a:t>
            </a:r>
          </a:p>
        </p:txBody>
      </p:sp>
      <p:sp>
        <p:nvSpPr>
          <p:cNvPr id="67601" name="TextBox 15"/>
          <p:cNvSpPr txBox="1">
            <a:spLocks noChangeArrowheads="1"/>
          </p:cNvSpPr>
          <p:nvPr/>
        </p:nvSpPr>
        <p:spPr bwMode="auto">
          <a:xfrm>
            <a:off x="3746500" y="3606800"/>
            <a:ext cx="8651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8.0</a:t>
            </a:r>
          </a:p>
        </p:txBody>
      </p:sp>
      <p:sp>
        <p:nvSpPr>
          <p:cNvPr id="67602" name="TextBox 16"/>
          <p:cNvSpPr txBox="1">
            <a:spLocks noChangeArrowheads="1"/>
          </p:cNvSpPr>
          <p:nvPr/>
        </p:nvSpPr>
        <p:spPr bwMode="auto">
          <a:xfrm>
            <a:off x="3768725" y="4397375"/>
            <a:ext cx="8207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7.0</a:t>
            </a:r>
          </a:p>
        </p:txBody>
      </p:sp>
      <p:sp>
        <p:nvSpPr>
          <p:cNvPr id="67603" name="TextBox 17"/>
          <p:cNvSpPr txBox="1">
            <a:spLocks noChangeArrowheads="1"/>
          </p:cNvSpPr>
          <p:nvPr/>
        </p:nvSpPr>
        <p:spPr bwMode="auto">
          <a:xfrm>
            <a:off x="3773488" y="5187950"/>
            <a:ext cx="812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b="1" baseline="0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6.0</a:t>
            </a:r>
          </a:p>
        </p:txBody>
      </p:sp>
      <p:sp>
        <p:nvSpPr>
          <p:cNvPr id="67604" name="Rectangle 33"/>
          <p:cNvSpPr>
            <a:spLocks noChangeArrowheads="1"/>
          </p:cNvSpPr>
          <p:nvPr/>
        </p:nvSpPr>
        <p:spPr bwMode="auto">
          <a:xfrm>
            <a:off x="3509963" y="5837238"/>
            <a:ext cx="1330325" cy="338137"/>
          </a:xfrm>
          <a:prstGeom prst="rect">
            <a:avLst/>
          </a:prstGeom>
          <a:solidFill>
            <a:schemeClr val="bg1"/>
          </a:solidFill>
          <a:ln w="9525">
            <a:solidFill>
              <a:srgbClr val="008000"/>
            </a:solidFill>
            <a:miter lim="800000"/>
            <a:headEnd/>
            <a:tailEnd/>
          </a:ln>
        </p:spPr>
        <p:txBody>
          <a:bodyPr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1600" b="1" baseline="0">
                <a:solidFill>
                  <a:srgbClr val="000000"/>
                </a:solidFill>
                <a:latin typeface="Arial" panose="020B0604020202020204" pitchFamily="34" charset="0"/>
              </a:rPr>
              <a:t>HbA</a:t>
            </a:r>
            <a:r>
              <a:rPr lang="en-US" altLang="nl-BE" sz="1600" b="1">
                <a:solidFill>
                  <a:srgbClr val="000000"/>
                </a:solidFill>
                <a:latin typeface="Arial" panose="020B0604020202020204" pitchFamily="34" charset="0"/>
              </a:rPr>
              <a:t>1C</a:t>
            </a:r>
            <a:endParaRPr lang="en-GB" altLang="nl-BE" sz="16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7605" name="TextBox 19"/>
          <p:cNvSpPr txBox="1">
            <a:spLocks noChangeArrowheads="1"/>
          </p:cNvSpPr>
          <p:nvPr/>
        </p:nvSpPr>
        <p:spPr bwMode="auto">
          <a:xfrm>
            <a:off x="104775" y="6408738"/>
            <a:ext cx="89233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tabLst>
                <a:tab pos="0" algn="l"/>
              </a:tabLst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tabLst>
                <a:tab pos="0" algn="l"/>
              </a:tabLst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tabLst>
                <a:tab pos="0" algn="l"/>
              </a:tabLst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tabLst>
                <a:tab pos="0" algn="l"/>
              </a:tabLst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tabLst>
                <a:tab pos="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tabLst>
                <a:tab pos="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tabLst>
                <a:tab pos="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tabLst>
                <a:tab pos="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tabLst>
                <a:tab pos="0" algn="l"/>
              </a:tabLst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DA: American Diabetes Association; AACE: American Association of Clinical Endocrinologists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1. Saydah SH, et al. </a:t>
            </a:r>
            <a:r>
              <a:rPr lang="en-US" altLang="nl-BE" sz="800" i="1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JAMA</a:t>
            </a:r>
            <a:r>
              <a:rPr lang="en-US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. 2004;291:335-342</a:t>
            </a:r>
            <a:br>
              <a:rPr lang="da-DK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</a:br>
            <a:r>
              <a:rPr lang="en-US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2.</a:t>
            </a:r>
            <a:r>
              <a:rPr lang="pt-BR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ADA. Diabetes Care. 2003;26:S33-S50; 3. AACE/ACE.  </a:t>
            </a:r>
            <a:r>
              <a:rPr lang="pt-BR" altLang="nl-BE" sz="800" i="1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ndocr Prac</a:t>
            </a:r>
            <a:r>
              <a:rPr lang="pt-BR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. 2009;15:540-59; 4. Oluwatowoju I, et al. </a:t>
            </a:r>
            <a:r>
              <a:rPr lang="pt-BR" altLang="nl-BE" sz="800" i="1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iabetic Medicine</a:t>
            </a:r>
            <a:r>
              <a:rPr lang="pt-BR" altLang="nl-BE" sz="800" baseline="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. 2010;27:354–359</a:t>
            </a:r>
            <a:endParaRPr lang="en-US" altLang="nl-BE" sz="800" baseline="0">
              <a:solidFill>
                <a:srgbClr val="7F7F7F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7606" name="Rectang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34938" y="200025"/>
            <a:ext cx="88852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3" tIns="45702" rIns="91403" bIns="45702"/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503238" indent="-21590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719138" indent="-179388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935038" indent="-179388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1150938" indent="-179388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1608138" indent="-17938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065338" indent="-17938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2522538" indent="-17938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2979738" indent="-179388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nl-BE" sz="2800" b="1" baseline="0">
                <a:solidFill>
                  <a:srgbClr val="003C79"/>
                </a:solidFill>
                <a:cs typeface="Arial" panose="020B0604020202020204" pitchFamily="34" charset="0"/>
              </a:rPr>
              <a:t>De meerderheid van type 2 diabetes patiënten bereikt glycemische doelwaarde niet</a:t>
            </a:r>
            <a:endParaRPr lang="en-US" altLang="nl-BE" sz="2800" b="1" baseline="30000">
              <a:solidFill>
                <a:srgbClr val="003C79"/>
              </a:solidFill>
              <a:cs typeface="Arial" panose="020B0604020202020204" pitchFamily="34" charset="0"/>
            </a:endParaRPr>
          </a:p>
        </p:txBody>
      </p:sp>
      <p:sp>
        <p:nvSpPr>
          <p:cNvPr id="67607" name="Rectangle 23"/>
          <p:cNvSpPr>
            <a:spLocks noChangeArrowheads="1"/>
          </p:cNvSpPr>
          <p:nvPr/>
        </p:nvSpPr>
        <p:spPr bwMode="auto">
          <a:xfrm>
            <a:off x="0" y="6642100"/>
            <a:ext cx="1328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3" tIns="45702" rIns="91403" bIns="45702">
            <a:spAutoFit/>
          </a:bodyPr>
          <a:lstStyle>
            <a:lvl1pPr>
              <a:spcBef>
                <a:spcPts val="800"/>
              </a:spcBef>
              <a:spcAft>
                <a:spcPts val="200"/>
              </a:spcAft>
              <a:buClr>
                <a:srgbClr val="404040"/>
              </a:buClr>
              <a:buSzPct val="50000"/>
              <a:buBlip>
                <a:blip r:embed="rId4"/>
              </a:buBlip>
              <a:defRPr sz="2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1pPr>
            <a:lvl2pPr marL="742950" indent="-285750">
              <a:spcBef>
                <a:spcPts val="400"/>
              </a:spcBef>
              <a:buClr>
                <a:srgbClr val="000000"/>
              </a:buClr>
              <a:buSzPct val="50000"/>
              <a:buBlip>
                <a:blip r:embed="rId4"/>
              </a:buBlip>
              <a:defRPr sz="16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2pPr>
            <a:lvl3pPr marL="1143000" indent="-228600">
              <a:spcBef>
                <a:spcPts val="400"/>
              </a:spcBef>
              <a:buSzPct val="50000"/>
              <a:buBlip>
                <a:blip r:embed="rId4"/>
              </a:buBlip>
              <a:defRPr sz="14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3pPr>
            <a:lvl4pPr marL="1600200" indent="-228600">
              <a:spcBef>
                <a:spcPts val="400"/>
              </a:spcBef>
              <a:buSzPct val="50000"/>
              <a:buBlip>
                <a:blip r:embed="rId4"/>
              </a:buBlip>
              <a:defRPr sz="12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4pPr>
            <a:lvl5pPr marL="2057400" indent="-228600">
              <a:spcBef>
                <a:spcPts val="400"/>
              </a:spcBef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SzPct val="50000"/>
              <a:buBlip>
                <a:blip r:embed="rId4"/>
              </a:buBlip>
              <a:defRPr sz="1000">
                <a:solidFill>
                  <a:srgbClr val="333333"/>
                </a:solidFill>
                <a:latin typeface="Verdana" panose="020B0604030504040204" pitchFamily="34" charset="0"/>
                <a:ea typeface="Geneva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nl-BE" altLang="nl-BE" sz="800" b="1" baseline="0">
                <a:solidFill>
                  <a:srgbClr val="00366D"/>
                </a:solidFill>
                <a:latin typeface="Arial" panose="020B0604020202020204" pitchFamily="34" charset="0"/>
              </a:rPr>
              <a:t>BE/EMP/00076  01/2016</a:t>
            </a:r>
            <a:endParaRPr lang="nl-BE" altLang="nl-BE" sz="800" baseline="0">
              <a:solidFill>
                <a:srgbClr val="00366D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70514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n0ls6GoUmnoQf4G0oE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ADYFORQC" val="2"/>
  <p:tag name="STATOUTPUTNEEDED" val="2"/>
  <p:tag name="STATOUTPUTREQUESTED" val="2"/>
</p:tagLst>
</file>

<file path=ppt/theme/theme1.xml><?xml version="1.0" encoding="utf-8"?>
<a:theme xmlns:a="http://schemas.openxmlformats.org/drawingml/2006/main" name="ZNA_presentatie_4-3">
  <a:themeElements>
    <a:clrScheme name="ZNA">
      <a:dk1>
        <a:srgbClr val="7F7F7F"/>
      </a:dk1>
      <a:lt1>
        <a:sysClr val="window" lastClr="FFFFFF"/>
      </a:lt1>
      <a:dk2>
        <a:srgbClr val="7F7F7F"/>
      </a:dk2>
      <a:lt2>
        <a:srgbClr val="F2F2F2"/>
      </a:lt2>
      <a:accent1>
        <a:srgbClr val="7BC51B"/>
      </a:accent1>
      <a:accent2>
        <a:srgbClr val="F6A925"/>
      </a:accent2>
      <a:accent3>
        <a:srgbClr val="19A6AD"/>
      </a:accent3>
      <a:accent4>
        <a:srgbClr val="C50067"/>
      </a:accent4>
      <a:accent5>
        <a:srgbClr val="60237B"/>
      </a:accent5>
      <a:accent6>
        <a:srgbClr val="7F7F7F"/>
      </a:accent6>
      <a:hlink>
        <a:srgbClr val="7BC51B"/>
      </a:hlink>
      <a:folHlink>
        <a:srgbClr val="C50067"/>
      </a:folHlink>
    </a:clrScheme>
    <a:fontScheme name="zna templa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zna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zna template 13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14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7BC51B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6FB217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15">
        <a:dk1>
          <a:srgbClr val="666666"/>
        </a:dk1>
        <a:lt1>
          <a:srgbClr val="FFFFFF"/>
        </a:lt1>
        <a:dk2>
          <a:srgbClr val="C50067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na template 16">
        <a:dk1>
          <a:srgbClr val="666666"/>
        </a:dk1>
        <a:lt1>
          <a:srgbClr val="FFFFFF"/>
        </a:lt1>
        <a:dk2>
          <a:srgbClr val="19A6AD"/>
        </a:dk2>
        <a:lt2>
          <a:srgbClr val="DDDDDD"/>
        </a:lt2>
        <a:accent1>
          <a:srgbClr val="B2B2B2"/>
        </a:accent1>
        <a:accent2>
          <a:srgbClr val="19A6AD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16969C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9_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1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tandaardontwerp - Purper">
  <a:themeElements>
    <a:clrScheme name="Standaardontwerp - Purper 15">
      <a:dk1>
        <a:srgbClr val="666666"/>
      </a:dk1>
      <a:lt1>
        <a:srgbClr val="FFFFFF"/>
      </a:lt1>
      <a:dk2>
        <a:srgbClr val="C50067"/>
      </a:dk2>
      <a:lt2>
        <a:srgbClr val="DDDDDD"/>
      </a:lt2>
      <a:accent1>
        <a:srgbClr val="B2B2B2"/>
      </a:accent1>
      <a:accent2>
        <a:srgbClr val="C50067"/>
      </a:accent2>
      <a:accent3>
        <a:srgbClr val="FFFFFF"/>
      </a:accent3>
      <a:accent4>
        <a:srgbClr val="565656"/>
      </a:accent4>
      <a:accent5>
        <a:srgbClr val="D5D5D5"/>
      </a:accent5>
      <a:accent6>
        <a:srgbClr val="B2005D"/>
      </a:accent6>
      <a:hlink>
        <a:srgbClr val="19A6AD"/>
      </a:hlink>
      <a:folHlink>
        <a:srgbClr val="60237B"/>
      </a:folHlink>
    </a:clrScheme>
    <a:fontScheme name="Standaardontwerp - Purp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ardontwerp - Purp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urper 13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14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7BC51B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6FB217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15">
        <a:dk1>
          <a:srgbClr val="666666"/>
        </a:dk1>
        <a:lt1>
          <a:srgbClr val="FFFFFF"/>
        </a:lt1>
        <a:dk2>
          <a:srgbClr val="C50067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urper 16">
        <a:dk1>
          <a:srgbClr val="666666"/>
        </a:dk1>
        <a:lt1>
          <a:srgbClr val="FFFFFF"/>
        </a:lt1>
        <a:dk2>
          <a:srgbClr val="19A6AD"/>
        </a:dk2>
        <a:lt2>
          <a:srgbClr val="DDDDDD"/>
        </a:lt2>
        <a:accent1>
          <a:srgbClr val="B2B2B2"/>
        </a:accent1>
        <a:accent2>
          <a:srgbClr val="19A6AD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16969C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andaardontwerp - Blauw">
  <a:themeElements>
    <a:clrScheme name="Standaardontwerp - Blauw 16">
      <a:dk1>
        <a:srgbClr val="666666"/>
      </a:dk1>
      <a:lt1>
        <a:srgbClr val="FFFFFF"/>
      </a:lt1>
      <a:dk2>
        <a:srgbClr val="19A6AD"/>
      </a:dk2>
      <a:lt2>
        <a:srgbClr val="DDDDDD"/>
      </a:lt2>
      <a:accent1>
        <a:srgbClr val="B2B2B2"/>
      </a:accent1>
      <a:accent2>
        <a:srgbClr val="19A6AD"/>
      </a:accent2>
      <a:accent3>
        <a:srgbClr val="FFFFFF"/>
      </a:accent3>
      <a:accent4>
        <a:srgbClr val="565656"/>
      </a:accent4>
      <a:accent5>
        <a:srgbClr val="D5D5D5"/>
      </a:accent5>
      <a:accent6>
        <a:srgbClr val="16969C"/>
      </a:accent6>
      <a:hlink>
        <a:srgbClr val="19A6AD"/>
      </a:hlink>
      <a:folHlink>
        <a:srgbClr val="60237B"/>
      </a:folHlink>
    </a:clrScheme>
    <a:fontScheme name="Standaardontwerp - Blau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ardontwerp - Blauw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Blauw 13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14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7BC51B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6FB217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15">
        <a:dk1>
          <a:srgbClr val="666666"/>
        </a:dk1>
        <a:lt1>
          <a:srgbClr val="FFFFFF"/>
        </a:lt1>
        <a:dk2>
          <a:srgbClr val="C50067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Blauw 16">
        <a:dk1>
          <a:srgbClr val="666666"/>
        </a:dk1>
        <a:lt1>
          <a:srgbClr val="FFFFFF"/>
        </a:lt1>
        <a:dk2>
          <a:srgbClr val="19A6AD"/>
        </a:dk2>
        <a:lt2>
          <a:srgbClr val="DDDDDD"/>
        </a:lt2>
        <a:accent1>
          <a:srgbClr val="B2B2B2"/>
        </a:accent1>
        <a:accent2>
          <a:srgbClr val="19A6AD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16969C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tandaardontwerp - Orange">
  <a:themeElements>
    <a:clrScheme name="">
      <a:dk1>
        <a:srgbClr val="666666"/>
      </a:dk1>
      <a:lt1>
        <a:srgbClr val="FFFFFF"/>
      </a:lt1>
      <a:dk2>
        <a:srgbClr val="F6A925"/>
      </a:dk2>
      <a:lt2>
        <a:srgbClr val="DDDDDD"/>
      </a:lt2>
      <a:accent1>
        <a:srgbClr val="B2B2B2"/>
      </a:accent1>
      <a:accent2>
        <a:srgbClr val="F6A925"/>
      </a:accent2>
      <a:accent3>
        <a:srgbClr val="FFFFFF"/>
      </a:accent3>
      <a:accent4>
        <a:srgbClr val="565656"/>
      </a:accent4>
      <a:accent5>
        <a:srgbClr val="D5D5D5"/>
      </a:accent5>
      <a:accent6>
        <a:srgbClr val="DF9920"/>
      </a:accent6>
      <a:hlink>
        <a:srgbClr val="19A6AD"/>
      </a:hlink>
      <a:folHlink>
        <a:srgbClr val="60237B"/>
      </a:folHlink>
    </a:clrScheme>
    <a:fontScheme name="Standaardontwerp - Orang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ardontwerp - Oran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Orange 13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14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7BC51B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6FB217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15">
        <a:dk1>
          <a:srgbClr val="666666"/>
        </a:dk1>
        <a:lt1>
          <a:srgbClr val="FFFFFF"/>
        </a:lt1>
        <a:dk2>
          <a:srgbClr val="C50067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Orange 16">
        <a:dk1>
          <a:srgbClr val="666666"/>
        </a:dk1>
        <a:lt1>
          <a:srgbClr val="FFFFFF"/>
        </a:lt1>
        <a:dk2>
          <a:srgbClr val="19A6AD"/>
        </a:dk2>
        <a:lt2>
          <a:srgbClr val="DDDDDD"/>
        </a:lt2>
        <a:accent1>
          <a:srgbClr val="B2B2B2"/>
        </a:accent1>
        <a:accent2>
          <a:srgbClr val="19A6AD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16969C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Standaardontwerp - Paars">
  <a:themeElements>
    <a:clrScheme name="">
      <a:dk1>
        <a:srgbClr val="666666"/>
      </a:dk1>
      <a:lt1>
        <a:srgbClr val="FFFFFF"/>
      </a:lt1>
      <a:dk2>
        <a:srgbClr val="60237B"/>
      </a:dk2>
      <a:lt2>
        <a:srgbClr val="DDDDDD"/>
      </a:lt2>
      <a:accent1>
        <a:srgbClr val="B2B2B2"/>
      </a:accent1>
      <a:accent2>
        <a:srgbClr val="60237B"/>
      </a:accent2>
      <a:accent3>
        <a:srgbClr val="FFFFFF"/>
      </a:accent3>
      <a:accent4>
        <a:srgbClr val="565656"/>
      </a:accent4>
      <a:accent5>
        <a:srgbClr val="D5D5D5"/>
      </a:accent5>
      <a:accent6>
        <a:srgbClr val="561F6F"/>
      </a:accent6>
      <a:hlink>
        <a:srgbClr val="19A6AD"/>
      </a:hlink>
      <a:folHlink>
        <a:srgbClr val="60237B"/>
      </a:folHlink>
    </a:clrScheme>
    <a:fontScheme name="Standaardontwerp - Paa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ardontwerp - Paar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- Paars 13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14">
        <a:dk1>
          <a:srgbClr val="666666"/>
        </a:dk1>
        <a:lt1>
          <a:srgbClr val="FFFFFF"/>
        </a:lt1>
        <a:dk2>
          <a:srgbClr val="7BC500"/>
        </a:dk2>
        <a:lt2>
          <a:srgbClr val="DDDDDD"/>
        </a:lt2>
        <a:accent1>
          <a:srgbClr val="B2B2B2"/>
        </a:accent1>
        <a:accent2>
          <a:srgbClr val="7BC51B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6FB217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15">
        <a:dk1>
          <a:srgbClr val="666666"/>
        </a:dk1>
        <a:lt1>
          <a:srgbClr val="FFFFFF"/>
        </a:lt1>
        <a:dk2>
          <a:srgbClr val="C50067"/>
        </a:dk2>
        <a:lt2>
          <a:srgbClr val="DDDDDD"/>
        </a:lt2>
        <a:accent1>
          <a:srgbClr val="B2B2B2"/>
        </a:accent1>
        <a:accent2>
          <a:srgbClr val="C50067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B2005D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- Paars 16">
        <a:dk1>
          <a:srgbClr val="666666"/>
        </a:dk1>
        <a:lt1>
          <a:srgbClr val="FFFFFF"/>
        </a:lt1>
        <a:dk2>
          <a:srgbClr val="19A6AD"/>
        </a:dk2>
        <a:lt2>
          <a:srgbClr val="DDDDDD"/>
        </a:lt2>
        <a:accent1>
          <a:srgbClr val="B2B2B2"/>
        </a:accent1>
        <a:accent2>
          <a:srgbClr val="19A6AD"/>
        </a:accent2>
        <a:accent3>
          <a:srgbClr val="FFFFFF"/>
        </a:accent3>
        <a:accent4>
          <a:srgbClr val="565656"/>
        </a:accent4>
        <a:accent5>
          <a:srgbClr val="D5D5D5"/>
        </a:accent5>
        <a:accent6>
          <a:srgbClr val="16969C"/>
        </a:accent6>
        <a:hlink>
          <a:srgbClr val="19A6AD"/>
        </a:hlink>
        <a:folHlink>
          <a:srgbClr val="60237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NovoNordisk_CD_White">
  <a:themeElements>
    <a:clrScheme name="NovoNordisk_CD_White 1">
      <a:dk1>
        <a:srgbClr val="000000"/>
      </a:dk1>
      <a:lt1>
        <a:srgbClr val="FFFFFF"/>
      </a:lt1>
      <a:dk2>
        <a:srgbClr val="AEA79F"/>
      </a:dk2>
      <a:lt2>
        <a:srgbClr val="E0DED8"/>
      </a:lt2>
      <a:accent1>
        <a:srgbClr val="009FDA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CDEA"/>
      </a:accent5>
      <a:accent6>
        <a:srgbClr val="00165B"/>
      </a:accent6>
      <a:hlink>
        <a:srgbClr val="E64A0E"/>
      </a:hlink>
      <a:folHlink>
        <a:srgbClr val="82786F"/>
      </a:folHlink>
    </a:clrScheme>
    <a:fontScheme name="NovoNordisk_CD_Wh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rgbClr val="001965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rgbClr val="001965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ovoNordisk_CD_White 1">
        <a:dk1>
          <a:srgbClr val="000000"/>
        </a:dk1>
        <a:lt1>
          <a:srgbClr val="FFFFFF"/>
        </a:lt1>
        <a:dk2>
          <a:srgbClr val="AEA79F"/>
        </a:dk2>
        <a:lt2>
          <a:srgbClr val="E0DED8"/>
        </a:lt2>
        <a:accent1>
          <a:srgbClr val="009FDA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CDEA"/>
        </a:accent5>
        <a:accent6>
          <a:srgbClr val="00165B"/>
        </a:accent6>
        <a:hlink>
          <a:srgbClr val="E64A0E"/>
        </a:hlink>
        <a:folHlink>
          <a:srgbClr val="827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8.xml><?xml version="1.0" encoding="utf-8"?>
<a:theme xmlns:a="http://schemas.openxmlformats.org/drawingml/2006/main" name="1_NovoNordisk_CD_White">
  <a:themeElements>
    <a:clrScheme name="NovoNordisk_CD_White 1">
      <a:dk1>
        <a:srgbClr val="000000"/>
      </a:dk1>
      <a:lt1>
        <a:srgbClr val="FFFFFF"/>
      </a:lt1>
      <a:dk2>
        <a:srgbClr val="AEA79F"/>
      </a:dk2>
      <a:lt2>
        <a:srgbClr val="E0DED8"/>
      </a:lt2>
      <a:accent1>
        <a:srgbClr val="009FDA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CDEA"/>
      </a:accent5>
      <a:accent6>
        <a:srgbClr val="00165B"/>
      </a:accent6>
      <a:hlink>
        <a:srgbClr val="E64A0E"/>
      </a:hlink>
      <a:folHlink>
        <a:srgbClr val="82786F"/>
      </a:folHlink>
    </a:clrScheme>
    <a:fontScheme name="NovoNordisk_CD_Wh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rgbClr val="001965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rgbClr val="001965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ovoNordisk_CD_White 1">
        <a:dk1>
          <a:srgbClr val="000000"/>
        </a:dk1>
        <a:lt1>
          <a:srgbClr val="FFFFFF"/>
        </a:lt1>
        <a:dk2>
          <a:srgbClr val="AEA79F"/>
        </a:dk2>
        <a:lt2>
          <a:srgbClr val="E0DED8"/>
        </a:lt2>
        <a:accent1>
          <a:srgbClr val="009FDA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CDEA"/>
        </a:accent5>
        <a:accent6>
          <a:srgbClr val="00165B"/>
        </a:accent6>
        <a:hlink>
          <a:srgbClr val="E64A0E"/>
        </a:hlink>
        <a:folHlink>
          <a:srgbClr val="827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2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Nieuwsbrief_x0020_type xmlns="9a171863-8d8a-464b-bf1a-778e02aa3216">-</Nieuwsbrief_x0020_type>
    <Site xmlns="9a171863-8d8a-464b-bf1a-778e02aa3216">-</Site>
    <DocumentDoelgroep xmlns="9a171863-8d8a-464b-bf1a-778e02aa3216">ZNA</DocumentDoelgroep>
    <Groep xmlns="9a171863-8d8a-464b-bf1a-778e02aa3216">ZNA</Groep>
    <PublishingExpirationDate xmlns="http://schemas.microsoft.com/sharepoint/v3" xsi:nil="true"/>
    <ol_Department xmlns="58c7a6d7-2880-4ad9-8d3a-6bc0055bc1d8">Communicatie</ol_Department>
    <PublishingStartDate xmlns="http://schemas.microsoft.com/sharepoint/v3" xsi:nil="true"/>
    <Nieuwsbrief_x0020_editie xmlns="9a171863-8d8a-464b-bf1a-778e02aa3216" xsi:nil="true"/>
    <DocumentType xmlns="9a171863-8d8a-464b-bf1a-778e02aa3216">Andere</DocumentType>
    <ZNA_x0020_Afdeling xmlns="9a171863-8d8a-464b-bf1a-778e02aa3216">HRM</ZNA_x0020_Afdeling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DE65F3CE870D4C9729FE9622D8BCA2" ma:contentTypeVersion="7" ma:contentTypeDescription="Een nieuw document maken." ma:contentTypeScope="" ma:versionID="c5f2531b03c57347b295309a488e6a83">
  <xsd:schema xmlns:xsd="http://www.w3.org/2001/XMLSchema" xmlns:p="http://schemas.microsoft.com/office/2006/metadata/properties" xmlns:ns1="http://schemas.microsoft.com/sharepoint/v3" xmlns:ns3="9a171863-8d8a-464b-bf1a-778e02aa3216" xmlns:ns4="58c7a6d7-2880-4ad9-8d3a-6bc0055bc1d8" targetNamespace="http://schemas.microsoft.com/office/2006/metadata/properties" ma:root="true" ma:fieldsID="375dfb00eca5df498118f1b5c5dcaf1d" ns1:_="" ns3:_="" ns4:_="">
    <xsd:import namespace="http://schemas.microsoft.com/sharepoint/v3"/>
    <xsd:import namespace="9a171863-8d8a-464b-bf1a-778e02aa3216"/>
    <xsd:import namespace="58c7a6d7-2880-4ad9-8d3a-6bc0055bc1d8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PublishingStartDate" minOccurs="0"/>
                <xsd:element ref="ns1:PublishingExpirationDate" minOccurs="0"/>
                <xsd:element ref="ns3:DocumentDoelgroep" minOccurs="0"/>
                <xsd:element ref="ns3:DocumentType" minOccurs="0"/>
                <xsd:element ref="ns4:ol_Department" minOccurs="0"/>
                <xsd:element ref="ns3:Nieuwsbrief_x0020_type" minOccurs="0"/>
                <xsd:element ref="ns3:Nieuwsbrief_x0020_editie" minOccurs="0"/>
                <xsd:element ref="ns3:Site" minOccurs="0"/>
                <xsd:element ref="ns3:ZNA_x0020_Afdeling" minOccurs="0"/>
                <xsd:element ref="ns3:Groep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ImageWidth" ma:index="9" nillable="true" ma:displayName="Breedte van afbeelding" ma:internalName="ImageWidth" ma:readOnly="true">
      <xsd:simpleType>
        <xsd:restriction base="dms:Unknown"/>
      </xsd:simpleType>
    </xsd:element>
    <xsd:element name="ImageHeight" ma:index="10" nillable="true" ma:displayName="Hoogte van afbeelding" ma:internalName="ImageHeight" ma:readOnly="true">
      <xsd:simpleType>
        <xsd:restriction base="dms:Unknown"/>
      </xsd:simpleType>
    </xsd:element>
    <xsd:element name="PublishingStartDate" ma:index="12" nillable="true" ma:displayName="Begindatum van de planning" ma:description="" ma:hidden="true" ma:internalName="PublishingStartDate">
      <xsd:simpleType>
        <xsd:restriction base="dms:Unknown"/>
      </xsd:simpleType>
    </xsd:element>
    <xsd:element name="PublishingExpirationDate" ma:index="13" nillable="true" ma:displayName="Einddatum van de planning" ma:description="" ma:hidden="true" ma:internalName="PublishingExpirationDate">
      <xsd:simpleType>
        <xsd:restriction base="dms:Unknown"/>
      </xsd:simpleType>
    </xsd:element>
  </xsd:schema>
  <xsd:schema xmlns:xsd="http://www.w3.org/2001/XMLSchema" xmlns:dms="http://schemas.microsoft.com/office/2006/documentManagement/types" targetNamespace="9a171863-8d8a-464b-bf1a-778e02aa3216" elementFormDefault="qualified">
    <xsd:import namespace="http://schemas.microsoft.com/office/2006/documentManagement/types"/>
    <xsd:element name="DocumentDoelgroep" ma:index="14" nillable="true" ma:displayName="DocumentDoelgroep" ma:default="ZNA" ma:format="Dropdown" ma:internalName="DocumentDoelgroep">
      <xsd:simpleType>
        <xsd:restriction base="dms:Choice">
          <xsd:enumeration value="ZNA"/>
          <xsd:enumeration value="Afdelingshoofden"/>
          <xsd:enumeration value="ZNA Middelheim"/>
          <xsd:enumeration value="ZNA Erasmus"/>
          <xsd:enumeration value="ZNA Stuivenberg"/>
          <xsd:enumeration value="ZNA Jan Palfijn"/>
          <xsd:enumeration value="ZNA Elisabeth"/>
          <xsd:enumeration value="ZNA Joostens"/>
          <xsd:enumeration value="ZNA Hoge Beuken"/>
        </xsd:restriction>
      </xsd:simpleType>
    </xsd:element>
    <xsd:element name="DocumentType" ma:index="15" nillable="true" ma:displayName="DocumentType" ma:default="Andere" ma:format="Dropdown" ma:internalName="DocumentType">
      <xsd:simpleType>
        <xsd:restriction base="dms:Choice">
          <xsd:enumeration value="Formulier"/>
          <xsd:enumeration value="Procedure"/>
          <xsd:enumeration value="Memo"/>
          <xsd:enumeration value="Brochure"/>
          <xsd:enumeration value="Sjabloon"/>
          <xsd:enumeration value="Attest"/>
          <xsd:enumeration value="Andere"/>
        </xsd:restriction>
      </xsd:simpleType>
    </xsd:element>
    <xsd:element name="Nieuwsbrief_x0020_type" ma:index="17" nillable="true" ma:displayName="Nieuwsbrief type" ma:default="-" ma:format="Dropdown" ma:internalName="Nieuwsbrief_x0020_type">
      <xsd:simpleType>
        <xsd:restriction base="dms:Choice">
          <xsd:enumeration value="-"/>
          <xsd:enumeration value="Polsslag"/>
          <xsd:enumeration value="Pulsus"/>
          <xsd:enumeration value="Praxis"/>
        </xsd:restriction>
      </xsd:simpleType>
    </xsd:element>
    <xsd:element name="Nieuwsbrief_x0020_editie" ma:index="18" nillable="true" ma:displayName="Nieuwsbrief editie" ma:internalName="Nieuwsbrief_x0020_editie">
      <xsd:simpleType>
        <xsd:restriction base="dms:Number"/>
      </xsd:simpleType>
    </xsd:element>
    <xsd:element name="Site" ma:index="19" nillable="true" ma:displayName="Site" ma:default="-" ma:format="Dropdown" ma:internalName="Site">
      <xsd:simpleType>
        <xsd:restriction base="dms:Choice">
          <xsd:enumeration value="-"/>
          <xsd:enumeration value="ZNA Sint-Elisabeth"/>
          <xsd:enumeration value="ZNA Middelheim"/>
          <xsd:enumeration value="ZNA Koningin Paola Kinderziekenhuis"/>
          <xsd:enumeration value="ZNA Stuivenberg"/>
          <xsd:enumeration value="ZNA Psychiatrisch Ziekenhuis Stuivenberg"/>
          <xsd:enumeration value="ZNA Sint-Erasmus"/>
          <xsd:enumeration value="ZNA Jan Palfijn"/>
          <xsd:enumeration value="ZNA Hoge Beuken"/>
          <xsd:enumeration value="ZNA Joostens"/>
          <xsd:enumeration value="ZNA UCKJA"/>
        </xsd:restriction>
      </xsd:simpleType>
    </xsd:element>
    <xsd:element name="ZNA_x0020_Afdeling" ma:index="20" nillable="true" ma:displayName="ZNA Afdeling" ma:default="Aankoop" ma:format="Dropdown" ma:internalName="ZNA_x0020_Afdeling">
      <xsd:simpleType>
        <xsd:restriction base="dms:Choice">
          <xsd:enumeration value="Aankoop"/>
          <xsd:enumeration value="HRM"/>
          <xsd:enumeration value="Voeding"/>
        </xsd:restriction>
      </xsd:simpleType>
    </xsd:element>
    <xsd:element name="Groep" ma:index="21" nillable="true" ma:displayName="Groep" ma:default="ZNA" ma:format="Dropdown" ma:internalName="Groep">
      <xsd:simpleType>
        <xsd:restriction base="dms:Choice">
          <xsd:enumeration value="Administratie"/>
          <xsd:enumeration value="ZNA Hoge Beuken"/>
          <xsd:enumeration value="ZNA Jan Palfijn"/>
          <xsd:enumeration value="ZNA Joostens"/>
          <xsd:enumeration value="ZNA Koningin Paola Kinderziekenhuis"/>
          <xsd:enumeration value="ZNA Middelheim"/>
          <xsd:enumeration value="ZNA Psychiatrisch Ziekenhuis Stuivenberg"/>
          <xsd:enumeration value="ZNA Sint-Elisabeth"/>
          <xsd:enumeration value="ZNA Sint-Erasmus"/>
          <xsd:enumeration value="ZNA STER"/>
          <xsd:enumeration value="ZNA Stuivenberg"/>
          <xsd:enumeration value="ZNA UCKJA"/>
          <xsd:enumeration value="ZNA"/>
          <xsd:enumeration value="OCMW"/>
        </xsd:restriction>
      </xsd:simpleType>
    </xsd:element>
  </xsd:schema>
  <xsd:schema xmlns:xsd="http://www.w3.org/2001/XMLSchema" xmlns:dms="http://schemas.microsoft.com/office/2006/documentManagement/types" targetNamespace="58c7a6d7-2880-4ad9-8d3a-6bc0055bc1d8" elementFormDefault="qualified">
    <xsd:import namespace="http://schemas.microsoft.com/office/2006/documentManagement/types"/>
    <xsd:element name="ol_Department" ma:index="16" nillable="true" ma:displayName="Afdeling" ma:internalName="ol_Department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F27695C-F521-40BA-8BAF-8FF632741BC0}">
  <ds:schemaRefs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58c7a6d7-2880-4ad9-8d3a-6bc0055bc1d8"/>
    <ds:schemaRef ds:uri="9a171863-8d8a-464b-bf1a-778e02aa321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1CD7B2-5B8D-4FE1-84CC-6691BEA50B6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7D76D1-DA1D-44F2-BA09-162DB2937C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a171863-8d8a-464b-bf1a-778e02aa3216"/>
    <ds:schemaRef ds:uri="58c7a6d7-2880-4ad9-8d3a-6bc0055bc1d8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ZNA_presentatie_4-3</Template>
  <TotalTime>756</TotalTime>
  <Words>4997</Words>
  <Application>Microsoft Office PowerPoint</Application>
  <PresentationFormat>Diavoorstelling (4:3)</PresentationFormat>
  <Paragraphs>870</Paragraphs>
  <Slides>76</Slides>
  <Notes>42</Notes>
  <HiddenSlides>1</HiddenSlides>
  <MMClips>1</MMClips>
  <ScaleCrop>false</ScaleCrop>
  <HeadingPairs>
    <vt:vector size="8" baseType="variant">
      <vt:variant>
        <vt:lpstr>Gebruikte lettertypen</vt:lpstr>
      </vt:variant>
      <vt:variant>
        <vt:i4>15</vt:i4>
      </vt:variant>
      <vt:variant>
        <vt:lpstr>Thema</vt:lpstr>
      </vt:variant>
      <vt:variant>
        <vt:i4>10</vt:i4>
      </vt:variant>
      <vt:variant>
        <vt:lpstr>Ingesloten OLE-bronprogramma's</vt:lpstr>
      </vt:variant>
      <vt:variant>
        <vt:i4>3</vt:i4>
      </vt:variant>
      <vt:variant>
        <vt:lpstr>Diatitels</vt:lpstr>
      </vt:variant>
      <vt:variant>
        <vt:i4>76</vt:i4>
      </vt:variant>
    </vt:vector>
  </HeadingPairs>
  <TitlesOfParts>
    <vt:vector size="104" baseType="lpstr">
      <vt:lpstr>ＭＳ Ｐゴシック</vt:lpstr>
      <vt:lpstr>ＭＳ Ｐゴシック</vt:lpstr>
      <vt:lpstr>SimSun</vt:lpstr>
      <vt:lpstr>Arial</vt:lpstr>
      <vt:lpstr>Avenir 55</vt:lpstr>
      <vt:lpstr>Calibri</vt:lpstr>
      <vt:lpstr>Formata Regular</vt:lpstr>
      <vt:lpstr>Geneva</vt:lpstr>
      <vt:lpstr>msgothic</vt:lpstr>
      <vt:lpstr>Symbol</vt:lpstr>
      <vt:lpstr>Times New Roman</vt:lpstr>
      <vt:lpstr>Verdana</vt:lpstr>
      <vt:lpstr>Wingdings</vt:lpstr>
      <vt:lpstr>Wingdings 2</vt:lpstr>
      <vt:lpstr>ヒラギノ角ゴ Pro W3</vt:lpstr>
      <vt:lpstr>ZNA_presentatie_4-3</vt:lpstr>
      <vt:lpstr>Standaardontwerp - Purper</vt:lpstr>
      <vt:lpstr>Standaardontwerp - Blauw</vt:lpstr>
      <vt:lpstr>Standaardontwerp - Orange</vt:lpstr>
      <vt:lpstr>Standaardontwerp - Paars</vt:lpstr>
      <vt:lpstr>NovoNordisk_CD_White</vt:lpstr>
      <vt:lpstr>Blank</vt:lpstr>
      <vt:lpstr>1_NovoNordisk_CD_White</vt:lpstr>
      <vt:lpstr>12_NN_Neutral_16-9</vt:lpstr>
      <vt:lpstr>29_Blank</vt:lpstr>
      <vt:lpstr>think-cell Slide</vt:lpstr>
      <vt:lpstr>Worksheet</vt:lpstr>
      <vt:lpstr>Prism 6</vt:lpstr>
      <vt:lpstr>Update farmacologie diabetes mellitus type 2</vt:lpstr>
      <vt:lpstr>Diabetes mellitus wereldwijd</vt:lpstr>
      <vt:lpstr>Bijna 700 biljoen dollar van het gezondheidsbudget</vt:lpstr>
      <vt:lpstr>Top tien landen met grootste aantal diabetespatiënten</vt:lpstr>
      <vt:lpstr>Verhoogd risico cardiovasculair overlijden</vt:lpstr>
      <vt:lpstr>PowerPoint-presentatie</vt:lpstr>
      <vt:lpstr>Vermindering van vasculaire complicaties</vt:lpstr>
      <vt:lpstr>PowerPoint-presentatie</vt:lpstr>
      <vt:lpstr>PowerPoint-presentatie</vt:lpstr>
      <vt:lpstr>Multifactoriële aanpak</vt:lpstr>
      <vt:lpstr>Benefits of Reducing Weight</vt:lpstr>
      <vt:lpstr>PowerPoint-presentatie</vt:lpstr>
      <vt:lpstr>PowerPoint-presentatie</vt:lpstr>
      <vt:lpstr>PowerPoint-presentatie</vt:lpstr>
      <vt:lpstr>PowerPoint-presentatie</vt:lpstr>
      <vt:lpstr>Casus 1 </vt:lpstr>
      <vt:lpstr>Casus 1</vt:lpstr>
      <vt:lpstr>Casus 1</vt:lpstr>
      <vt:lpstr>Incretines </vt:lpstr>
      <vt:lpstr>Het octet….</vt:lpstr>
      <vt:lpstr>GLP-1 analoog versus DDP-4 inhibitor</vt:lpstr>
      <vt:lpstr>GLP-1 analogen</vt:lpstr>
      <vt:lpstr>Beschikbare GLP-1-receptoragonisten</vt:lpstr>
      <vt:lpstr>GLP-1 agonisten terugbetalingscriteria</vt:lpstr>
      <vt:lpstr>PowerPoint-presentatie</vt:lpstr>
      <vt:lpstr>PowerPoint-presentatie</vt:lpstr>
      <vt:lpstr>Cardiovasculair benefit met liraglutide</vt:lpstr>
      <vt:lpstr>Wat met bloeddruk?</vt:lpstr>
      <vt:lpstr>Wat met cholesterol?</vt:lpstr>
      <vt:lpstr>Wat met aspirine in primaire preventie? </vt:lpstr>
      <vt:lpstr>Casus 2</vt:lpstr>
      <vt:lpstr>Casus 2</vt:lpstr>
      <vt:lpstr>Verder beleid?</vt:lpstr>
      <vt:lpstr>SGLT-2 inhibitoren: werkingsmechanisme</vt:lpstr>
      <vt:lpstr>PowerPoint-presentatie</vt:lpstr>
      <vt:lpstr>Cardiovasculaire veiligheid </vt:lpstr>
      <vt:lpstr>Verminderde cardiovasculaire mortaliteit bij gebruik van empagliflozine </vt:lpstr>
      <vt:lpstr>Canvas trial</vt:lpstr>
      <vt:lpstr>Verschillend CV protectie werkingsmechanisme   </vt:lpstr>
      <vt:lpstr>Victoza® is de eerste en enige beschikbare GLP-1 receptoragonist die heeft aangetoond cardiovasculaire events te voorkomen1 </vt:lpstr>
      <vt:lpstr>Verder beleid  SGLT-2 inhibitor</vt:lpstr>
      <vt:lpstr>SGLT-2 inhbitoren</vt:lpstr>
      <vt:lpstr>SGLT-2 inhibitoren en terugbetaling</vt:lpstr>
      <vt:lpstr>Combinatie met metformine</vt:lpstr>
      <vt:lpstr>Combinaties! </vt:lpstr>
      <vt:lpstr>Casus 3</vt:lpstr>
      <vt:lpstr>Casus 3</vt:lpstr>
      <vt:lpstr>The lower the better?</vt:lpstr>
      <vt:lpstr>Verdere aanpak?</vt:lpstr>
      <vt:lpstr>DDP-4 inhibitor vs GLP- 1 analoog</vt:lpstr>
      <vt:lpstr>DDP-4 inhibitoren</vt:lpstr>
      <vt:lpstr>DDP-4 inhibitor terugbetaling</vt:lpstr>
      <vt:lpstr>Combinatiepreparaten met metformine</vt:lpstr>
      <vt:lpstr>Cardiovasculaire veiligheid!</vt:lpstr>
      <vt:lpstr>Gebruik van nieuwere antidiabetesmiddelen bij nierinsufficiëntie</vt:lpstr>
      <vt:lpstr>Insulines</vt:lpstr>
      <vt:lpstr>Insulines</vt:lpstr>
      <vt:lpstr>Ultra-fast insulin: approaching a physiological insulin profile even further</vt:lpstr>
      <vt:lpstr>Changing the formulation: faster aspart is insulin aspart in a new formulation</vt:lpstr>
      <vt:lpstr>Faster aspart vs. insulin aspart via sc injection</vt:lpstr>
      <vt:lpstr>Wat nog te verwachten? </vt:lpstr>
      <vt:lpstr>Nieuw: Xultophy®</vt:lpstr>
      <vt:lpstr>Intensification with combination injectable therapy for type 2 diabetes</vt:lpstr>
      <vt:lpstr>What can we expect when combining a GLP-1 RA and a basal insulin in one pen?</vt:lpstr>
      <vt:lpstr>DUAL V Post hoc analysis of HbA1c reductions at weeks 4, 8 and 12</vt:lpstr>
      <vt:lpstr>DUAL V Daily insulin dose</vt:lpstr>
      <vt:lpstr>DUAL V Change in body weight over time</vt:lpstr>
      <vt:lpstr>DUAL V Confirmed hypoglycaemia</vt:lpstr>
      <vt:lpstr>Terugbetalingscriteria Xultophy®</vt:lpstr>
      <vt:lpstr>Xultophy® : Praktisch gebruik</vt:lpstr>
      <vt:lpstr>Xultophy® : Titratie</vt:lpstr>
      <vt:lpstr>Veranderingen diabetesconventie 2016</vt:lpstr>
      <vt:lpstr>Diabetesconventie</vt:lpstr>
      <vt:lpstr>Diabeteszorgtraject veranderingen 2018</vt:lpstr>
      <vt:lpstr>Globaal medisch dossier</vt:lpstr>
      <vt:lpstr>Besluit</vt:lpstr>
    </vt:vector>
  </TitlesOfParts>
  <Company>Z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Renee Willems</dc:creator>
  <cp:lastModifiedBy>Coördinator Wachtpost Zuid</cp:lastModifiedBy>
  <cp:revision>69</cp:revision>
  <cp:lastPrinted>2013-01-08T13:54:01Z</cp:lastPrinted>
  <dcterms:created xsi:type="dcterms:W3CDTF">2013-02-28T14:32:27Z</dcterms:created>
  <dcterms:modified xsi:type="dcterms:W3CDTF">2020-01-20T10:4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DE65F3CE870D4C9729FE9622D8BCA2</vt:lpwstr>
  </property>
</Properties>
</file>